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heme/themeOverride2.xml" ContentType="application/vnd.openxmlformats-officedocument.themeOverr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9"/>
  </p:notesMasterIdLst>
  <p:handoutMasterIdLst>
    <p:handoutMasterId r:id="rId30"/>
  </p:handoutMasterIdLst>
  <p:sldIdLst>
    <p:sldId id="256" r:id="rId2"/>
    <p:sldId id="321" r:id="rId3"/>
    <p:sldId id="323" r:id="rId4"/>
    <p:sldId id="324" r:id="rId5"/>
    <p:sldId id="325" r:id="rId6"/>
    <p:sldId id="326" r:id="rId7"/>
    <p:sldId id="400" r:id="rId8"/>
    <p:sldId id="331" r:id="rId9"/>
    <p:sldId id="392" r:id="rId10"/>
    <p:sldId id="388" r:id="rId11"/>
    <p:sldId id="394" r:id="rId12"/>
    <p:sldId id="332" r:id="rId13"/>
    <p:sldId id="395" r:id="rId14"/>
    <p:sldId id="389" r:id="rId15"/>
    <p:sldId id="396" r:id="rId16"/>
    <p:sldId id="391" r:id="rId17"/>
    <p:sldId id="381" r:id="rId18"/>
    <p:sldId id="375" r:id="rId19"/>
    <p:sldId id="401" r:id="rId20"/>
    <p:sldId id="340" r:id="rId21"/>
    <p:sldId id="382" r:id="rId22"/>
    <p:sldId id="384" r:id="rId23"/>
    <p:sldId id="383" r:id="rId24"/>
    <p:sldId id="397" r:id="rId25"/>
    <p:sldId id="398" r:id="rId26"/>
    <p:sldId id="399" r:id="rId27"/>
    <p:sldId id="261" r:id="rId28"/>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1B46"/>
    <a:srgbClr val="FEE37B"/>
    <a:srgbClr val="D71A47"/>
    <a:srgbClr val="F6B692"/>
    <a:srgbClr val="F9D1BB"/>
    <a:srgbClr val="FFAC06"/>
    <a:srgbClr val="FFFFFF"/>
    <a:srgbClr val="FF5353"/>
    <a:srgbClr val="97D3FC"/>
    <a:srgbClr val="C0E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6463" autoAdjust="0"/>
    <p:restoredTop sz="96327" autoAdjust="0"/>
  </p:normalViewPr>
  <p:slideViewPr>
    <p:cSldViewPr snapToGrid="0">
      <p:cViewPr varScale="1">
        <p:scale>
          <a:sx n="97" d="100"/>
          <a:sy n="97" d="100"/>
        </p:scale>
        <p:origin x="224" y="1144"/>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452A90-C8A8-5947-B934-8A9AF46D27D5}" type="doc">
      <dgm:prSet loTypeId="urn:microsoft.com/office/officeart/2005/8/layout/hierarchy5" loCatId="" qsTypeId="urn:microsoft.com/office/officeart/2005/8/quickstyle/simple1" qsCatId="simple" csTypeId="urn:microsoft.com/office/officeart/2005/8/colors/accent1_2" csCatId="accent1" phldr="1"/>
      <dgm:spPr/>
      <dgm:t>
        <a:bodyPr/>
        <a:lstStyle/>
        <a:p>
          <a:endParaRPr lang="zh-CN" altLang="en-US"/>
        </a:p>
      </dgm:t>
    </dgm:pt>
    <dgm:pt modelId="{3934634F-3634-4040-8CD3-ED12876E12D2}">
      <dgm:prSet phldrT="[文本]"/>
      <dgm:spPr/>
      <dgm:t>
        <a:bodyPr/>
        <a:lstStyle/>
        <a:p>
          <a:r>
            <a:rPr lang="zh-CN" altLang="en-US" dirty="0"/>
            <a:t>不一致</a:t>
          </a:r>
          <a:endParaRPr lang="en-US" altLang="zh-CN" dirty="0"/>
        </a:p>
        <a:p>
          <a:r>
            <a:rPr lang="zh-CN" altLang="en-US" dirty="0"/>
            <a:t>原因</a:t>
          </a:r>
        </a:p>
      </dgm:t>
    </dgm:pt>
    <dgm:pt modelId="{C8CAF646-A97F-254F-8091-108D14DEADCA}" type="parTrans" cxnId="{FD674775-B805-B044-B73E-F14A11D86837}">
      <dgm:prSet/>
      <dgm:spPr/>
      <dgm:t>
        <a:bodyPr/>
        <a:lstStyle/>
        <a:p>
          <a:endParaRPr lang="zh-CN" altLang="en-US"/>
        </a:p>
      </dgm:t>
    </dgm:pt>
    <dgm:pt modelId="{87407B6D-B2C2-A546-A61D-6ADD540DBA9C}" type="sibTrans" cxnId="{FD674775-B805-B044-B73E-F14A11D86837}">
      <dgm:prSet/>
      <dgm:spPr/>
      <dgm:t>
        <a:bodyPr/>
        <a:lstStyle/>
        <a:p>
          <a:endParaRPr lang="zh-CN" altLang="en-US"/>
        </a:p>
      </dgm:t>
    </dgm:pt>
    <dgm:pt modelId="{E5324EFD-E75A-684A-B23A-8F8413CD01D1}">
      <dgm:prSet phldrT="[文本]"/>
      <dgm:spPr/>
      <dgm:t>
        <a:bodyPr/>
        <a:lstStyle/>
        <a:p>
          <a:r>
            <a:rPr lang="zh-CN" altLang="en-US" dirty="0"/>
            <a:t>物理原因</a:t>
          </a:r>
          <a:endParaRPr lang="en-US" altLang="zh-CN" dirty="0"/>
        </a:p>
        <a:p>
          <a:r>
            <a:rPr lang="en-US" altLang="zh-CN" dirty="0"/>
            <a:t>IO</a:t>
          </a:r>
          <a:r>
            <a:rPr lang="zh-CN" altLang="en-US" dirty="0"/>
            <a:t>异常</a:t>
          </a:r>
        </a:p>
      </dgm:t>
    </dgm:pt>
    <dgm:pt modelId="{FC39F2CF-8031-974D-AB36-370CD96F5676}" type="parTrans" cxnId="{C456BAE2-C8E0-054F-B5C2-F05552951CAB}">
      <dgm:prSet/>
      <dgm:spPr/>
      <dgm:t>
        <a:bodyPr/>
        <a:lstStyle/>
        <a:p>
          <a:endParaRPr lang="zh-CN" altLang="en-US"/>
        </a:p>
      </dgm:t>
    </dgm:pt>
    <dgm:pt modelId="{8D819F9B-AD9F-AE4A-AAAE-31473D2D9B3E}" type="sibTrans" cxnId="{C456BAE2-C8E0-054F-B5C2-F05552951CAB}">
      <dgm:prSet/>
      <dgm:spPr/>
      <dgm:t>
        <a:bodyPr/>
        <a:lstStyle/>
        <a:p>
          <a:endParaRPr lang="zh-CN" altLang="en-US"/>
        </a:p>
      </dgm:t>
    </dgm:pt>
    <dgm:pt modelId="{35803DA6-B175-1648-8EBA-26F45000CB60}">
      <dgm:prSet phldrT="[文本]"/>
      <dgm:spPr/>
      <dgm:t>
        <a:bodyPr/>
        <a:lstStyle/>
        <a:p>
          <a:r>
            <a:rPr lang="zh-CN" altLang="en-US" dirty="0"/>
            <a:t>重试</a:t>
          </a:r>
        </a:p>
      </dgm:t>
    </dgm:pt>
    <dgm:pt modelId="{36D87D11-7A27-DE44-A24E-808D6057A6FE}" type="parTrans" cxnId="{AAB8F93B-4599-6F4E-8899-DB8AE3D8E9DA}">
      <dgm:prSet/>
      <dgm:spPr/>
      <dgm:t>
        <a:bodyPr/>
        <a:lstStyle/>
        <a:p>
          <a:endParaRPr lang="zh-CN" altLang="en-US"/>
        </a:p>
      </dgm:t>
    </dgm:pt>
    <dgm:pt modelId="{666765D3-6154-3040-951B-6E72EB3D1D09}" type="sibTrans" cxnId="{AAB8F93B-4599-6F4E-8899-DB8AE3D8E9DA}">
      <dgm:prSet/>
      <dgm:spPr/>
      <dgm:t>
        <a:bodyPr/>
        <a:lstStyle/>
        <a:p>
          <a:endParaRPr lang="zh-CN" altLang="en-US"/>
        </a:p>
      </dgm:t>
    </dgm:pt>
    <dgm:pt modelId="{9C4B12ED-7B1F-7D47-A94E-46C1F6191FEE}">
      <dgm:prSet phldrT="[文本]"/>
      <dgm:spPr/>
      <dgm:t>
        <a:bodyPr/>
        <a:lstStyle/>
        <a:p>
          <a:r>
            <a:rPr lang="zh-CN" altLang="en-US" dirty="0"/>
            <a:t>逻辑原因</a:t>
          </a:r>
          <a:endParaRPr lang="en-US" altLang="zh-CN" dirty="0"/>
        </a:p>
        <a:p>
          <a:r>
            <a:rPr lang="zh-CN" altLang="en-US" dirty="0"/>
            <a:t>并发异常</a:t>
          </a:r>
        </a:p>
      </dgm:t>
    </dgm:pt>
    <dgm:pt modelId="{B7D28930-6C6E-704D-B5CA-4C796838B0F8}" type="parTrans" cxnId="{B824B4A8-31DE-0144-BE1A-E8D38E4E4889}">
      <dgm:prSet/>
      <dgm:spPr/>
      <dgm:t>
        <a:bodyPr/>
        <a:lstStyle/>
        <a:p>
          <a:endParaRPr lang="zh-CN" altLang="en-US"/>
        </a:p>
      </dgm:t>
    </dgm:pt>
    <dgm:pt modelId="{FD2D15A8-1E54-2C40-92BF-4D9DF22BF319}" type="sibTrans" cxnId="{B824B4A8-31DE-0144-BE1A-E8D38E4E4889}">
      <dgm:prSet/>
      <dgm:spPr/>
      <dgm:t>
        <a:bodyPr/>
        <a:lstStyle/>
        <a:p>
          <a:endParaRPr lang="zh-CN" altLang="en-US"/>
        </a:p>
      </dgm:t>
    </dgm:pt>
    <dgm:pt modelId="{2299E560-0E84-1F41-8EF9-1C9F60D871C7}">
      <dgm:prSet phldrT="[文本]"/>
      <dgm:spPr/>
      <dgm:t>
        <a:bodyPr/>
        <a:lstStyle/>
        <a:p>
          <a:r>
            <a:rPr lang="zh-CN" altLang="en-US" dirty="0"/>
            <a:t>串行化</a:t>
          </a:r>
        </a:p>
      </dgm:t>
    </dgm:pt>
    <dgm:pt modelId="{0AF58860-B891-AB43-A39A-15069DFE14FA}" type="parTrans" cxnId="{2DFED904-060A-0C40-BC56-7FEF02352DA5}">
      <dgm:prSet/>
      <dgm:spPr/>
      <dgm:t>
        <a:bodyPr/>
        <a:lstStyle/>
        <a:p>
          <a:endParaRPr lang="zh-CN" altLang="en-US"/>
        </a:p>
      </dgm:t>
    </dgm:pt>
    <dgm:pt modelId="{2B952DB0-6682-C74A-9C32-D56E215279D2}" type="sibTrans" cxnId="{2DFED904-060A-0C40-BC56-7FEF02352DA5}">
      <dgm:prSet/>
      <dgm:spPr/>
      <dgm:t>
        <a:bodyPr/>
        <a:lstStyle/>
        <a:p>
          <a:endParaRPr lang="zh-CN" altLang="en-US"/>
        </a:p>
      </dgm:t>
    </dgm:pt>
    <dgm:pt modelId="{D4A90E4F-587D-5543-99E7-95CD696A4BDB}">
      <dgm:prSet/>
      <dgm:spPr/>
      <dgm:t>
        <a:bodyPr/>
        <a:lstStyle/>
        <a:p>
          <a:r>
            <a:rPr lang="zh-CN" altLang="en-US" dirty="0"/>
            <a:t>延时双删</a:t>
          </a:r>
        </a:p>
      </dgm:t>
    </dgm:pt>
    <dgm:pt modelId="{CDCF8384-C785-6E43-96AA-1321D42FD69C}" type="parTrans" cxnId="{742EC29A-FAED-BC4C-A4AB-130773A14EA4}">
      <dgm:prSet/>
      <dgm:spPr/>
      <dgm:t>
        <a:bodyPr/>
        <a:lstStyle/>
        <a:p>
          <a:endParaRPr lang="zh-CN" altLang="en-US"/>
        </a:p>
      </dgm:t>
    </dgm:pt>
    <dgm:pt modelId="{960B5AE0-554C-5E45-BDD6-C2DFDEB157D8}" type="sibTrans" cxnId="{742EC29A-FAED-BC4C-A4AB-130773A14EA4}">
      <dgm:prSet/>
      <dgm:spPr/>
      <dgm:t>
        <a:bodyPr/>
        <a:lstStyle/>
        <a:p>
          <a:endParaRPr lang="zh-CN" altLang="en-US"/>
        </a:p>
      </dgm:t>
    </dgm:pt>
    <dgm:pt modelId="{22FC51A3-654B-514D-A33F-7B1E9695D9F7}">
      <dgm:prSet/>
      <dgm:spPr/>
      <dgm:t>
        <a:bodyPr/>
        <a:lstStyle/>
        <a:p>
          <a:r>
            <a:rPr lang="zh-CN" altLang="en-US" dirty="0"/>
            <a:t>借助消息队列</a:t>
          </a:r>
        </a:p>
      </dgm:t>
    </dgm:pt>
    <dgm:pt modelId="{29620B44-3B79-574D-B3DB-7B5053DEE59F}" type="parTrans" cxnId="{276E6CD5-7553-B443-B46B-459D71D73465}">
      <dgm:prSet/>
      <dgm:spPr/>
      <dgm:t>
        <a:bodyPr/>
        <a:lstStyle/>
        <a:p>
          <a:endParaRPr lang="zh-CN" altLang="en-US"/>
        </a:p>
      </dgm:t>
    </dgm:pt>
    <dgm:pt modelId="{1249B170-B281-654D-A1BC-76E3EB0CF100}" type="sibTrans" cxnId="{276E6CD5-7553-B443-B46B-459D71D73465}">
      <dgm:prSet/>
      <dgm:spPr/>
      <dgm:t>
        <a:bodyPr/>
        <a:lstStyle/>
        <a:p>
          <a:endParaRPr lang="zh-CN" altLang="en-US"/>
        </a:p>
      </dgm:t>
    </dgm:pt>
    <dgm:pt modelId="{1F2DFC5A-F155-DF4D-8136-FDAD59748D13}">
      <dgm:prSet/>
      <dgm:spPr/>
      <dgm:t>
        <a:bodyPr/>
        <a:lstStyle/>
        <a:p>
          <a:r>
            <a:rPr lang="zh-CN" altLang="en-US" dirty="0"/>
            <a:t>订阅</a:t>
          </a:r>
          <a:r>
            <a:rPr lang="en-US" altLang="zh-CN" dirty="0" err="1"/>
            <a:t>Binlog</a:t>
          </a:r>
          <a:endParaRPr lang="zh-CN" altLang="en-US" dirty="0"/>
        </a:p>
      </dgm:t>
    </dgm:pt>
    <dgm:pt modelId="{6573E51D-3201-9749-ADC0-F533D5A34E08}" type="parTrans" cxnId="{B1A0D37D-55DC-3E42-8F89-2EA009CF1DC2}">
      <dgm:prSet/>
      <dgm:spPr/>
      <dgm:t>
        <a:bodyPr/>
        <a:lstStyle/>
        <a:p>
          <a:endParaRPr lang="zh-CN" altLang="en-US"/>
        </a:p>
      </dgm:t>
    </dgm:pt>
    <dgm:pt modelId="{27E92E54-4056-204F-8916-E7B1F9DD707C}" type="sibTrans" cxnId="{B1A0D37D-55DC-3E42-8F89-2EA009CF1DC2}">
      <dgm:prSet/>
      <dgm:spPr/>
      <dgm:t>
        <a:bodyPr/>
        <a:lstStyle/>
        <a:p>
          <a:endParaRPr lang="zh-CN" altLang="en-US"/>
        </a:p>
      </dgm:t>
    </dgm:pt>
    <dgm:pt modelId="{4125AED9-27D5-0143-A114-B66985D85669}">
      <dgm:prSet/>
      <dgm:spPr/>
      <dgm:t>
        <a:bodyPr/>
        <a:lstStyle/>
        <a:p>
          <a:r>
            <a:rPr lang="en-US" altLang="zh-CN" dirty="0"/>
            <a:t>DB</a:t>
          </a:r>
          <a:r>
            <a:rPr lang="zh-CN" altLang="en-US" dirty="0"/>
            <a:t>访问串行化</a:t>
          </a:r>
        </a:p>
      </dgm:t>
    </dgm:pt>
    <dgm:pt modelId="{56916E57-2018-7749-A518-D9B4A7A3B8A1}" type="parTrans" cxnId="{76F9C15D-12A8-F44E-ACED-E7F54D8C3570}">
      <dgm:prSet/>
      <dgm:spPr/>
      <dgm:t>
        <a:bodyPr/>
        <a:lstStyle/>
        <a:p>
          <a:endParaRPr lang="zh-CN" altLang="en-US"/>
        </a:p>
      </dgm:t>
    </dgm:pt>
    <dgm:pt modelId="{FA1850BC-CBA9-5C47-9F21-9BD24EF3E683}" type="sibTrans" cxnId="{76F9C15D-12A8-F44E-ACED-E7F54D8C3570}">
      <dgm:prSet/>
      <dgm:spPr/>
      <dgm:t>
        <a:bodyPr/>
        <a:lstStyle/>
        <a:p>
          <a:endParaRPr lang="zh-CN" altLang="en-US"/>
        </a:p>
      </dgm:t>
    </dgm:pt>
    <dgm:pt modelId="{0E28C877-101E-D94B-A385-4B0D7259B24B}">
      <dgm:prSet/>
      <dgm:spPr/>
      <dgm:t>
        <a:bodyPr/>
        <a:lstStyle/>
        <a:p>
          <a:r>
            <a:rPr lang="zh-CN" altLang="en-US" dirty="0"/>
            <a:t>加锁</a:t>
          </a:r>
        </a:p>
      </dgm:t>
    </dgm:pt>
    <dgm:pt modelId="{EEA5E96D-7B72-3248-BC45-823931FC5F3A}" type="parTrans" cxnId="{126A61EF-0D38-C94C-94AC-54BD00432013}">
      <dgm:prSet/>
      <dgm:spPr/>
      <dgm:t>
        <a:bodyPr/>
        <a:lstStyle/>
        <a:p>
          <a:endParaRPr lang="zh-CN" altLang="en-US"/>
        </a:p>
      </dgm:t>
    </dgm:pt>
    <dgm:pt modelId="{B7D8B2A3-94D5-F340-83F9-31D0C299560C}" type="sibTrans" cxnId="{126A61EF-0D38-C94C-94AC-54BD00432013}">
      <dgm:prSet/>
      <dgm:spPr/>
      <dgm:t>
        <a:bodyPr/>
        <a:lstStyle/>
        <a:p>
          <a:endParaRPr lang="zh-CN" altLang="en-US"/>
        </a:p>
      </dgm:t>
    </dgm:pt>
    <dgm:pt modelId="{F7E151F2-0153-1D45-889A-FF5BCE1EFB98}" type="pres">
      <dgm:prSet presAssocID="{FB452A90-C8A8-5947-B934-8A9AF46D27D5}" presName="mainComposite" presStyleCnt="0">
        <dgm:presLayoutVars>
          <dgm:chPref val="1"/>
          <dgm:dir/>
          <dgm:animOne val="branch"/>
          <dgm:animLvl val="lvl"/>
          <dgm:resizeHandles val="exact"/>
        </dgm:presLayoutVars>
      </dgm:prSet>
      <dgm:spPr/>
    </dgm:pt>
    <dgm:pt modelId="{39831254-92B1-7D4A-ACFC-AD5F54A20DBC}" type="pres">
      <dgm:prSet presAssocID="{FB452A90-C8A8-5947-B934-8A9AF46D27D5}" presName="hierFlow" presStyleCnt="0"/>
      <dgm:spPr/>
    </dgm:pt>
    <dgm:pt modelId="{39B0828C-DCD4-4348-888E-DBD4D2A6160C}" type="pres">
      <dgm:prSet presAssocID="{FB452A90-C8A8-5947-B934-8A9AF46D27D5}" presName="hierChild1" presStyleCnt="0">
        <dgm:presLayoutVars>
          <dgm:chPref val="1"/>
          <dgm:animOne val="branch"/>
          <dgm:animLvl val="lvl"/>
        </dgm:presLayoutVars>
      </dgm:prSet>
      <dgm:spPr/>
    </dgm:pt>
    <dgm:pt modelId="{B3200282-7DF6-394D-B69E-DDD3650C6F7B}" type="pres">
      <dgm:prSet presAssocID="{3934634F-3634-4040-8CD3-ED12876E12D2}" presName="Name17" presStyleCnt="0"/>
      <dgm:spPr/>
    </dgm:pt>
    <dgm:pt modelId="{26FEE133-4ED9-4C4B-AD85-68B1EB314886}" type="pres">
      <dgm:prSet presAssocID="{3934634F-3634-4040-8CD3-ED12876E12D2}" presName="level1Shape" presStyleLbl="node0" presStyleIdx="0" presStyleCnt="1">
        <dgm:presLayoutVars>
          <dgm:chPref val="3"/>
        </dgm:presLayoutVars>
      </dgm:prSet>
      <dgm:spPr/>
    </dgm:pt>
    <dgm:pt modelId="{8AAB22CD-2135-CD47-9D7A-9AA939D2504F}" type="pres">
      <dgm:prSet presAssocID="{3934634F-3634-4040-8CD3-ED12876E12D2}" presName="hierChild2" presStyleCnt="0"/>
      <dgm:spPr/>
    </dgm:pt>
    <dgm:pt modelId="{B0DCBAB2-2E57-E545-A6EE-923D02219717}" type="pres">
      <dgm:prSet presAssocID="{FC39F2CF-8031-974D-AB36-370CD96F5676}" presName="Name25" presStyleLbl="parChTrans1D2" presStyleIdx="0" presStyleCnt="2"/>
      <dgm:spPr/>
    </dgm:pt>
    <dgm:pt modelId="{AB9ECC81-6B92-DD43-9D95-F8D2116FC491}" type="pres">
      <dgm:prSet presAssocID="{FC39F2CF-8031-974D-AB36-370CD96F5676}" presName="connTx" presStyleLbl="parChTrans1D2" presStyleIdx="0" presStyleCnt="2"/>
      <dgm:spPr/>
    </dgm:pt>
    <dgm:pt modelId="{CFB86725-B188-5D4C-97FA-BC18FA6B70C0}" type="pres">
      <dgm:prSet presAssocID="{E5324EFD-E75A-684A-B23A-8F8413CD01D1}" presName="Name30" presStyleCnt="0"/>
      <dgm:spPr/>
    </dgm:pt>
    <dgm:pt modelId="{CBFFEAF9-072A-6349-86B7-C3E74172FAC7}" type="pres">
      <dgm:prSet presAssocID="{E5324EFD-E75A-684A-B23A-8F8413CD01D1}" presName="level2Shape" presStyleLbl="node2" presStyleIdx="0" presStyleCnt="2"/>
      <dgm:spPr/>
    </dgm:pt>
    <dgm:pt modelId="{9FA376D2-4D02-E646-969B-D27368E6DFCD}" type="pres">
      <dgm:prSet presAssocID="{E5324EFD-E75A-684A-B23A-8F8413CD01D1}" presName="hierChild3" presStyleCnt="0"/>
      <dgm:spPr/>
    </dgm:pt>
    <dgm:pt modelId="{C37B0354-5D28-1F4F-864A-E563C8C40E24}" type="pres">
      <dgm:prSet presAssocID="{36D87D11-7A27-DE44-A24E-808D6057A6FE}" presName="Name25" presStyleLbl="parChTrans1D3" presStyleIdx="0" presStyleCnt="2"/>
      <dgm:spPr/>
    </dgm:pt>
    <dgm:pt modelId="{1A561878-3CB3-2A40-9471-8274B1113A63}" type="pres">
      <dgm:prSet presAssocID="{36D87D11-7A27-DE44-A24E-808D6057A6FE}" presName="connTx" presStyleLbl="parChTrans1D3" presStyleIdx="0" presStyleCnt="2"/>
      <dgm:spPr/>
    </dgm:pt>
    <dgm:pt modelId="{739FD056-9BA0-4145-9091-E918BEFFFFE8}" type="pres">
      <dgm:prSet presAssocID="{35803DA6-B175-1648-8EBA-26F45000CB60}" presName="Name30" presStyleCnt="0"/>
      <dgm:spPr/>
    </dgm:pt>
    <dgm:pt modelId="{DEE0D00A-2A26-9E44-9CC1-9B005009FB17}" type="pres">
      <dgm:prSet presAssocID="{35803DA6-B175-1648-8EBA-26F45000CB60}" presName="level2Shape" presStyleLbl="node3" presStyleIdx="0" presStyleCnt="2"/>
      <dgm:spPr/>
    </dgm:pt>
    <dgm:pt modelId="{9BBFF9C7-7F5E-5E45-8FFF-5C4385908D67}" type="pres">
      <dgm:prSet presAssocID="{35803DA6-B175-1648-8EBA-26F45000CB60}" presName="hierChild3" presStyleCnt="0"/>
      <dgm:spPr/>
    </dgm:pt>
    <dgm:pt modelId="{2A6303B3-C161-444E-BC16-6211184C8172}" type="pres">
      <dgm:prSet presAssocID="{CDCF8384-C785-6E43-96AA-1321D42FD69C}" presName="Name25" presStyleLbl="parChTrans1D4" presStyleIdx="0" presStyleCnt="5"/>
      <dgm:spPr/>
    </dgm:pt>
    <dgm:pt modelId="{14C1B23D-383C-424B-B4D2-8033168A6B8D}" type="pres">
      <dgm:prSet presAssocID="{CDCF8384-C785-6E43-96AA-1321D42FD69C}" presName="connTx" presStyleLbl="parChTrans1D4" presStyleIdx="0" presStyleCnt="5"/>
      <dgm:spPr/>
    </dgm:pt>
    <dgm:pt modelId="{F59CB0DA-EAD9-6B4B-A1EA-602340AE72E9}" type="pres">
      <dgm:prSet presAssocID="{D4A90E4F-587D-5543-99E7-95CD696A4BDB}" presName="Name30" presStyleCnt="0"/>
      <dgm:spPr/>
    </dgm:pt>
    <dgm:pt modelId="{26077DF5-7751-E444-AFBF-590B07CDB9B7}" type="pres">
      <dgm:prSet presAssocID="{D4A90E4F-587D-5543-99E7-95CD696A4BDB}" presName="level2Shape" presStyleLbl="node4" presStyleIdx="0" presStyleCnt="5"/>
      <dgm:spPr/>
    </dgm:pt>
    <dgm:pt modelId="{ECC1E9B9-8288-3C41-8B29-7D82DA04A23B}" type="pres">
      <dgm:prSet presAssocID="{D4A90E4F-587D-5543-99E7-95CD696A4BDB}" presName="hierChild3" presStyleCnt="0"/>
      <dgm:spPr/>
    </dgm:pt>
    <dgm:pt modelId="{9BA54BC7-3EF4-1940-B57E-B375B5DA9A3D}" type="pres">
      <dgm:prSet presAssocID="{29620B44-3B79-574D-B3DB-7B5053DEE59F}" presName="Name25" presStyleLbl="parChTrans1D4" presStyleIdx="1" presStyleCnt="5"/>
      <dgm:spPr/>
    </dgm:pt>
    <dgm:pt modelId="{50116F75-C94C-8A47-A65E-A4E44B5D823F}" type="pres">
      <dgm:prSet presAssocID="{29620B44-3B79-574D-B3DB-7B5053DEE59F}" presName="connTx" presStyleLbl="parChTrans1D4" presStyleIdx="1" presStyleCnt="5"/>
      <dgm:spPr/>
    </dgm:pt>
    <dgm:pt modelId="{8811EE24-AEB3-194C-A4F9-E00C7BF45B4E}" type="pres">
      <dgm:prSet presAssocID="{22FC51A3-654B-514D-A33F-7B1E9695D9F7}" presName="Name30" presStyleCnt="0"/>
      <dgm:spPr/>
    </dgm:pt>
    <dgm:pt modelId="{EF43612E-39D5-7144-9D6A-3EC02066B3F4}" type="pres">
      <dgm:prSet presAssocID="{22FC51A3-654B-514D-A33F-7B1E9695D9F7}" presName="level2Shape" presStyleLbl="node4" presStyleIdx="1" presStyleCnt="5"/>
      <dgm:spPr/>
    </dgm:pt>
    <dgm:pt modelId="{CC3CA8D2-58E6-0C47-BC5D-0FD8943FC98D}" type="pres">
      <dgm:prSet presAssocID="{22FC51A3-654B-514D-A33F-7B1E9695D9F7}" presName="hierChild3" presStyleCnt="0"/>
      <dgm:spPr/>
    </dgm:pt>
    <dgm:pt modelId="{F687ED89-B58A-E740-83E3-D729E3E2E6CA}" type="pres">
      <dgm:prSet presAssocID="{6573E51D-3201-9749-ADC0-F533D5A34E08}" presName="Name25" presStyleLbl="parChTrans1D4" presStyleIdx="2" presStyleCnt="5"/>
      <dgm:spPr/>
    </dgm:pt>
    <dgm:pt modelId="{A0DB8BB6-8080-8143-8BBB-2AE7088CA9EF}" type="pres">
      <dgm:prSet presAssocID="{6573E51D-3201-9749-ADC0-F533D5A34E08}" presName="connTx" presStyleLbl="parChTrans1D4" presStyleIdx="2" presStyleCnt="5"/>
      <dgm:spPr/>
    </dgm:pt>
    <dgm:pt modelId="{8B455017-F5A2-8943-9136-B446BC9CA3C1}" type="pres">
      <dgm:prSet presAssocID="{1F2DFC5A-F155-DF4D-8136-FDAD59748D13}" presName="Name30" presStyleCnt="0"/>
      <dgm:spPr/>
    </dgm:pt>
    <dgm:pt modelId="{B1E7E426-6AA9-8645-B204-1445FB1E2235}" type="pres">
      <dgm:prSet presAssocID="{1F2DFC5A-F155-DF4D-8136-FDAD59748D13}" presName="level2Shape" presStyleLbl="node4" presStyleIdx="2" presStyleCnt="5"/>
      <dgm:spPr/>
    </dgm:pt>
    <dgm:pt modelId="{FEBE5F69-2CF8-8549-9B45-71C7FE983DFD}" type="pres">
      <dgm:prSet presAssocID="{1F2DFC5A-F155-DF4D-8136-FDAD59748D13}" presName="hierChild3" presStyleCnt="0"/>
      <dgm:spPr/>
    </dgm:pt>
    <dgm:pt modelId="{758FE12B-9B85-264F-83CD-8CFD9EA71AE9}" type="pres">
      <dgm:prSet presAssocID="{B7D28930-6C6E-704D-B5CA-4C796838B0F8}" presName="Name25" presStyleLbl="parChTrans1D2" presStyleIdx="1" presStyleCnt="2"/>
      <dgm:spPr/>
    </dgm:pt>
    <dgm:pt modelId="{C08AE781-A041-AC48-809C-A7E5895CCA05}" type="pres">
      <dgm:prSet presAssocID="{B7D28930-6C6E-704D-B5CA-4C796838B0F8}" presName="connTx" presStyleLbl="parChTrans1D2" presStyleIdx="1" presStyleCnt="2"/>
      <dgm:spPr/>
    </dgm:pt>
    <dgm:pt modelId="{E34F389B-84C2-1F43-8FFB-ACCF039965BC}" type="pres">
      <dgm:prSet presAssocID="{9C4B12ED-7B1F-7D47-A94E-46C1F6191FEE}" presName="Name30" presStyleCnt="0"/>
      <dgm:spPr/>
    </dgm:pt>
    <dgm:pt modelId="{11DD7A6B-C0A7-D54B-A78A-6AD74A1D4379}" type="pres">
      <dgm:prSet presAssocID="{9C4B12ED-7B1F-7D47-A94E-46C1F6191FEE}" presName="level2Shape" presStyleLbl="node2" presStyleIdx="1" presStyleCnt="2"/>
      <dgm:spPr/>
    </dgm:pt>
    <dgm:pt modelId="{0774619F-AA7F-2841-8C10-09E48E675EAF}" type="pres">
      <dgm:prSet presAssocID="{9C4B12ED-7B1F-7D47-A94E-46C1F6191FEE}" presName="hierChild3" presStyleCnt="0"/>
      <dgm:spPr/>
    </dgm:pt>
    <dgm:pt modelId="{1C92AF49-80EA-1941-9A4B-0D447655D70A}" type="pres">
      <dgm:prSet presAssocID="{0AF58860-B891-AB43-A39A-15069DFE14FA}" presName="Name25" presStyleLbl="parChTrans1D3" presStyleIdx="1" presStyleCnt="2"/>
      <dgm:spPr/>
    </dgm:pt>
    <dgm:pt modelId="{1C897528-40D9-1D4C-8E1B-86D0E9692484}" type="pres">
      <dgm:prSet presAssocID="{0AF58860-B891-AB43-A39A-15069DFE14FA}" presName="connTx" presStyleLbl="parChTrans1D3" presStyleIdx="1" presStyleCnt="2"/>
      <dgm:spPr/>
    </dgm:pt>
    <dgm:pt modelId="{37528AAA-945D-B04A-B935-5D31AF209D05}" type="pres">
      <dgm:prSet presAssocID="{2299E560-0E84-1F41-8EF9-1C9F60D871C7}" presName="Name30" presStyleCnt="0"/>
      <dgm:spPr/>
    </dgm:pt>
    <dgm:pt modelId="{B4950A12-D4A7-7A4D-AC7B-DF72CF339D1C}" type="pres">
      <dgm:prSet presAssocID="{2299E560-0E84-1F41-8EF9-1C9F60D871C7}" presName="level2Shape" presStyleLbl="node3" presStyleIdx="1" presStyleCnt="2"/>
      <dgm:spPr/>
    </dgm:pt>
    <dgm:pt modelId="{5FF8AB0A-46BC-7745-9F94-1F1B7C8E1F84}" type="pres">
      <dgm:prSet presAssocID="{2299E560-0E84-1F41-8EF9-1C9F60D871C7}" presName="hierChild3" presStyleCnt="0"/>
      <dgm:spPr/>
    </dgm:pt>
    <dgm:pt modelId="{D32BE228-55E2-CB47-B306-BF3AA2484C24}" type="pres">
      <dgm:prSet presAssocID="{56916E57-2018-7749-A518-D9B4A7A3B8A1}" presName="Name25" presStyleLbl="parChTrans1D4" presStyleIdx="3" presStyleCnt="5"/>
      <dgm:spPr/>
    </dgm:pt>
    <dgm:pt modelId="{E05FC477-F6F5-EC4F-A22E-DF0E5A60F670}" type="pres">
      <dgm:prSet presAssocID="{56916E57-2018-7749-A518-D9B4A7A3B8A1}" presName="connTx" presStyleLbl="parChTrans1D4" presStyleIdx="3" presStyleCnt="5"/>
      <dgm:spPr/>
    </dgm:pt>
    <dgm:pt modelId="{3376E260-1427-364F-931C-5D4D1DC3AE50}" type="pres">
      <dgm:prSet presAssocID="{4125AED9-27D5-0143-A114-B66985D85669}" presName="Name30" presStyleCnt="0"/>
      <dgm:spPr/>
    </dgm:pt>
    <dgm:pt modelId="{EA1E846C-267E-FA4F-B7A6-F0B7AFF7408C}" type="pres">
      <dgm:prSet presAssocID="{4125AED9-27D5-0143-A114-B66985D85669}" presName="level2Shape" presStyleLbl="node4" presStyleIdx="3" presStyleCnt="5"/>
      <dgm:spPr/>
    </dgm:pt>
    <dgm:pt modelId="{53869395-3CCF-C749-9A32-D75F93FFE4DD}" type="pres">
      <dgm:prSet presAssocID="{4125AED9-27D5-0143-A114-B66985D85669}" presName="hierChild3" presStyleCnt="0"/>
      <dgm:spPr/>
    </dgm:pt>
    <dgm:pt modelId="{A6A296FA-E0F8-6748-93EA-76E7ADB84329}" type="pres">
      <dgm:prSet presAssocID="{EEA5E96D-7B72-3248-BC45-823931FC5F3A}" presName="Name25" presStyleLbl="parChTrans1D4" presStyleIdx="4" presStyleCnt="5"/>
      <dgm:spPr/>
    </dgm:pt>
    <dgm:pt modelId="{5037862A-7346-F048-A22B-C1C36211BADB}" type="pres">
      <dgm:prSet presAssocID="{EEA5E96D-7B72-3248-BC45-823931FC5F3A}" presName="connTx" presStyleLbl="parChTrans1D4" presStyleIdx="4" presStyleCnt="5"/>
      <dgm:spPr/>
    </dgm:pt>
    <dgm:pt modelId="{805FBE89-4078-8245-9E6B-7ED078297078}" type="pres">
      <dgm:prSet presAssocID="{0E28C877-101E-D94B-A385-4B0D7259B24B}" presName="Name30" presStyleCnt="0"/>
      <dgm:spPr/>
    </dgm:pt>
    <dgm:pt modelId="{067BB074-C842-C94F-9D84-ACDD3424A2BD}" type="pres">
      <dgm:prSet presAssocID="{0E28C877-101E-D94B-A385-4B0D7259B24B}" presName="level2Shape" presStyleLbl="node4" presStyleIdx="4" presStyleCnt="5"/>
      <dgm:spPr/>
    </dgm:pt>
    <dgm:pt modelId="{F95BE1B0-0278-2A4D-8082-7C4987DBBB11}" type="pres">
      <dgm:prSet presAssocID="{0E28C877-101E-D94B-A385-4B0D7259B24B}" presName="hierChild3" presStyleCnt="0"/>
      <dgm:spPr/>
    </dgm:pt>
    <dgm:pt modelId="{D1A67EFD-83DF-5747-8BEC-CE7A38B71663}" type="pres">
      <dgm:prSet presAssocID="{FB452A90-C8A8-5947-B934-8A9AF46D27D5}" presName="bgShapesFlow" presStyleCnt="0"/>
      <dgm:spPr/>
    </dgm:pt>
  </dgm:ptLst>
  <dgm:cxnLst>
    <dgm:cxn modelId="{2DFED904-060A-0C40-BC56-7FEF02352DA5}" srcId="{9C4B12ED-7B1F-7D47-A94E-46C1F6191FEE}" destId="{2299E560-0E84-1F41-8EF9-1C9F60D871C7}" srcOrd="0" destOrd="0" parTransId="{0AF58860-B891-AB43-A39A-15069DFE14FA}" sibTransId="{2B952DB0-6682-C74A-9C32-D56E215279D2}"/>
    <dgm:cxn modelId="{BA0D2714-B34F-9F4E-B6E2-E928692BA877}" type="presOf" srcId="{56916E57-2018-7749-A518-D9B4A7A3B8A1}" destId="{D32BE228-55E2-CB47-B306-BF3AA2484C24}" srcOrd="0" destOrd="0" presId="urn:microsoft.com/office/officeart/2005/8/layout/hierarchy5"/>
    <dgm:cxn modelId="{D0FAE11A-FC48-494E-9E06-FD37B992239F}" type="presOf" srcId="{9C4B12ED-7B1F-7D47-A94E-46C1F6191FEE}" destId="{11DD7A6B-C0A7-D54B-A78A-6AD74A1D4379}" srcOrd="0" destOrd="0" presId="urn:microsoft.com/office/officeart/2005/8/layout/hierarchy5"/>
    <dgm:cxn modelId="{B9AE861E-75C7-B549-99C2-DC7F6CEE2CD3}" type="presOf" srcId="{35803DA6-B175-1648-8EBA-26F45000CB60}" destId="{DEE0D00A-2A26-9E44-9CC1-9B005009FB17}" srcOrd="0" destOrd="0" presId="urn:microsoft.com/office/officeart/2005/8/layout/hierarchy5"/>
    <dgm:cxn modelId="{AAB8F93B-4599-6F4E-8899-DB8AE3D8E9DA}" srcId="{E5324EFD-E75A-684A-B23A-8F8413CD01D1}" destId="{35803DA6-B175-1648-8EBA-26F45000CB60}" srcOrd="0" destOrd="0" parTransId="{36D87D11-7A27-DE44-A24E-808D6057A6FE}" sibTransId="{666765D3-6154-3040-951B-6E72EB3D1D09}"/>
    <dgm:cxn modelId="{769F1341-864F-434F-A11A-A7D0821F0A4A}" type="presOf" srcId="{0E28C877-101E-D94B-A385-4B0D7259B24B}" destId="{067BB074-C842-C94F-9D84-ACDD3424A2BD}" srcOrd="0" destOrd="0" presId="urn:microsoft.com/office/officeart/2005/8/layout/hierarchy5"/>
    <dgm:cxn modelId="{283EE946-15D1-E14F-9A59-7D6FC962D970}" type="presOf" srcId="{29620B44-3B79-574D-B3DB-7B5053DEE59F}" destId="{9BA54BC7-3EF4-1940-B57E-B375B5DA9A3D}" srcOrd="0" destOrd="0" presId="urn:microsoft.com/office/officeart/2005/8/layout/hierarchy5"/>
    <dgm:cxn modelId="{DC966347-6948-8545-9BF1-E2FE2BF60370}" type="presOf" srcId="{CDCF8384-C785-6E43-96AA-1321D42FD69C}" destId="{2A6303B3-C161-444E-BC16-6211184C8172}" srcOrd="0" destOrd="0" presId="urn:microsoft.com/office/officeart/2005/8/layout/hierarchy5"/>
    <dgm:cxn modelId="{20112651-2C03-9841-82D4-0013119FEB0F}" type="presOf" srcId="{4125AED9-27D5-0143-A114-B66985D85669}" destId="{EA1E846C-267E-FA4F-B7A6-F0B7AFF7408C}" srcOrd="0" destOrd="0" presId="urn:microsoft.com/office/officeart/2005/8/layout/hierarchy5"/>
    <dgm:cxn modelId="{4687B65B-3B88-AB4F-96A5-E6ACE871462B}" type="presOf" srcId="{D4A90E4F-587D-5543-99E7-95CD696A4BDB}" destId="{26077DF5-7751-E444-AFBF-590B07CDB9B7}" srcOrd="0" destOrd="0" presId="urn:microsoft.com/office/officeart/2005/8/layout/hierarchy5"/>
    <dgm:cxn modelId="{76F9C15D-12A8-F44E-ACED-E7F54D8C3570}" srcId="{2299E560-0E84-1F41-8EF9-1C9F60D871C7}" destId="{4125AED9-27D5-0143-A114-B66985D85669}" srcOrd="0" destOrd="0" parTransId="{56916E57-2018-7749-A518-D9B4A7A3B8A1}" sibTransId="{FA1850BC-CBA9-5C47-9F21-9BD24EF3E683}"/>
    <dgm:cxn modelId="{F6BDE35F-F1CE-514D-955F-6128DF89188F}" type="presOf" srcId="{22FC51A3-654B-514D-A33F-7B1E9695D9F7}" destId="{EF43612E-39D5-7144-9D6A-3EC02066B3F4}" srcOrd="0" destOrd="0" presId="urn:microsoft.com/office/officeart/2005/8/layout/hierarchy5"/>
    <dgm:cxn modelId="{AFF1B662-CDCC-0A4F-B64B-52E38EA7E301}" type="presOf" srcId="{2299E560-0E84-1F41-8EF9-1C9F60D871C7}" destId="{B4950A12-D4A7-7A4D-AC7B-DF72CF339D1C}" srcOrd="0" destOrd="0" presId="urn:microsoft.com/office/officeart/2005/8/layout/hierarchy5"/>
    <dgm:cxn modelId="{7080CE68-3ED1-5240-B510-6C004A1988FB}" type="presOf" srcId="{0AF58860-B891-AB43-A39A-15069DFE14FA}" destId="{1C897528-40D9-1D4C-8E1B-86D0E9692484}" srcOrd="1" destOrd="0" presId="urn:microsoft.com/office/officeart/2005/8/layout/hierarchy5"/>
    <dgm:cxn modelId="{A2367274-94E3-8346-8292-2F3F1FAA6BF2}" type="presOf" srcId="{B7D28930-6C6E-704D-B5CA-4C796838B0F8}" destId="{758FE12B-9B85-264F-83CD-8CFD9EA71AE9}" srcOrd="0" destOrd="0" presId="urn:microsoft.com/office/officeart/2005/8/layout/hierarchy5"/>
    <dgm:cxn modelId="{FD674775-B805-B044-B73E-F14A11D86837}" srcId="{FB452A90-C8A8-5947-B934-8A9AF46D27D5}" destId="{3934634F-3634-4040-8CD3-ED12876E12D2}" srcOrd="0" destOrd="0" parTransId="{C8CAF646-A97F-254F-8091-108D14DEADCA}" sibTransId="{87407B6D-B2C2-A546-A61D-6ADD540DBA9C}"/>
    <dgm:cxn modelId="{213B6475-9035-5945-8AC4-EB2F7C8AF262}" type="presOf" srcId="{56916E57-2018-7749-A518-D9B4A7A3B8A1}" destId="{E05FC477-F6F5-EC4F-A22E-DF0E5A60F670}" srcOrd="1" destOrd="0" presId="urn:microsoft.com/office/officeart/2005/8/layout/hierarchy5"/>
    <dgm:cxn modelId="{7E74D576-01A0-9B48-AFA7-E4BBE9B1F343}" type="presOf" srcId="{B7D28930-6C6E-704D-B5CA-4C796838B0F8}" destId="{C08AE781-A041-AC48-809C-A7E5895CCA05}" srcOrd="1" destOrd="0" presId="urn:microsoft.com/office/officeart/2005/8/layout/hierarchy5"/>
    <dgm:cxn modelId="{C13CED77-7DE0-984C-B85B-3CAE7673ADA1}" type="presOf" srcId="{36D87D11-7A27-DE44-A24E-808D6057A6FE}" destId="{C37B0354-5D28-1F4F-864A-E563C8C40E24}" srcOrd="0" destOrd="0" presId="urn:microsoft.com/office/officeart/2005/8/layout/hierarchy5"/>
    <dgm:cxn modelId="{63841E7B-1981-9144-89CA-536D3284EB90}" type="presOf" srcId="{CDCF8384-C785-6E43-96AA-1321D42FD69C}" destId="{14C1B23D-383C-424B-B4D2-8033168A6B8D}" srcOrd="1" destOrd="0" presId="urn:microsoft.com/office/officeart/2005/8/layout/hierarchy5"/>
    <dgm:cxn modelId="{07DDCA7B-12BF-EB4D-8832-1AA78659B78B}" type="presOf" srcId="{36D87D11-7A27-DE44-A24E-808D6057A6FE}" destId="{1A561878-3CB3-2A40-9471-8274B1113A63}" srcOrd="1" destOrd="0" presId="urn:microsoft.com/office/officeart/2005/8/layout/hierarchy5"/>
    <dgm:cxn modelId="{B1A0D37D-55DC-3E42-8F89-2EA009CF1DC2}" srcId="{35803DA6-B175-1648-8EBA-26F45000CB60}" destId="{1F2DFC5A-F155-DF4D-8136-FDAD59748D13}" srcOrd="2" destOrd="0" parTransId="{6573E51D-3201-9749-ADC0-F533D5A34E08}" sibTransId="{27E92E54-4056-204F-8916-E7B1F9DD707C}"/>
    <dgm:cxn modelId="{B26B9A87-2192-4D42-B4D4-799FC98356F5}" type="presOf" srcId="{FB452A90-C8A8-5947-B934-8A9AF46D27D5}" destId="{F7E151F2-0153-1D45-889A-FF5BCE1EFB98}" srcOrd="0" destOrd="0" presId="urn:microsoft.com/office/officeart/2005/8/layout/hierarchy5"/>
    <dgm:cxn modelId="{CE70798F-7294-9540-BAA4-67B9994F74EB}" type="presOf" srcId="{29620B44-3B79-574D-B3DB-7B5053DEE59F}" destId="{50116F75-C94C-8A47-A65E-A4E44B5D823F}" srcOrd="1" destOrd="0" presId="urn:microsoft.com/office/officeart/2005/8/layout/hierarchy5"/>
    <dgm:cxn modelId="{3EB11390-E395-8140-91CC-2E2EDE94A74B}" type="presOf" srcId="{FC39F2CF-8031-974D-AB36-370CD96F5676}" destId="{AB9ECC81-6B92-DD43-9D95-F8D2116FC491}" srcOrd="1" destOrd="0" presId="urn:microsoft.com/office/officeart/2005/8/layout/hierarchy5"/>
    <dgm:cxn modelId="{742EC29A-FAED-BC4C-A4AB-130773A14EA4}" srcId="{35803DA6-B175-1648-8EBA-26F45000CB60}" destId="{D4A90E4F-587D-5543-99E7-95CD696A4BDB}" srcOrd="0" destOrd="0" parTransId="{CDCF8384-C785-6E43-96AA-1321D42FD69C}" sibTransId="{960B5AE0-554C-5E45-BDD6-C2DFDEB157D8}"/>
    <dgm:cxn modelId="{A4CFBB9E-4999-AA41-9808-2E5034B294D1}" type="presOf" srcId="{6573E51D-3201-9749-ADC0-F533D5A34E08}" destId="{F687ED89-B58A-E740-83E3-D729E3E2E6CA}" srcOrd="0" destOrd="0" presId="urn:microsoft.com/office/officeart/2005/8/layout/hierarchy5"/>
    <dgm:cxn modelId="{D592DEA1-EE02-9149-BE8F-DFA696D74614}" type="presOf" srcId="{6573E51D-3201-9749-ADC0-F533D5A34E08}" destId="{A0DB8BB6-8080-8143-8BBB-2AE7088CA9EF}" srcOrd="1" destOrd="0" presId="urn:microsoft.com/office/officeart/2005/8/layout/hierarchy5"/>
    <dgm:cxn modelId="{EDB43BA5-24ED-E14B-BDB5-FB4E339BE136}" type="presOf" srcId="{0AF58860-B891-AB43-A39A-15069DFE14FA}" destId="{1C92AF49-80EA-1941-9A4B-0D447655D70A}" srcOrd="0" destOrd="0" presId="urn:microsoft.com/office/officeart/2005/8/layout/hierarchy5"/>
    <dgm:cxn modelId="{B824B4A8-31DE-0144-BE1A-E8D38E4E4889}" srcId="{3934634F-3634-4040-8CD3-ED12876E12D2}" destId="{9C4B12ED-7B1F-7D47-A94E-46C1F6191FEE}" srcOrd="1" destOrd="0" parTransId="{B7D28930-6C6E-704D-B5CA-4C796838B0F8}" sibTransId="{FD2D15A8-1E54-2C40-92BF-4D9DF22BF319}"/>
    <dgm:cxn modelId="{A50DC7AB-E16E-F547-8D7D-FEC797656ABE}" type="presOf" srcId="{EEA5E96D-7B72-3248-BC45-823931FC5F3A}" destId="{5037862A-7346-F048-A22B-C1C36211BADB}" srcOrd="1" destOrd="0" presId="urn:microsoft.com/office/officeart/2005/8/layout/hierarchy5"/>
    <dgm:cxn modelId="{774559C2-53CB-8E44-AD9F-2B85443E18BA}" type="presOf" srcId="{3934634F-3634-4040-8CD3-ED12876E12D2}" destId="{26FEE133-4ED9-4C4B-AD85-68B1EB314886}" srcOrd="0" destOrd="0" presId="urn:microsoft.com/office/officeart/2005/8/layout/hierarchy5"/>
    <dgm:cxn modelId="{042516C6-AE82-2341-878F-D03B079D26B0}" type="presOf" srcId="{E5324EFD-E75A-684A-B23A-8F8413CD01D1}" destId="{CBFFEAF9-072A-6349-86B7-C3E74172FAC7}" srcOrd="0" destOrd="0" presId="urn:microsoft.com/office/officeart/2005/8/layout/hierarchy5"/>
    <dgm:cxn modelId="{276E6CD5-7553-B443-B46B-459D71D73465}" srcId="{35803DA6-B175-1648-8EBA-26F45000CB60}" destId="{22FC51A3-654B-514D-A33F-7B1E9695D9F7}" srcOrd="1" destOrd="0" parTransId="{29620B44-3B79-574D-B3DB-7B5053DEE59F}" sibTransId="{1249B170-B281-654D-A1BC-76E3EB0CF100}"/>
    <dgm:cxn modelId="{9A4609D9-EA74-CA40-A4B6-5058DDB88DA4}" type="presOf" srcId="{FC39F2CF-8031-974D-AB36-370CD96F5676}" destId="{B0DCBAB2-2E57-E545-A6EE-923D02219717}" srcOrd="0" destOrd="0" presId="urn:microsoft.com/office/officeart/2005/8/layout/hierarchy5"/>
    <dgm:cxn modelId="{C456BAE2-C8E0-054F-B5C2-F05552951CAB}" srcId="{3934634F-3634-4040-8CD3-ED12876E12D2}" destId="{E5324EFD-E75A-684A-B23A-8F8413CD01D1}" srcOrd="0" destOrd="0" parTransId="{FC39F2CF-8031-974D-AB36-370CD96F5676}" sibTransId="{8D819F9B-AD9F-AE4A-AAAE-31473D2D9B3E}"/>
    <dgm:cxn modelId="{126A61EF-0D38-C94C-94AC-54BD00432013}" srcId="{2299E560-0E84-1F41-8EF9-1C9F60D871C7}" destId="{0E28C877-101E-D94B-A385-4B0D7259B24B}" srcOrd="1" destOrd="0" parTransId="{EEA5E96D-7B72-3248-BC45-823931FC5F3A}" sibTransId="{B7D8B2A3-94D5-F340-83F9-31D0C299560C}"/>
    <dgm:cxn modelId="{E933E7F1-858D-394C-9DC2-C5116F1CC637}" type="presOf" srcId="{1F2DFC5A-F155-DF4D-8136-FDAD59748D13}" destId="{B1E7E426-6AA9-8645-B204-1445FB1E2235}" srcOrd="0" destOrd="0" presId="urn:microsoft.com/office/officeart/2005/8/layout/hierarchy5"/>
    <dgm:cxn modelId="{D24708F3-7151-2144-A56E-30F72E8D55E5}" type="presOf" srcId="{EEA5E96D-7B72-3248-BC45-823931FC5F3A}" destId="{A6A296FA-E0F8-6748-93EA-76E7ADB84329}" srcOrd="0" destOrd="0" presId="urn:microsoft.com/office/officeart/2005/8/layout/hierarchy5"/>
    <dgm:cxn modelId="{4CF3105E-0FE6-474A-94F6-264352E9EF61}" type="presParOf" srcId="{F7E151F2-0153-1D45-889A-FF5BCE1EFB98}" destId="{39831254-92B1-7D4A-ACFC-AD5F54A20DBC}" srcOrd="0" destOrd="0" presId="urn:microsoft.com/office/officeart/2005/8/layout/hierarchy5"/>
    <dgm:cxn modelId="{D4665D57-ED8B-B346-B741-6D6136A3AD3F}" type="presParOf" srcId="{39831254-92B1-7D4A-ACFC-AD5F54A20DBC}" destId="{39B0828C-DCD4-4348-888E-DBD4D2A6160C}" srcOrd="0" destOrd="0" presId="urn:microsoft.com/office/officeart/2005/8/layout/hierarchy5"/>
    <dgm:cxn modelId="{7F5CDF56-ED6A-0746-8C12-54A3341968CB}" type="presParOf" srcId="{39B0828C-DCD4-4348-888E-DBD4D2A6160C}" destId="{B3200282-7DF6-394D-B69E-DDD3650C6F7B}" srcOrd="0" destOrd="0" presId="urn:microsoft.com/office/officeart/2005/8/layout/hierarchy5"/>
    <dgm:cxn modelId="{9872787A-D939-0643-83B4-944EB34BAF58}" type="presParOf" srcId="{B3200282-7DF6-394D-B69E-DDD3650C6F7B}" destId="{26FEE133-4ED9-4C4B-AD85-68B1EB314886}" srcOrd="0" destOrd="0" presId="urn:microsoft.com/office/officeart/2005/8/layout/hierarchy5"/>
    <dgm:cxn modelId="{BA796B20-2178-194E-996A-4E7331519E2D}" type="presParOf" srcId="{B3200282-7DF6-394D-B69E-DDD3650C6F7B}" destId="{8AAB22CD-2135-CD47-9D7A-9AA939D2504F}" srcOrd="1" destOrd="0" presId="urn:microsoft.com/office/officeart/2005/8/layout/hierarchy5"/>
    <dgm:cxn modelId="{541DE0E4-B549-B748-8114-45D95DC50283}" type="presParOf" srcId="{8AAB22CD-2135-CD47-9D7A-9AA939D2504F}" destId="{B0DCBAB2-2E57-E545-A6EE-923D02219717}" srcOrd="0" destOrd="0" presId="urn:microsoft.com/office/officeart/2005/8/layout/hierarchy5"/>
    <dgm:cxn modelId="{6E5D93CE-F260-6F4E-AA1A-400B8E1D625A}" type="presParOf" srcId="{B0DCBAB2-2E57-E545-A6EE-923D02219717}" destId="{AB9ECC81-6B92-DD43-9D95-F8D2116FC491}" srcOrd="0" destOrd="0" presId="urn:microsoft.com/office/officeart/2005/8/layout/hierarchy5"/>
    <dgm:cxn modelId="{A0F23826-B3F8-F946-BBBC-0D887684F004}" type="presParOf" srcId="{8AAB22CD-2135-CD47-9D7A-9AA939D2504F}" destId="{CFB86725-B188-5D4C-97FA-BC18FA6B70C0}" srcOrd="1" destOrd="0" presId="urn:microsoft.com/office/officeart/2005/8/layout/hierarchy5"/>
    <dgm:cxn modelId="{239EAFC2-654B-FB4A-901A-E09ED069383F}" type="presParOf" srcId="{CFB86725-B188-5D4C-97FA-BC18FA6B70C0}" destId="{CBFFEAF9-072A-6349-86B7-C3E74172FAC7}" srcOrd="0" destOrd="0" presId="urn:microsoft.com/office/officeart/2005/8/layout/hierarchy5"/>
    <dgm:cxn modelId="{E85DAD81-77AF-6341-A8CF-6C8577944DAB}" type="presParOf" srcId="{CFB86725-B188-5D4C-97FA-BC18FA6B70C0}" destId="{9FA376D2-4D02-E646-969B-D27368E6DFCD}" srcOrd="1" destOrd="0" presId="urn:microsoft.com/office/officeart/2005/8/layout/hierarchy5"/>
    <dgm:cxn modelId="{3420CA75-855A-BC4E-9C6C-1A61768D8597}" type="presParOf" srcId="{9FA376D2-4D02-E646-969B-D27368E6DFCD}" destId="{C37B0354-5D28-1F4F-864A-E563C8C40E24}" srcOrd="0" destOrd="0" presId="urn:microsoft.com/office/officeart/2005/8/layout/hierarchy5"/>
    <dgm:cxn modelId="{7AAB7E7D-EED6-5348-8BCB-C9E24559D763}" type="presParOf" srcId="{C37B0354-5D28-1F4F-864A-E563C8C40E24}" destId="{1A561878-3CB3-2A40-9471-8274B1113A63}" srcOrd="0" destOrd="0" presId="urn:microsoft.com/office/officeart/2005/8/layout/hierarchy5"/>
    <dgm:cxn modelId="{E069BAEC-D2AB-0041-BA56-B0DF67327383}" type="presParOf" srcId="{9FA376D2-4D02-E646-969B-D27368E6DFCD}" destId="{739FD056-9BA0-4145-9091-E918BEFFFFE8}" srcOrd="1" destOrd="0" presId="urn:microsoft.com/office/officeart/2005/8/layout/hierarchy5"/>
    <dgm:cxn modelId="{E9198D6A-836B-2A4D-A1F4-46745C3FFB19}" type="presParOf" srcId="{739FD056-9BA0-4145-9091-E918BEFFFFE8}" destId="{DEE0D00A-2A26-9E44-9CC1-9B005009FB17}" srcOrd="0" destOrd="0" presId="urn:microsoft.com/office/officeart/2005/8/layout/hierarchy5"/>
    <dgm:cxn modelId="{60F96BF3-9564-BE48-A851-1EE6D0115059}" type="presParOf" srcId="{739FD056-9BA0-4145-9091-E918BEFFFFE8}" destId="{9BBFF9C7-7F5E-5E45-8FFF-5C4385908D67}" srcOrd="1" destOrd="0" presId="urn:microsoft.com/office/officeart/2005/8/layout/hierarchy5"/>
    <dgm:cxn modelId="{14EBECD6-5965-5144-9A1A-84D36016DD72}" type="presParOf" srcId="{9BBFF9C7-7F5E-5E45-8FFF-5C4385908D67}" destId="{2A6303B3-C161-444E-BC16-6211184C8172}" srcOrd="0" destOrd="0" presId="urn:microsoft.com/office/officeart/2005/8/layout/hierarchy5"/>
    <dgm:cxn modelId="{84976D0B-AA2A-C348-82E4-EEB00FC91CAE}" type="presParOf" srcId="{2A6303B3-C161-444E-BC16-6211184C8172}" destId="{14C1B23D-383C-424B-B4D2-8033168A6B8D}" srcOrd="0" destOrd="0" presId="urn:microsoft.com/office/officeart/2005/8/layout/hierarchy5"/>
    <dgm:cxn modelId="{434ED32F-8F35-1140-994B-9EAC83C9A463}" type="presParOf" srcId="{9BBFF9C7-7F5E-5E45-8FFF-5C4385908D67}" destId="{F59CB0DA-EAD9-6B4B-A1EA-602340AE72E9}" srcOrd="1" destOrd="0" presId="urn:microsoft.com/office/officeart/2005/8/layout/hierarchy5"/>
    <dgm:cxn modelId="{F3B817EC-BD3F-CA4C-B459-6DA67398C975}" type="presParOf" srcId="{F59CB0DA-EAD9-6B4B-A1EA-602340AE72E9}" destId="{26077DF5-7751-E444-AFBF-590B07CDB9B7}" srcOrd="0" destOrd="0" presId="urn:microsoft.com/office/officeart/2005/8/layout/hierarchy5"/>
    <dgm:cxn modelId="{418165B3-9238-2848-A784-D3C285A59441}" type="presParOf" srcId="{F59CB0DA-EAD9-6B4B-A1EA-602340AE72E9}" destId="{ECC1E9B9-8288-3C41-8B29-7D82DA04A23B}" srcOrd="1" destOrd="0" presId="urn:microsoft.com/office/officeart/2005/8/layout/hierarchy5"/>
    <dgm:cxn modelId="{BC01DCDA-5BD9-C844-8616-0D93637AF944}" type="presParOf" srcId="{9BBFF9C7-7F5E-5E45-8FFF-5C4385908D67}" destId="{9BA54BC7-3EF4-1940-B57E-B375B5DA9A3D}" srcOrd="2" destOrd="0" presId="urn:microsoft.com/office/officeart/2005/8/layout/hierarchy5"/>
    <dgm:cxn modelId="{FBC12D28-3980-4049-9287-F655FB522D34}" type="presParOf" srcId="{9BA54BC7-3EF4-1940-B57E-B375B5DA9A3D}" destId="{50116F75-C94C-8A47-A65E-A4E44B5D823F}" srcOrd="0" destOrd="0" presId="urn:microsoft.com/office/officeart/2005/8/layout/hierarchy5"/>
    <dgm:cxn modelId="{03B4890B-D15A-7C43-90A1-C0DD6DDCD950}" type="presParOf" srcId="{9BBFF9C7-7F5E-5E45-8FFF-5C4385908D67}" destId="{8811EE24-AEB3-194C-A4F9-E00C7BF45B4E}" srcOrd="3" destOrd="0" presId="urn:microsoft.com/office/officeart/2005/8/layout/hierarchy5"/>
    <dgm:cxn modelId="{23B25AFB-68B2-0D49-A6CA-148910339B54}" type="presParOf" srcId="{8811EE24-AEB3-194C-A4F9-E00C7BF45B4E}" destId="{EF43612E-39D5-7144-9D6A-3EC02066B3F4}" srcOrd="0" destOrd="0" presId="urn:microsoft.com/office/officeart/2005/8/layout/hierarchy5"/>
    <dgm:cxn modelId="{BC1E3676-42B0-CA44-B96F-7C7C60F0FB3B}" type="presParOf" srcId="{8811EE24-AEB3-194C-A4F9-E00C7BF45B4E}" destId="{CC3CA8D2-58E6-0C47-BC5D-0FD8943FC98D}" srcOrd="1" destOrd="0" presId="urn:microsoft.com/office/officeart/2005/8/layout/hierarchy5"/>
    <dgm:cxn modelId="{B30DFA71-9F69-DF4D-98CF-CBD83DCF43D6}" type="presParOf" srcId="{9BBFF9C7-7F5E-5E45-8FFF-5C4385908D67}" destId="{F687ED89-B58A-E740-83E3-D729E3E2E6CA}" srcOrd="4" destOrd="0" presId="urn:microsoft.com/office/officeart/2005/8/layout/hierarchy5"/>
    <dgm:cxn modelId="{D7F26840-B989-374C-9CD8-EFAE33AD8EB2}" type="presParOf" srcId="{F687ED89-B58A-E740-83E3-D729E3E2E6CA}" destId="{A0DB8BB6-8080-8143-8BBB-2AE7088CA9EF}" srcOrd="0" destOrd="0" presId="urn:microsoft.com/office/officeart/2005/8/layout/hierarchy5"/>
    <dgm:cxn modelId="{E1866708-435A-E749-89B2-F4B1CA71334A}" type="presParOf" srcId="{9BBFF9C7-7F5E-5E45-8FFF-5C4385908D67}" destId="{8B455017-F5A2-8943-9136-B446BC9CA3C1}" srcOrd="5" destOrd="0" presId="urn:microsoft.com/office/officeart/2005/8/layout/hierarchy5"/>
    <dgm:cxn modelId="{F3A5CC51-C174-F845-89CA-5490347DD354}" type="presParOf" srcId="{8B455017-F5A2-8943-9136-B446BC9CA3C1}" destId="{B1E7E426-6AA9-8645-B204-1445FB1E2235}" srcOrd="0" destOrd="0" presId="urn:microsoft.com/office/officeart/2005/8/layout/hierarchy5"/>
    <dgm:cxn modelId="{AB2B6B77-DFC1-7341-827B-C42B307F3125}" type="presParOf" srcId="{8B455017-F5A2-8943-9136-B446BC9CA3C1}" destId="{FEBE5F69-2CF8-8549-9B45-71C7FE983DFD}" srcOrd="1" destOrd="0" presId="urn:microsoft.com/office/officeart/2005/8/layout/hierarchy5"/>
    <dgm:cxn modelId="{6794E063-51EE-B440-80ED-433405728CCD}" type="presParOf" srcId="{8AAB22CD-2135-CD47-9D7A-9AA939D2504F}" destId="{758FE12B-9B85-264F-83CD-8CFD9EA71AE9}" srcOrd="2" destOrd="0" presId="urn:microsoft.com/office/officeart/2005/8/layout/hierarchy5"/>
    <dgm:cxn modelId="{E30794CC-8707-8E44-B90C-5C9C2D2C7706}" type="presParOf" srcId="{758FE12B-9B85-264F-83CD-8CFD9EA71AE9}" destId="{C08AE781-A041-AC48-809C-A7E5895CCA05}" srcOrd="0" destOrd="0" presId="urn:microsoft.com/office/officeart/2005/8/layout/hierarchy5"/>
    <dgm:cxn modelId="{84060BE9-B554-DD4C-B1F9-4339734D5418}" type="presParOf" srcId="{8AAB22CD-2135-CD47-9D7A-9AA939D2504F}" destId="{E34F389B-84C2-1F43-8FFB-ACCF039965BC}" srcOrd="3" destOrd="0" presId="urn:microsoft.com/office/officeart/2005/8/layout/hierarchy5"/>
    <dgm:cxn modelId="{29B1DCAC-0AF4-EC42-A581-789489AF5E70}" type="presParOf" srcId="{E34F389B-84C2-1F43-8FFB-ACCF039965BC}" destId="{11DD7A6B-C0A7-D54B-A78A-6AD74A1D4379}" srcOrd="0" destOrd="0" presId="urn:microsoft.com/office/officeart/2005/8/layout/hierarchy5"/>
    <dgm:cxn modelId="{C4C23DBC-67EF-8546-8294-207A5B944E3D}" type="presParOf" srcId="{E34F389B-84C2-1F43-8FFB-ACCF039965BC}" destId="{0774619F-AA7F-2841-8C10-09E48E675EAF}" srcOrd="1" destOrd="0" presId="urn:microsoft.com/office/officeart/2005/8/layout/hierarchy5"/>
    <dgm:cxn modelId="{53B4479F-0476-8946-97F8-43471D7F3E05}" type="presParOf" srcId="{0774619F-AA7F-2841-8C10-09E48E675EAF}" destId="{1C92AF49-80EA-1941-9A4B-0D447655D70A}" srcOrd="0" destOrd="0" presId="urn:microsoft.com/office/officeart/2005/8/layout/hierarchy5"/>
    <dgm:cxn modelId="{6883303D-C595-FE47-B6EB-F882DF8D02A7}" type="presParOf" srcId="{1C92AF49-80EA-1941-9A4B-0D447655D70A}" destId="{1C897528-40D9-1D4C-8E1B-86D0E9692484}" srcOrd="0" destOrd="0" presId="urn:microsoft.com/office/officeart/2005/8/layout/hierarchy5"/>
    <dgm:cxn modelId="{06E64E7D-3524-734A-9478-753FCC0C7C16}" type="presParOf" srcId="{0774619F-AA7F-2841-8C10-09E48E675EAF}" destId="{37528AAA-945D-B04A-B935-5D31AF209D05}" srcOrd="1" destOrd="0" presId="urn:microsoft.com/office/officeart/2005/8/layout/hierarchy5"/>
    <dgm:cxn modelId="{DEF9EF88-93D3-3842-9F04-460D9857C8D1}" type="presParOf" srcId="{37528AAA-945D-B04A-B935-5D31AF209D05}" destId="{B4950A12-D4A7-7A4D-AC7B-DF72CF339D1C}" srcOrd="0" destOrd="0" presId="urn:microsoft.com/office/officeart/2005/8/layout/hierarchy5"/>
    <dgm:cxn modelId="{70EA2346-ED25-074D-B8D2-53FC57CFCC38}" type="presParOf" srcId="{37528AAA-945D-B04A-B935-5D31AF209D05}" destId="{5FF8AB0A-46BC-7745-9F94-1F1B7C8E1F84}" srcOrd="1" destOrd="0" presId="urn:microsoft.com/office/officeart/2005/8/layout/hierarchy5"/>
    <dgm:cxn modelId="{84E17322-D110-1A47-82F4-9BBBDD6314AC}" type="presParOf" srcId="{5FF8AB0A-46BC-7745-9F94-1F1B7C8E1F84}" destId="{D32BE228-55E2-CB47-B306-BF3AA2484C24}" srcOrd="0" destOrd="0" presId="urn:microsoft.com/office/officeart/2005/8/layout/hierarchy5"/>
    <dgm:cxn modelId="{F086B4F8-EA24-8B45-A11F-70E14527F3C1}" type="presParOf" srcId="{D32BE228-55E2-CB47-B306-BF3AA2484C24}" destId="{E05FC477-F6F5-EC4F-A22E-DF0E5A60F670}" srcOrd="0" destOrd="0" presId="urn:microsoft.com/office/officeart/2005/8/layout/hierarchy5"/>
    <dgm:cxn modelId="{3E5DD9FA-E436-1445-AB94-8E9B31DB1CB2}" type="presParOf" srcId="{5FF8AB0A-46BC-7745-9F94-1F1B7C8E1F84}" destId="{3376E260-1427-364F-931C-5D4D1DC3AE50}" srcOrd="1" destOrd="0" presId="urn:microsoft.com/office/officeart/2005/8/layout/hierarchy5"/>
    <dgm:cxn modelId="{FAD847E7-8723-7A4D-ACDB-44D78BA6B8CC}" type="presParOf" srcId="{3376E260-1427-364F-931C-5D4D1DC3AE50}" destId="{EA1E846C-267E-FA4F-B7A6-F0B7AFF7408C}" srcOrd="0" destOrd="0" presId="urn:microsoft.com/office/officeart/2005/8/layout/hierarchy5"/>
    <dgm:cxn modelId="{3E0348EC-DEAD-114F-98D4-E3892D6AECAC}" type="presParOf" srcId="{3376E260-1427-364F-931C-5D4D1DC3AE50}" destId="{53869395-3CCF-C749-9A32-D75F93FFE4DD}" srcOrd="1" destOrd="0" presId="urn:microsoft.com/office/officeart/2005/8/layout/hierarchy5"/>
    <dgm:cxn modelId="{A37F85FC-2B80-8A4D-9AC2-665C7CDFB53D}" type="presParOf" srcId="{5FF8AB0A-46BC-7745-9F94-1F1B7C8E1F84}" destId="{A6A296FA-E0F8-6748-93EA-76E7ADB84329}" srcOrd="2" destOrd="0" presId="urn:microsoft.com/office/officeart/2005/8/layout/hierarchy5"/>
    <dgm:cxn modelId="{0BDE8ADF-FD99-9649-82B6-B1F0C5C33259}" type="presParOf" srcId="{A6A296FA-E0F8-6748-93EA-76E7ADB84329}" destId="{5037862A-7346-F048-A22B-C1C36211BADB}" srcOrd="0" destOrd="0" presId="urn:microsoft.com/office/officeart/2005/8/layout/hierarchy5"/>
    <dgm:cxn modelId="{5B40BD8B-5B72-5849-B8E4-8AF85B92B6BC}" type="presParOf" srcId="{5FF8AB0A-46BC-7745-9F94-1F1B7C8E1F84}" destId="{805FBE89-4078-8245-9E6B-7ED078297078}" srcOrd="3" destOrd="0" presId="urn:microsoft.com/office/officeart/2005/8/layout/hierarchy5"/>
    <dgm:cxn modelId="{C961CED7-9B41-E742-BC10-B31D2260BE95}" type="presParOf" srcId="{805FBE89-4078-8245-9E6B-7ED078297078}" destId="{067BB074-C842-C94F-9D84-ACDD3424A2BD}" srcOrd="0" destOrd="0" presId="urn:microsoft.com/office/officeart/2005/8/layout/hierarchy5"/>
    <dgm:cxn modelId="{13FC3481-EEB2-914B-A294-A39D4E095E5C}" type="presParOf" srcId="{805FBE89-4078-8245-9E6B-7ED078297078}" destId="{F95BE1B0-0278-2A4D-8082-7C4987DBBB11}" srcOrd="1" destOrd="0" presId="urn:microsoft.com/office/officeart/2005/8/layout/hierarchy5"/>
    <dgm:cxn modelId="{AC623C5F-35EB-CC43-B141-D202778A5E23}" type="presParOf" srcId="{F7E151F2-0153-1D45-889A-FF5BCE1EFB98}" destId="{D1A67EFD-83DF-5747-8BEC-CE7A38B71663}"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FEE133-4ED9-4C4B-AD85-68B1EB314886}">
      <dsp:nvSpPr>
        <dsp:cNvPr id="0" name=""/>
        <dsp:cNvSpPr/>
      </dsp:nvSpPr>
      <dsp:spPr>
        <a:xfrm>
          <a:off x="396610" y="2503834"/>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t>不一致</a:t>
          </a:r>
          <a:endParaRPr lang="en-US" altLang="zh-CN" sz="1800" kern="1200" dirty="0"/>
        </a:p>
        <a:p>
          <a:pPr marL="0" lvl="0" indent="0" algn="ctr" defTabSz="800100">
            <a:lnSpc>
              <a:spcPct val="90000"/>
            </a:lnSpc>
            <a:spcBef>
              <a:spcPct val="0"/>
            </a:spcBef>
            <a:spcAft>
              <a:spcPct val="35000"/>
            </a:spcAft>
            <a:buNone/>
          </a:pPr>
          <a:r>
            <a:rPr lang="zh-CN" altLang="en-US" sz="1800" kern="1200" dirty="0"/>
            <a:t>原因</a:t>
          </a:r>
        </a:p>
      </dsp:txBody>
      <dsp:txXfrm>
        <a:off x="424934" y="2532158"/>
        <a:ext cx="1877456" cy="910404"/>
      </dsp:txXfrm>
    </dsp:sp>
    <dsp:sp modelId="{B0DCBAB2-2E57-E545-A6EE-923D02219717}">
      <dsp:nvSpPr>
        <dsp:cNvPr id="0" name=""/>
        <dsp:cNvSpPr/>
      </dsp:nvSpPr>
      <dsp:spPr>
        <a:xfrm rot="17945813">
          <a:off x="1922079" y="2276230"/>
          <a:ext cx="1590912" cy="32124"/>
        </a:xfrm>
        <a:custGeom>
          <a:avLst/>
          <a:gdLst/>
          <a:ahLst/>
          <a:cxnLst/>
          <a:rect l="0" t="0" r="0" b="0"/>
          <a:pathLst>
            <a:path>
              <a:moveTo>
                <a:pt x="0" y="16062"/>
              </a:moveTo>
              <a:lnTo>
                <a:pt x="1590912" y="160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zh-CN" altLang="en-US" sz="600" kern="1200"/>
        </a:p>
      </dsp:txBody>
      <dsp:txXfrm>
        <a:off x="2677762" y="2252519"/>
        <a:ext cx="79545" cy="79545"/>
      </dsp:txXfrm>
    </dsp:sp>
    <dsp:sp modelId="{CBFFEAF9-072A-6349-86B7-C3E74172FAC7}">
      <dsp:nvSpPr>
        <dsp:cNvPr id="0" name=""/>
        <dsp:cNvSpPr/>
      </dsp:nvSpPr>
      <dsp:spPr>
        <a:xfrm>
          <a:off x="3104356" y="1113697"/>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t>物理原因</a:t>
          </a:r>
          <a:endParaRPr lang="en-US" altLang="zh-CN" sz="1800" kern="1200" dirty="0"/>
        </a:p>
        <a:p>
          <a:pPr marL="0" lvl="0" indent="0" algn="ctr" defTabSz="800100">
            <a:lnSpc>
              <a:spcPct val="90000"/>
            </a:lnSpc>
            <a:spcBef>
              <a:spcPct val="0"/>
            </a:spcBef>
            <a:spcAft>
              <a:spcPct val="35000"/>
            </a:spcAft>
            <a:buNone/>
          </a:pPr>
          <a:r>
            <a:rPr lang="en-US" altLang="zh-CN" sz="1800" kern="1200" dirty="0"/>
            <a:t>IO</a:t>
          </a:r>
          <a:r>
            <a:rPr lang="zh-CN" altLang="en-US" sz="1800" kern="1200" dirty="0"/>
            <a:t>异常</a:t>
          </a:r>
        </a:p>
      </dsp:txBody>
      <dsp:txXfrm>
        <a:off x="3132680" y="1142021"/>
        <a:ext cx="1877456" cy="910404"/>
      </dsp:txXfrm>
    </dsp:sp>
    <dsp:sp modelId="{C37B0354-5D28-1F4F-864A-E563C8C40E24}">
      <dsp:nvSpPr>
        <dsp:cNvPr id="0" name=""/>
        <dsp:cNvSpPr/>
      </dsp:nvSpPr>
      <dsp:spPr>
        <a:xfrm>
          <a:off x="5038460" y="1581161"/>
          <a:ext cx="773641" cy="32124"/>
        </a:xfrm>
        <a:custGeom>
          <a:avLst/>
          <a:gdLst/>
          <a:ahLst/>
          <a:cxnLst/>
          <a:rect l="0" t="0" r="0" b="0"/>
          <a:pathLst>
            <a:path>
              <a:moveTo>
                <a:pt x="0" y="16062"/>
              </a:moveTo>
              <a:lnTo>
                <a:pt x="773641" y="160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5405940" y="1577882"/>
        <a:ext cx="38682" cy="38682"/>
      </dsp:txXfrm>
    </dsp:sp>
    <dsp:sp modelId="{DEE0D00A-2A26-9E44-9CC1-9B005009FB17}">
      <dsp:nvSpPr>
        <dsp:cNvPr id="0" name=""/>
        <dsp:cNvSpPr/>
      </dsp:nvSpPr>
      <dsp:spPr>
        <a:xfrm>
          <a:off x="5812102" y="1113697"/>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t>重试</a:t>
          </a:r>
        </a:p>
      </dsp:txBody>
      <dsp:txXfrm>
        <a:off x="5840426" y="1142021"/>
        <a:ext cx="1877456" cy="910404"/>
      </dsp:txXfrm>
    </dsp:sp>
    <dsp:sp modelId="{2A6303B3-C161-444E-BC16-6211184C8172}">
      <dsp:nvSpPr>
        <dsp:cNvPr id="0" name=""/>
        <dsp:cNvSpPr/>
      </dsp:nvSpPr>
      <dsp:spPr>
        <a:xfrm rot="18289469">
          <a:off x="7455659" y="1025106"/>
          <a:ext cx="1354736" cy="32124"/>
        </a:xfrm>
        <a:custGeom>
          <a:avLst/>
          <a:gdLst/>
          <a:ahLst/>
          <a:cxnLst/>
          <a:rect l="0" t="0" r="0" b="0"/>
          <a:pathLst>
            <a:path>
              <a:moveTo>
                <a:pt x="0" y="16062"/>
              </a:moveTo>
              <a:lnTo>
                <a:pt x="1354736" y="160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8099159" y="1007300"/>
        <a:ext cx="67736" cy="67736"/>
      </dsp:txXfrm>
    </dsp:sp>
    <dsp:sp modelId="{26077DF5-7751-E444-AFBF-590B07CDB9B7}">
      <dsp:nvSpPr>
        <dsp:cNvPr id="0" name=""/>
        <dsp:cNvSpPr/>
      </dsp:nvSpPr>
      <dsp:spPr>
        <a:xfrm>
          <a:off x="8519848" y="1587"/>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t>延时双删</a:t>
          </a:r>
        </a:p>
      </dsp:txBody>
      <dsp:txXfrm>
        <a:off x="8548172" y="29911"/>
        <a:ext cx="1877456" cy="910404"/>
      </dsp:txXfrm>
    </dsp:sp>
    <dsp:sp modelId="{9BA54BC7-3EF4-1940-B57E-B375B5DA9A3D}">
      <dsp:nvSpPr>
        <dsp:cNvPr id="0" name=""/>
        <dsp:cNvSpPr/>
      </dsp:nvSpPr>
      <dsp:spPr>
        <a:xfrm>
          <a:off x="7746206" y="1581161"/>
          <a:ext cx="773641" cy="32124"/>
        </a:xfrm>
        <a:custGeom>
          <a:avLst/>
          <a:gdLst/>
          <a:ahLst/>
          <a:cxnLst/>
          <a:rect l="0" t="0" r="0" b="0"/>
          <a:pathLst>
            <a:path>
              <a:moveTo>
                <a:pt x="0" y="16062"/>
              </a:moveTo>
              <a:lnTo>
                <a:pt x="773641" y="160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8113686" y="1577882"/>
        <a:ext cx="38682" cy="38682"/>
      </dsp:txXfrm>
    </dsp:sp>
    <dsp:sp modelId="{EF43612E-39D5-7144-9D6A-3EC02066B3F4}">
      <dsp:nvSpPr>
        <dsp:cNvPr id="0" name=""/>
        <dsp:cNvSpPr/>
      </dsp:nvSpPr>
      <dsp:spPr>
        <a:xfrm>
          <a:off x="8519848" y="1113697"/>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t>借助消息队列</a:t>
          </a:r>
        </a:p>
      </dsp:txBody>
      <dsp:txXfrm>
        <a:off x="8548172" y="1142021"/>
        <a:ext cx="1877456" cy="910404"/>
      </dsp:txXfrm>
    </dsp:sp>
    <dsp:sp modelId="{F687ED89-B58A-E740-83E3-D729E3E2E6CA}">
      <dsp:nvSpPr>
        <dsp:cNvPr id="0" name=""/>
        <dsp:cNvSpPr/>
      </dsp:nvSpPr>
      <dsp:spPr>
        <a:xfrm rot="3310531">
          <a:off x="7455659" y="2137216"/>
          <a:ext cx="1354736" cy="32124"/>
        </a:xfrm>
        <a:custGeom>
          <a:avLst/>
          <a:gdLst/>
          <a:ahLst/>
          <a:cxnLst/>
          <a:rect l="0" t="0" r="0" b="0"/>
          <a:pathLst>
            <a:path>
              <a:moveTo>
                <a:pt x="0" y="16062"/>
              </a:moveTo>
              <a:lnTo>
                <a:pt x="1354736" y="160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8099159" y="2119410"/>
        <a:ext cx="67736" cy="67736"/>
      </dsp:txXfrm>
    </dsp:sp>
    <dsp:sp modelId="{B1E7E426-6AA9-8645-B204-1445FB1E2235}">
      <dsp:nvSpPr>
        <dsp:cNvPr id="0" name=""/>
        <dsp:cNvSpPr/>
      </dsp:nvSpPr>
      <dsp:spPr>
        <a:xfrm>
          <a:off x="8519848" y="2225807"/>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t>订阅</a:t>
          </a:r>
          <a:r>
            <a:rPr lang="en-US" altLang="zh-CN" sz="1800" kern="1200" dirty="0" err="1"/>
            <a:t>Binlog</a:t>
          </a:r>
          <a:endParaRPr lang="zh-CN" altLang="en-US" sz="1800" kern="1200" dirty="0"/>
        </a:p>
      </dsp:txBody>
      <dsp:txXfrm>
        <a:off x="8548172" y="2254131"/>
        <a:ext cx="1877456" cy="910404"/>
      </dsp:txXfrm>
    </dsp:sp>
    <dsp:sp modelId="{758FE12B-9B85-264F-83CD-8CFD9EA71AE9}">
      <dsp:nvSpPr>
        <dsp:cNvPr id="0" name=""/>
        <dsp:cNvSpPr/>
      </dsp:nvSpPr>
      <dsp:spPr>
        <a:xfrm rot="3654187">
          <a:off x="1922079" y="3666367"/>
          <a:ext cx="1590912" cy="32124"/>
        </a:xfrm>
        <a:custGeom>
          <a:avLst/>
          <a:gdLst/>
          <a:ahLst/>
          <a:cxnLst/>
          <a:rect l="0" t="0" r="0" b="0"/>
          <a:pathLst>
            <a:path>
              <a:moveTo>
                <a:pt x="0" y="16062"/>
              </a:moveTo>
              <a:lnTo>
                <a:pt x="1590912" y="160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zh-CN" altLang="en-US" sz="600" kern="1200"/>
        </a:p>
      </dsp:txBody>
      <dsp:txXfrm>
        <a:off x="2677762" y="3642656"/>
        <a:ext cx="79545" cy="79545"/>
      </dsp:txXfrm>
    </dsp:sp>
    <dsp:sp modelId="{11DD7A6B-C0A7-D54B-A78A-6AD74A1D4379}">
      <dsp:nvSpPr>
        <dsp:cNvPr id="0" name=""/>
        <dsp:cNvSpPr/>
      </dsp:nvSpPr>
      <dsp:spPr>
        <a:xfrm>
          <a:off x="3104356" y="3893972"/>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t>逻辑原因</a:t>
          </a:r>
          <a:endParaRPr lang="en-US" altLang="zh-CN" sz="1800" kern="1200" dirty="0"/>
        </a:p>
        <a:p>
          <a:pPr marL="0" lvl="0" indent="0" algn="ctr" defTabSz="800100">
            <a:lnSpc>
              <a:spcPct val="90000"/>
            </a:lnSpc>
            <a:spcBef>
              <a:spcPct val="0"/>
            </a:spcBef>
            <a:spcAft>
              <a:spcPct val="35000"/>
            </a:spcAft>
            <a:buNone/>
          </a:pPr>
          <a:r>
            <a:rPr lang="zh-CN" altLang="en-US" sz="1800" kern="1200" dirty="0"/>
            <a:t>并发异常</a:t>
          </a:r>
        </a:p>
      </dsp:txBody>
      <dsp:txXfrm>
        <a:off x="3132680" y="3922296"/>
        <a:ext cx="1877456" cy="910404"/>
      </dsp:txXfrm>
    </dsp:sp>
    <dsp:sp modelId="{1C92AF49-80EA-1941-9A4B-0D447655D70A}">
      <dsp:nvSpPr>
        <dsp:cNvPr id="0" name=""/>
        <dsp:cNvSpPr/>
      </dsp:nvSpPr>
      <dsp:spPr>
        <a:xfrm>
          <a:off x="5038460" y="4361436"/>
          <a:ext cx="773641" cy="32124"/>
        </a:xfrm>
        <a:custGeom>
          <a:avLst/>
          <a:gdLst/>
          <a:ahLst/>
          <a:cxnLst/>
          <a:rect l="0" t="0" r="0" b="0"/>
          <a:pathLst>
            <a:path>
              <a:moveTo>
                <a:pt x="0" y="16062"/>
              </a:moveTo>
              <a:lnTo>
                <a:pt x="773641" y="160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5405940" y="4358157"/>
        <a:ext cx="38682" cy="38682"/>
      </dsp:txXfrm>
    </dsp:sp>
    <dsp:sp modelId="{B4950A12-D4A7-7A4D-AC7B-DF72CF339D1C}">
      <dsp:nvSpPr>
        <dsp:cNvPr id="0" name=""/>
        <dsp:cNvSpPr/>
      </dsp:nvSpPr>
      <dsp:spPr>
        <a:xfrm>
          <a:off x="5812102" y="3893972"/>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t>串行化</a:t>
          </a:r>
        </a:p>
      </dsp:txBody>
      <dsp:txXfrm>
        <a:off x="5840426" y="3922296"/>
        <a:ext cx="1877456" cy="910404"/>
      </dsp:txXfrm>
    </dsp:sp>
    <dsp:sp modelId="{D32BE228-55E2-CB47-B306-BF3AA2484C24}">
      <dsp:nvSpPr>
        <dsp:cNvPr id="0" name=""/>
        <dsp:cNvSpPr/>
      </dsp:nvSpPr>
      <dsp:spPr>
        <a:xfrm rot="19457599">
          <a:off x="7656656" y="4083408"/>
          <a:ext cx="952742" cy="32124"/>
        </a:xfrm>
        <a:custGeom>
          <a:avLst/>
          <a:gdLst/>
          <a:ahLst/>
          <a:cxnLst/>
          <a:rect l="0" t="0" r="0" b="0"/>
          <a:pathLst>
            <a:path>
              <a:moveTo>
                <a:pt x="0" y="16062"/>
              </a:moveTo>
              <a:lnTo>
                <a:pt x="952742" y="160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8109208" y="4075652"/>
        <a:ext cx="47637" cy="47637"/>
      </dsp:txXfrm>
    </dsp:sp>
    <dsp:sp modelId="{EA1E846C-267E-FA4F-B7A6-F0B7AFF7408C}">
      <dsp:nvSpPr>
        <dsp:cNvPr id="0" name=""/>
        <dsp:cNvSpPr/>
      </dsp:nvSpPr>
      <dsp:spPr>
        <a:xfrm>
          <a:off x="8519848" y="3337917"/>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altLang="zh-CN" sz="1800" kern="1200" dirty="0"/>
            <a:t>DB</a:t>
          </a:r>
          <a:r>
            <a:rPr lang="zh-CN" altLang="en-US" sz="1800" kern="1200" dirty="0"/>
            <a:t>访问串行化</a:t>
          </a:r>
        </a:p>
      </dsp:txBody>
      <dsp:txXfrm>
        <a:off x="8548172" y="3366241"/>
        <a:ext cx="1877456" cy="910404"/>
      </dsp:txXfrm>
    </dsp:sp>
    <dsp:sp modelId="{A6A296FA-E0F8-6748-93EA-76E7ADB84329}">
      <dsp:nvSpPr>
        <dsp:cNvPr id="0" name=""/>
        <dsp:cNvSpPr/>
      </dsp:nvSpPr>
      <dsp:spPr>
        <a:xfrm rot="2142401">
          <a:off x="7656656" y="4639463"/>
          <a:ext cx="952742" cy="32124"/>
        </a:xfrm>
        <a:custGeom>
          <a:avLst/>
          <a:gdLst/>
          <a:ahLst/>
          <a:cxnLst/>
          <a:rect l="0" t="0" r="0" b="0"/>
          <a:pathLst>
            <a:path>
              <a:moveTo>
                <a:pt x="0" y="16062"/>
              </a:moveTo>
              <a:lnTo>
                <a:pt x="952742" y="1606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8109208" y="4631707"/>
        <a:ext cx="47637" cy="47637"/>
      </dsp:txXfrm>
    </dsp:sp>
    <dsp:sp modelId="{067BB074-C842-C94F-9D84-ACDD3424A2BD}">
      <dsp:nvSpPr>
        <dsp:cNvPr id="0" name=""/>
        <dsp:cNvSpPr/>
      </dsp:nvSpPr>
      <dsp:spPr>
        <a:xfrm>
          <a:off x="8519848" y="4450027"/>
          <a:ext cx="1934104" cy="9670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zh-CN" altLang="en-US" sz="1800" kern="1200" dirty="0"/>
            <a:t>加锁</a:t>
          </a:r>
        </a:p>
      </dsp:txBody>
      <dsp:txXfrm>
        <a:off x="8548172" y="4478351"/>
        <a:ext cx="1877456" cy="91040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1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11</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12</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13</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14</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cache aside在绝大多数情况下能做到数据一致性，但是在极端情况仍然存在问题。</a:t>
            </a:r>
          </a:p>
          <a:p>
            <a:endParaRPr lang="zh-CN" altLang="en-US" dirty="0"/>
          </a:p>
          <a:p>
            <a:r>
              <a:rPr lang="zh-CN" altLang="en-US" dirty="0"/>
              <a:t>首先更新数据库(A)和删除缓存(B)不是原子操作，任何在A之后B之前的读操作，都会读到redis中的旧数据。</a:t>
            </a:r>
          </a:p>
          <a:p>
            <a:r>
              <a:rPr lang="zh-CN" altLang="en-US" dirty="0"/>
              <a:t>但是，正常情况下操作缓存的速度会很快，通常是毫秒级，出现上述情况的概率很低。</a:t>
            </a:r>
          </a:p>
          <a:p>
            <a:r>
              <a:rPr lang="zh-CN" altLang="en-US" dirty="0"/>
              <a:t>更新完数据库后，线程意外被kill掉，由于没有删除缓存，缓存中的脏数据会一直存在。</a:t>
            </a:r>
          </a:p>
          <a:p>
            <a:r>
              <a:rPr lang="zh-CN" altLang="en-US" dirty="0"/>
              <a:t>线程A读数据时cache miss，从Mysql中查询到数据，还没来得及同步到redis中,</a:t>
            </a:r>
          </a:p>
          <a:p>
            <a:r>
              <a:rPr lang="zh-CN" altLang="en-US" dirty="0"/>
              <a:t>此时线程B更新了数据库并把Redis中的旧值删除。随后，线程A把之前查到的数据同步到了Redis。</a:t>
            </a:r>
          </a:p>
          <a:p>
            <a:r>
              <a:rPr lang="zh-CN" altLang="en-US" dirty="0"/>
              <a:t>显然，此时redis中的是脏数据。</a:t>
            </a:r>
          </a:p>
          <a:p>
            <a:r>
              <a:rPr lang="zh-CN" altLang="en-US" dirty="0"/>
              <a:t>通常数据库读操作比写操作快很多，所以除非线程A在同步redis前意外卡住了，否则发生上述情况的概率极低。</a:t>
            </a:r>
          </a:p>
          <a:p>
            <a:r>
              <a:rPr lang="zh-CN" altLang="en-US" dirty="0"/>
              <a:t>虽然以上情况都有可能发生，但是发生的概率相比“先删除缓存再更新数据库”会低很多。</a:t>
            </a:r>
            <a:br>
              <a:rPr lang="zh-CN" altLang="en-US" dirty="0"/>
            </a:br>
            <a:endParaRPr lang="zh-CN" altLang="en-US" dirty="0"/>
          </a:p>
          <a:p>
            <a:r>
              <a:rPr lang="zh-CN" altLang="en-US" dirty="0"/>
              <a:t>条件：</a:t>
            </a:r>
          </a:p>
          <a:p>
            <a:r>
              <a:rPr lang="en-US" altLang="zh-CN" dirty="0"/>
              <a:t>(1)读缓存时缓存失效</a:t>
            </a:r>
            <a:r>
              <a:rPr lang="zh-CN" altLang="en-US" dirty="0"/>
              <a:t>，在</a:t>
            </a:r>
            <a:endParaRPr lang="en-US" altLang="zh-CN" dirty="0"/>
          </a:p>
          <a:p>
            <a:r>
              <a:rPr lang="zh-CN" altLang="en-US" dirty="0"/>
              <a:t>（</a:t>
            </a:r>
            <a:r>
              <a:rPr lang="en-US" altLang="zh-CN" dirty="0"/>
              <a:t>2</a:t>
            </a:r>
            <a:r>
              <a:rPr lang="zh-CN" altLang="en-US" dirty="0"/>
              <a:t>）刚好有一个写操作，并且写操作</a:t>
            </a:r>
          </a:p>
          <a:p>
            <a:r>
              <a:rPr lang="zh-CN" altLang="en-US" dirty="0"/>
              <a:t>所以，这也就是Quora上的那个答案里说的，要么通过2PC或是Paxos协议保证一致性，要么就是拼命的降低并发时脏数据的概率，而Facebook使用了这个降低概率的玩法，因为2PC太慢，而Paxos太复杂。当然，最好还是为缓存设置上过期时间。</a:t>
            </a:r>
          </a:p>
        </p:txBody>
      </p:sp>
      <p:sp>
        <p:nvSpPr>
          <p:cNvPr id="4" name="灯片编号占位符 3"/>
          <p:cNvSpPr>
            <a:spLocks noGrp="1"/>
          </p:cNvSpPr>
          <p:nvPr>
            <p:ph type="sldNum" sz="quarter" idx="5"/>
          </p:nvPr>
        </p:nvSpPr>
        <p:spPr/>
        <p:txBody>
          <a:bodyPr/>
          <a:lstStyle/>
          <a:p>
            <a:fld id="{B2A6F94D-694A-4B40-A123-D19F160C8E58}" type="slidenum">
              <a:rPr lang="zh-CN" altLang="en-US" smtClean="0"/>
              <a:t>15</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16</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17</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18</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1641684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a:sym typeface="+mn-ea"/>
              </a:rPr>
              <a:t>数据不一致的原因</a:t>
            </a:r>
            <a:endParaRPr lang="zh-CN" altLang="en-US" dirty="0"/>
          </a:p>
          <a:p>
            <a:endParaRPr lang="zh-CN" altLang="en-US" dirty="0"/>
          </a:p>
          <a:p>
            <a:r>
              <a:rPr lang="zh-CN" altLang="en-US" dirty="0">
                <a:sym typeface="+mn-ea"/>
              </a:rPr>
              <a:t>　由于引入缓存，数据就会分散在两处不同数据源，当数据更新时，实时上很难做到数据一致，除非采用强一致性方案，这里不在进行讨论。在找出合适的解决方案前，需要分析下存在数据不一致的主要原因，才能对症下药：</a:t>
            </a:r>
            <a:endParaRPr lang="zh-CN" altLang="en-US" dirty="0"/>
          </a:p>
          <a:p>
            <a:r>
              <a:rPr lang="zh-CN" altLang="en-US" dirty="0">
                <a:sym typeface="+mn-ea"/>
              </a:rPr>
              <a:t>　　1）逻辑失败造成的数据不一致：在上一章主要分析了更新数据时的四种更新策略，在并发的情况下，无论是先删除缓存还是更新数据库，还是更新数据库再失效缓存，都会数据不一致的情况，主要是因为异步读写请求在并发情况下的操作时序导致的数据不一致，称之为”逻辑失败“。解决这种因为并发时序导致的问题，核心的解决思想是将异步操作进行串行化。</a:t>
            </a:r>
            <a:endParaRPr lang="zh-CN" altLang="en-US" dirty="0"/>
          </a:p>
          <a:p>
            <a:r>
              <a:rPr lang="zh-CN" altLang="en-US" dirty="0">
                <a:sym typeface="+mn-ea"/>
              </a:rPr>
              <a:t>　　2）物理失败造成的数据不一致：在cache aside pattern中先更新数据库再删除缓存以及异步双删策略等等，如果删除缓存失败时都出现数据不一致的情况。但是数据库更新以及缓存操作是没办法放到一个事务中，一般来说，使用缓存是分布式缓存如果缓存服务很耗时，那么将更新数据库以及失效缓存放到一个事务中，就会造成大量的数据库连接挂起，严重的降低系统性能，甚至会因为数据库连接数过多，导致系统崩溃。像这种因为缓存操作失败，导致的数据不一致称之为”物理失败“。大多数情况物理失败的情况会重用重试的方式进行解决。</a:t>
            </a:r>
            <a:endParaRPr lang="zh-CN" altLang="en-US" dirty="0"/>
          </a:p>
          <a:p>
            <a:endParaRPr lang="zh-CN" altLang="en-US"/>
          </a:p>
          <a:p>
            <a:endParaRPr lang="zh-CN" altLang="en-US"/>
          </a:p>
          <a:p>
            <a:endParaRPr lang="zh-CN" altLang="en-US"/>
          </a:p>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sym typeface="+mn-ea"/>
              </a:rPr>
              <a:t>主从延迟导致 读到旧数据</a:t>
            </a:r>
            <a:endParaRPr lang="zh-CN" altLang="en-US"/>
          </a:p>
          <a:p>
            <a:endParaRPr lang="zh-CN" altLang="en-US"/>
          </a:p>
          <a:p>
            <a:r>
              <a:rPr lang="zh-CN" altLang="en-US">
                <a:sym typeface="+mn-ea"/>
              </a:rPr>
              <a:t>不一致是因为写完成后，主从同步有一个时间差，假设是500ms，这个时间差有读请求落到从库上产生的。有没有办法做到，等主从同步完成之后，主库上的写请求再返回呢？答案是肯定的，就是大家常说的“半同步复制”semi-sync：</a:t>
            </a:r>
            <a:endParaRPr lang="zh-CN" altLang="en-US"/>
          </a:p>
          <a:p>
            <a:endParaRPr lang="zh-CN" altLang="en-US"/>
          </a:p>
          <a:p>
            <a:r>
              <a:rPr lang="zh-CN" altLang="en-US">
                <a:sym typeface="+mn-ea"/>
              </a:rPr>
              <a:t>半同步复制</a:t>
            </a:r>
            <a:endParaRPr lang="zh-CN" altLang="en-US"/>
          </a:p>
          <a:p>
            <a:r>
              <a:rPr lang="zh-CN" altLang="en-US">
                <a:sym typeface="+mn-ea"/>
              </a:rPr>
              <a:t>（1）系统先对DB-master进行了一个写操作，写主库</a:t>
            </a:r>
            <a:endParaRPr lang="zh-CN" altLang="en-US"/>
          </a:p>
          <a:p>
            <a:endParaRPr lang="zh-CN" altLang="en-US"/>
          </a:p>
          <a:p>
            <a:r>
              <a:rPr lang="zh-CN" altLang="en-US">
                <a:sym typeface="+mn-ea"/>
              </a:rPr>
              <a:t>（2）等主从同步完成，写主库的请求才返回</a:t>
            </a:r>
            <a:endParaRPr lang="zh-CN" altLang="en-US"/>
          </a:p>
          <a:p>
            <a:endParaRPr lang="zh-CN" altLang="en-US"/>
          </a:p>
          <a:p>
            <a:r>
              <a:rPr lang="zh-CN" altLang="en-US">
                <a:sym typeface="+mn-ea"/>
              </a:rPr>
              <a:t>（3）读从库，读到最新的数据（如果读请求先完成，写请求后完成，读取到的是“当时”最新的数据）</a:t>
            </a:r>
            <a:endParaRPr lang="zh-CN" altLang="en-US"/>
          </a:p>
          <a:p>
            <a:endParaRPr lang="zh-CN" altLang="en-US"/>
          </a:p>
          <a:p>
            <a:r>
              <a:rPr lang="zh-CN" altLang="en-US">
                <a:sym typeface="+mn-ea"/>
              </a:rPr>
              <a:t>方案优点：利用数据库原生功能，比较简单</a:t>
            </a:r>
            <a:endParaRPr lang="zh-CN" altLang="en-US"/>
          </a:p>
          <a:p>
            <a:endParaRPr lang="zh-CN" altLang="en-US"/>
          </a:p>
          <a:p>
            <a:r>
              <a:rPr lang="zh-CN" altLang="en-US">
                <a:sym typeface="+mn-ea"/>
              </a:rPr>
              <a:t>方案缺点：主库的写请求时延会增长，吞吐量会降低</a:t>
            </a:r>
            <a:endParaRPr lang="zh-CN" altLang="en-US"/>
          </a:p>
          <a:p>
            <a:endParaRPr lang="zh-CN" altLang="en-US"/>
          </a:p>
          <a:p>
            <a:r>
              <a:rPr lang="zh-CN" altLang="en-US">
                <a:sym typeface="+mn-ea"/>
              </a:rPr>
              <a:t>如果不使用“增加从库”的方式来增加提升系统的读性能，完全可以读写都落到主库，这样就不会出现不一致了：</a:t>
            </a:r>
            <a:endParaRPr lang="zh-CN" altLang="en-US"/>
          </a:p>
          <a:p>
            <a:endParaRPr lang="zh-CN" altLang="en-US"/>
          </a:p>
          <a:p>
            <a:r>
              <a:rPr lang="zh-CN" altLang="en-US">
                <a:sym typeface="+mn-ea"/>
              </a:rPr>
              <a:t>强制读主库</a:t>
            </a:r>
            <a:endParaRPr lang="zh-CN" altLang="en-US"/>
          </a:p>
          <a:p>
            <a:r>
              <a:rPr lang="zh-CN" altLang="en-US">
                <a:sym typeface="+mn-ea"/>
              </a:rPr>
              <a:t>方案优点：“一致性”上不需要进行系统改造</a:t>
            </a:r>
            <a:endParaRPr lang="zh-CN" altLang="en-US"/>
          </a:p>
          <a:p>
            <a:endParaRPr lang="zh-CN" altLang="en-US"/>
          </a:p>
          <a:p>
            <a:r>
              <a:rPr lang="zh-CN" altLang="en-US">
                <a:sym typeface="+mn-ea"/>
              </a:rPr>
              <a:t>方案缺点：只能通过cache来提升系统的读性能，这里要进行系统改造</a:t>
            </a:r>
            <a:endParaRPr lang="zh-CN" altLang="en-US"/>
          </a:p>
          <a:p>
            <a:endParaRPr lang="zh-CN" altLang="en-US"/>
          </a:p>
          <a:p>
            <a:r>
              <a:rPr lang="zh-CN" altLang="en-US">
                <a:sym typeface="+mn-ea"/>
              </a:rPr>
              <a:t>如果有了数据库中间件，所有的数据库请求都走中间件，这个主从不一致的问题可以这么解决：</a:t>
            </a:r>
            <a:endParaRPr lang="zh-CN" altLang="en-US"/>
          </a:p>
          <a:p>
            <a:endParaRPr lang="zh-CN" altLang="en-US"/>
          </a:p>
          <a:p>
            <a:r>
              <a:rPr lang="zh-CN" altLang="en-US">
                <a:sym typeface="+mn-ea"/>
              </a:rPr>
              <a:t>数据库中间件</a:t>
            </a:r>
            <a:endParaRPr lang="zh-CN" altLang="en-US"/>
          </a:p>
          <a:p>
            <a:r>
              <a:rPr lang="zh-CN" altLang="en-US">
                <a:sym typeface="+mn-ea"/>
              </a:rPr>
              <a:t>（1）所有的读写都走数据库中间件，通常情况下，写请求路由到主库，读请求路由到从库</a:t>
            </a:r>
            <a:endParaRPr lang="zh-CN" altLang="en-US"/>
          </a:p>
          <a:p>
            <a:endParaRPr lang="zh-CN" altLang="en-US"/>
          </a:p>
          <a:p>
            <a:r>
              <a:rPr lang="zh-CN" altLang="en-US">
                <a:sym typeface="+mn-ea"/>
              </a:rPr>
              <a:t>（2）记录所有路由到写库的key，在经验主从同步时间窗口内（假设是500ms），如果有读请求访问中间件，此时有可能从库还是旧数据，就把这个key上的读请求路由到主库</a:t>
            </a:r>
            <a:endParaRPr lang="zh-CN" altLang="en-US"/>
          </a:p>
          <a:p>
            <a:endParaRPr lang="zh-CN" altLang="en-US"/>
          </a:p>
          <a:p>
            <a:r>
              <a:rPr lang="zh-CN" altLang="en-US">
                <a:sym typeface="+mn-ea"/>
              </a:rPr>
              <a:t>（3）经验主从同步时间过完后，对应key的读请求继续路由到从库</a:t>
            </a:r>
            <a:endParaRPr lang="zh-CN" altLang="en-US"/>
          </a:p>
          <a:p>
            <a:endParaRPr lang="zh-CN" altLang="en-US"/>
          </a:p>
          <a:p>
            <a:r>
              <a:rPr lang="zh-CN" altLang="en-US">
                <a:sym typeface="+mn-ea"/>
              </a:rPr>
              <a:t>方案优点：能保证绝对一致</a:t>
            </a:r>
            <a:endParaRPr lang="zh-CN" altLang="en-US"/>
          </a:p>
          <a:p>
            <a:endParaRPr lang="zh-CN" altLang="en-US"/>
          </a:p>
          <a:p>
            <a:r>
              <a:rPr lang="zh-CN" altLang="en-US">
                <a:sym typeface="+mn-ea"/>
              </a:rPr>
              <a:t>方案缺点：数据库中间件的成本比较高</a:t>
            </a:r>
            <a:endParaRPr lang="zh-CN" altLang="en-US"/>
          </a:p>
          <a:p>
            <a:endParaRPr lang="zh-CN" altLang="en-US"/>
          </a:p>
          <a:p>
            <a:r>
              <a:rPr lang="zh-CN" altLang="en-US">
                <a:sym typeface="+mn-ea"/>
              </a:rPr>
              <a:t>方案四（缓存记录写key法）</a:t>
            </a:r>
            <a:endParaRPr lang="zh-CN" altLang="en-US"/>
          </a:p>
          <a:p>
            <a:r>
              <a:rPr lang="zh-CN" altLang="en-US">
                <a:sym typeface="+mn-ea"/>
              </a:rPr>
              <a:t>既然数据库中间件的成本比较高，有没有更低成本的方案来记录某一个库的某一个key上发生了写请求呢？很容易想到使用缓存，当写请求发生的时候：</a:t>
            </a:r>
            <a:endParaRPr lang="zh-CN" altLang="en-US"/>
          </a:p>
          <a:p>
            <a:endParaRPr lang="zh-CN" altLang="en-US"/>
          </a:p>
          <a:p>
            <a:r>
              <a:rPr lang="zh-CN" altLang="en-US">
                <a:sym typeface="+mn-ea"/>
              </a:rPr>
              <a:t>缓存记录写key</a:t>
            </a:r>
            <a:endParaRPr lang="zh-CN" altLang="en-US"/>
          </a:p>
          <a:p>
            <a:r>
              <a:rPr lang="zh-CN" altLang="en-US">
                <a:sym typeface="+mn-ea"/>
              </a:rPr>
              <a:t>（1）将某个库上的某个key要发生写操作，记录在cache里，并设置“经验主从同步时间”的cache超时时间，例如500ms</a:t>
            </a:r>
            <a:endParaRPr lang="zh-CN" altLang="en-US"/>
          </a:p>
          <a:p>
            <a:endParaRPr lang="zh-CN" altLang="en-US"/>
          </a:p>
          <a:p>
            <a:r>
              <a:rPr lang="zh-CN" altLang="en-US">
                <a:sym typeface="+mn-ea"/>
              </a:rPr>
              <a:t>（2）修改数据库</a:t>
            </a:r>
            <a:endParaRPr lang="zh-CN" altLang="en-US"/>
          </a:p>
          <a:p>
            <a:endParaRPr lang="zh-CN" altLang="en-US"/>
          </a:p>
          <a:p>
            <a:endParaRPr lang="zh-CN" altLang="en-US"/>
          </a:p>
          <a:p>
            <a:r>
              <a:rPr lang="zh-CN" altLang="en-US">
                <a:sym typeface="+mn-ea"/>
              </a:rPr>
              <a:t>而读请求发生的时候：</a:t>
            </a:r>
            <a:endParaRPr lang="zh-CN" altLang="en-US"/>
          </a:p>
          <a:p>
            <a:r>
              <a:rPr lang="zh-CN" altLang="en-US">
                <a:sym typeface="+mn-ea"/>
              </a:rPr>
              <a:t>缓存记录写key请求发生</a:t>
            </a:r>
            <a:endParaRPr lang="zh-CN" altLang="en-US"/>
          </a:p>
          <a:p>
            <a:r>
              <a:rPr lang="zh-CN" altLang="en-US">
                <a:sym typeface="+mn-ea"/>
              </a:rPr>
              <a:t>（1）先到cache里查看，对应库的对应key有没有相关数据</a:t>
            </a:r>
            <a:endParaRPr lang="zh-CN" altLang="en-US"/>
          </a:p>
          <a:p>
            <a:endParaRPr lang="zh-CN" altLang="en-US"/>
          </a:p>
          <a:p>
            <a:r>
              <a:rPr lang="zh-CN" altLang="en-US">
                <a:sym typeface="+mn-ea"/>
              </a:rPr>
              <a:t>（2）如果cache hit，有相关数据，说明这个key上刚发生过写操作，此时需要将请求路由到主库读最新的数据</a:t>
            </a:r>
            <a:endParaRPr lang="zh-CN" altLang="en-US"/>
          </a:p>
          <a:p>
            <a:endParaRPr lang="zh-CN" altLang="en-US"/>
          </a:p>
          <a:p>
            <a:r>
              <a:rPr lang="zh-CN" altLang="en-US">
                <a:sym typeface="+mn-ea"/>
              </a:rPr>
              <a:t>（3）如果cache miss，说明这个key上近期没有发生过写操作，此时将请求路由到从库，继续读写分离</a:t>
            </a:r>
            <a:endParaRPr lang="zh-CN" altLang="en-US"/>
          </a:p>
          <a:p>
            <a:endParaRPr lang="zh-CN" altLang="en-US"/>
          </a:p>
          <a:p>
            <a:r>
              <a:rPr lang="zh-CN" altLang="en-US">
                <a:sym typeface="+mn-ea"/>
              </a:rPr>
              <a:t>方案优点：相对数据库中间件，成本较低</a:t>
            </a:r>
            <a:endParaRPr lang="zh-CN" altLang="en-US"/>
          </a:p>
          <a:p>
            <a:endParaRPr lang="zh-CN" altLang="en-US"/>
          </a:p>
          <a:p>
            <a:r>
              <a:rPr lang="zh-CN" altLang="en-US">
                <a:sym typeface="+mn-ea"/>
              </a:rPr>
              <a:t>方案缺点：为了保证“一致性”，引入了一个cache组件，并且读写数据库时都多了一步cache操作</a:t>
            </a:r>
            <a:endParaRPr lang="zh-CN" altLang="en-US"/>
          </a:p>
          <a:p>
            <a:endParaRPr lang="zh-CN" altLang="en-US"/>
          </a:p>
          <a:p>
            <a:r>
              <a:rPr lang="zh-CN" altLang="en-US">
                <a:sym typeface="+mn-ea"/>
              </a:rPr>
              <a:t>https://www.w3cschool.cn/architectroad/architectroad-master-and-slave-database-architecture-optimization.html</a:t>
            </a:r>
            <a:endParaRPr lang="zh-CN" altLang="en-US"/>
          </a:p>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21</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22</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23</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24</a:t>
            </a:fld>
            <a:endParaRPr lang="zh-CN" altLang="en-US"/>
          </a:p>
        </p:txBody>
      </p:sp>
    </p:spTree>
    <p:extLst>
      <p:ext uri="{BB962C8B-B14F-4D97-AF65-F5344CB8AC3E}">
        <p14:creationId xmlns:p14="http://schemas.microsoft.com/office/powerpoint/2010/main" val="42552586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25</a:t>
            </a:fld>
            <a:endParaRPr lang="zh-CN" altLang="en-US"/>
          </a:p>
        </p:txBody>
      </p:sp>
    </p:spTree>
    <p:extLst>
      <p:ext uri="{BB962C8B-B14F-4D97-AF65-F5344CB8AC3E}">
        <p14:creationId xmlns:p14="http://schemas.microsoft.com/office/powerpoint/2010/main" val="35492932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26</a:t>
            </a:fld>
            <a:endParaRPr lang="zh-CN" altLang="en-US"/>
          </a:p>
        </p:txBody>
      </p:sp>
    </p:spTree>
    <p:extLst>
      <p:ext uri="{BB962C8B-B14F-4D97-AF65-F5344CB8AC3E}">
        <p14:creationId xmlns:p14="http://schemas.microsoft.com/office/powerpoint/2010/main" val="3935460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4</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Read/Write Through Pattern是把同步数据的问题交给缓存系统了，应用程序不需要关心。</a:t>
            </a:r>
          </a:p>
          <a:p>
            <a:endParaRPr lang="zh-CN" altLang="en-US" dirty="0"/>
          </a:p>
          <a:p>
            <a:r>
              <a:rPr lang="zh-CN" altLang="en-US" dirty="0"/>
              <a:t>Read Through是指发生cache miss时，缓存系统自动去数据库加载数据。</a:t>
            </a:r>
          </a:p>
          <a:p>
            <a:r>
              <a:rPr lang="zh-CN" altLang="en-US" dirty="0"/>
              <a:t>Write Through是指如果cache miss，直接更新数据库，然后返回，如果cache hit，则更新缓存后，由缓存系统自动同步到数据库</a:t>
            </a:r>
          </a:p>
          <a:p>
            <a:endParaRPr lang="zh-CN" altLang="en-US" dirty="0"/>
          </a:p>
          <a:p>
            <a:r>
              <a:rPr lang="zh-CN" altLang="en-US" dirty="0"/>
              <a:t>以Redis为例，通常我们不会把数据库的数据全部缓存到redis，而是采用一定的数据精简或压缩策略，以节省缓存空间。</a:t>
            </a:r>
          </a:p>
          <a:p>
            <a:r>
              <a:rPr lang="zh-CN" altLang="en-US" dirty="0"/>
              <a:t>就是说，让缓存系统设计出通用的缓存方案不太现实，不过根据自己的业务定制一个在项目内部通用的中间件是可行的。</a:t>
            </a:r>
          </a:p>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5</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Write Behind方案在更新数据时，只更新缓存，不更新数据库。而是由另外一个服务异步的把数据更新到数据库。</a:t>
            </a:r>
          </a:p>
          <a:p>
            <a:r>
              <a:rPr lang="zh-CN" altLang="en-US" dirty="0"/>
              <a:t>逻辑上，和Linux中的write back很类似。这个设计的好处是，I/O操作很快，因为是纯内存操作。</a:t>
            </a:r>
          </a:p>
          <a:p>
            <a:r>
              <a:rPr lang="zh-CN" altLang="en-US" dirty="0"/>
              <a:t>但是由于异步写库，可能要牺牲一些数据一致性，譬如突然宕机会丢失所有未写入数据库的内存数据。</a:t>
            </a:r>
          </a:p>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6</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79176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接下来，让我们来探索</a:t>
            </a:r>
            <a:r>
              <a:rPr lang="en-US" altLang="zh-CN"/>
              <a:t>CacheAside</a:t>
            </a:r>
            <a:r>
              <a:rPr lang="zh-CN" altLang="en-US"/>
              <a:t>最佳实践，不仅要知其然，还要知其所以然。</a:t>
            </a:r>
          </a:p>
          <a:p>
            <a:endParaRPr lang="zh-CN" altLang="en-US"/>
          </a:p>
          <a:p>
            <a:r>
              <a:rPr lang="zh-CN" altLang="en-US"/>
              <a:t>探索方法：基于一些客观事实，去比较四种方案的优劣，去回答两个问题。</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9</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2A6F94D-694A-4B40-A123-D19F160C8E58}" type="slidenum">
              <a:rPr lang="zh-CN" altLang="en-US" smtClean="0"/>
              <a:t>10</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3" name="组合 2"/>
          <p:cNvGrpSpPr/>
          <p:nvPr userDrawn="1"/>
        </p:nvGrpSpPr>
        <p:grpSpPr>
          <a:xfrm>
            <a:off x="642620" y="1675020"/>
            <a:ext cx="6540500" cy="4570445"/>
            <a:chOff x="642620" y="1675020"/>
            <a:chExt cx="6540500" cy="4570445"/>
          </a:xfrm>
        </p:grpSpPr>
        <p:sp>
          <p:nvSpPr>
            <p:cNvPr id="9805" name="Freeform 7"/>
            <p:cNvSpPr/>
            <p:nvPr userDrawn="1"/>
          </p:nvSpPr>
          <p:spPr bwMode="auto">
            <a:xfrm>
              <a:off x="2548120" y="1791310"/>
              <a:ext cx="154501" cy="156161"/>
            </a:xfrm>
            <a:custGeom>
              <a:avLst/>
              <a:gdLst>
                <a:gd name="T0" fmla="*/ 58 w 60"/>
                <a:gd name="T1" fmla="*/ 30 h 60"/>
                <a:gd name="T2" fmla="*/ 56 w 60"/>
                <a:gd name="T3" fmla="*/ 30 h 60"/>
                <a:gd name="T4" fmla="*/ 48 w 60"/>
                <a:gd name="T5" fmla="*/ 48 h 60"/>
                <a:gd name="T6" fmla="*/ 30 w 60"/>
                <a:gd name="T7" fmla="*/ 56 h 60"/>
                <a:gd name="T8" fmla="*/ 12 w 60"/>
                <a:gd name="T9" fmla="*/ 48 h 60"/>
                <a:gd name="T10" fmla="*/ 4 w 60"/>
                <a:gd name="T11" fmla="*/ 30 h 60"/>
                <a:gd name="T12" fmla="*/ 12 w 60"/>
                <a:gd name="T13" fmla="*/ 12 h 60"/>
                <a:gd name="T14" fmla="*/ 30 w 60"/>
                <a:gd name="T15" fmla="*/ 4 h 60"/>
                <a:gd name="T16" fmla="*/ 48 w 60"/>
                <a:gd name="T17" fmla="*/ 12 h 60"/>
                <a:gd name="T18" fmla="*/ 56 w 60"/>
                <a:gd name="T19" fmla="*/ 30 h 60"/>
                <a:gd name="T20" fmla="*/ 58 w 60"/>
                <a:gd name="T21" fmla="*/ 30 h 60"/>
                <a:gd name="T22" fmla="*/ 60 w 60"/>
                <a:gd name="T23" fmla="*/ 30 h 60"/>
                <a:gd name="T24" fmla="*/ 30 w 60"/>
                <a:gd name="T25" fmla="*/ 0 h 60"/>
                <a:gd name="T26" fmla="*/ 0 w 60"/>
                <a:gd name="T27" fmla="*/ 30 h 60"/>
                <a:gd name="T28" fmla="*/ 30 w 60"/>
                <a:gd name="T29" fmla="*/ 60 h 60"/>
                <a:gd name="T30" fmla="*/ 60 w 60"/>
                <a:gd name="T31" fmla="*/ 30 h 60"/>
                <a:gd name="T32" fmla="*/ 58 w 60"/>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60">
                  <a:moveTo>
                    <a:pt x="58" y="30"/>
                  </a:moveTo>
                  <a:cubicBezTo>
                    <a:pt x="56" y="30"/>
                    <a:pt x="56" y="30"/>
                    <a:pt x="56" y="30"/>
                  </a:cubicBezTo>
                  <a:cubicBezTo>
                    <a:pt x="56" y="37"/>
                    <a:pt x="53" y="43"/>
                    <a:pt x="48" y="48"/>
                  </a:cubicBezTo>
                  <a:cubicBezTo>
                    <a:pt x="43" y="53"/>
                    <a:pt x="37" y="56"/>
                    <a:pt x="30" y="56"/>
                  </a:cubicBezTo>
                  <a:cubicBezTo>
                    <a:pt x="23" y="56"/>
                    <a:pt x="16" y="53"/>
                    <a:pt x="12" y="48"/>
                  </a:cubicBezTo>
                  <a:cubicBezTo>
                    <a:pt x="7" y="43"/>
                    <a:pt x="4" y="37"/>
                    <a:pt x="4" y="30"/>
                  </a:cubicBezTo>
                  <a:cubicBezTo>
                    <a:pt x="4" y="23"/>
                    <a:pt x="7" y="16"/>
                    <a:pt x="12" y="12"/>
                  </a:cubicBezTo>
                  <a:cubicBezTo>
                    <a:pt x="16" y="7"/>
                    <a:pt x="23" y="4"/>
                    <a:pt x="30" y="4"/>
                  </a:cubicBezTo>
                  <a:cubicBezTo>
                    <a:pt x="37" y="4"/>
                    <a:pt x="43" y="7"/>
                    <a:pt x="48" y="12"/>
                  </a:cubicBezTo>
                  <a:cubicBezTo>
                    <a:pt x="53" y="16"/>
                    <a:pt x="56" y="23"/>
                    <a:pt x="56" y="30"/>
                  </a:cubicBezTo>
                  <a:cubicBezTo>
                    <a:pt x="58" y="30"/>
                    <a:pt x="58" y="30"/>
                    <a:pt x="58" y="30"/>
                  </a:cubicBezTo>
                  <a:cubicBezTo>
                    <a:pt x="60" y="30"/>
                    <a:pt x="60" y="30"/>
                    <a:pt x="60" y="30"/>
                  </a:cubicBezTo>
                  <a:cubicBezTo>
                    <a:pt x="60" y="14"/>
                    <a:pt x="46" y="0"/>
                    <a:pt x="30" y="0"/>
                  </a:cubicBezTo>
                  <a:cubicBezTo>
                    <a:pt x="14" y="0"/>
                    <a:pt x="0" y="14"/>
                    <a:pt x="0" y="30"/>
                  </a:cubicBezTo>
                  <a:cubicBezTo>
                    <a:pt x="0" y="46"/>
                    <a:pt x="14" y="60"/>
                    <a:pt x="30" y="60"/>
                  </a:cubicBezTo>
                  <a:cubicBezTo>
                    <a:pt x="46" y="60"/>
                    <a:pt x="60" y="46"/>
                    <a:pt x="60" y="30"/>
                  </a:cubicBezTo>
                  <a:lnTo>
                    <a:pt x="58" y="30"/>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06" name="Freeform 8"/>
            <p:cNvSpPr/>
            <p:nvPr userDrawn="1"/>
          </p:nvSpPr>
          <p:spPr bwMode="auto">
            <a:xfrm>
              <a:off x="5599910" y="2003955"/>
              <a:ext cx="993452" cy="412000"/>
            </a:xfrm>
            <a:custGeom>
              <a:avLst/>
              <a:gdLst>
                <a:gd name="T0" fmla="*/ 0 w 383"/>
                <a:gd name="T1" fmla="*/ 159 h 159"/>
                <a:gd name="T2" fmla="*/ 1 w 383"/>
                <a:gd name="T3" fmla="*/ 150 h 159"/>
                <a:gd name="T4" fmla="*/ 35 w 383"/>
                <a:gd name="T5" fmla="*/ 128 h 159"/>
                <a:gd name="T6" fmla="*/ 67 w 383"/>
                <a:gd name="T7" fmla="*/ 117 h 159"/>
                <a:gd name="T8" fmla="*/ 71 w 383"/>
                <a:gd name="T9" fmla="*/ 99 h 159"/>
                <a:gd name="T10" fmla="*/ 98 w 383"/>
                <a:gd name="T11" fmla="*/ 79 h 159"/>
                <a:gd name="T12" fmla="*/ 129 w 383"/>
                <a:gd name="T13" fmla="*/ 93 h 159"/>
                <a:gd name="T14" fmla="*/ 145 w 383"/>
                <a:gd name="T15" fmla="*/ 100 h 159"/>
                <a:gd name="T16" fmla="*/ 154 w 383"/>
                <a:gd name="T17" fmla="*/ 92 h 159"/>
                <a:gd name="T18" fmla="*/ 183 w 383"/>
                <a:gd name="T19" fmla="*/ 22 h 159"/>
                <a:gd name="T20" fmla="*/ 250 w 383"/>
                <a:gd name="T21" fmla="*/ 16 h 159"/>
                <a:gd name="T22" fmla="*/ 288 w 383"/>
                <a:gd name="T23" fmla="*/ 87 h 159"/>
                <a:gd name="T24" fmla="*/ 297 w 383"/>
                <a:gd name="T25" fmla="*/ 112 h 159"/>
                <a:gd name="T26" fmla="*/ 330 w 383"/>
                <a:gd name="T27" fmla="*/ 117 h 159"/>
                <a:gd name="T28" fmla="*/ 368 w 383"/>
                <a:gd name="T29" fmla="*/ 127 h 159"/>
                <a:gd name="T30" fmla="*/ 382 w 383"/>
                <a:gd name="T31" fmla="*/ 159 h 159"/>
                <a:gd name="T32" fmla="*/ 0 w 383"/>
                <a:gd name="T3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3" h="159">
                  <a:moveTo>
                    <a:pt x="0" y="159"/>
                  </a:moveTo>
                  <a:cubicBezTo>
                    <a:pt x="0" y="157"/>
                    <a:pt x="1" y="154"/>
                    <a:pt x="1" y="150"/>
                  </a:cubicBezTo>
                  <a:cubicBezTo>
                    <a:pt x="4" y="124"/>
                    <a:pt x="23" y="127"/>
                    <a:pt x="35" y="128"/>
                  </a:cubicBezTo>
                  <a:cubicBezTo>
                    <a:pt x="47" y="128"/>
                    <a:pt x="61" y="129"/>
                    <a:pt x="67" y="117"/>
                  </a:cubicBezTo>
                  <a:cubicBezTo>
                    <a:pt x="69" y="111"/>
                    <a:pt x="69" y="105"/>
                    <a:pt x="71" y="99"/>
                  </a:cubicBezTo>
                  <a:cubicBezTo>
                    <a:pt x="75" y="87"/>
                    <a:pt x="86" y="79"/>
                    <a:pt x="98" y="79"/>
                  </a:cubicBezTo>
                  <a:cubicBezTo>
                    <a:pt x="109" y="79"/>
                    <a:pt x="120" y="85"/>
                    <a:pt x="129" y="93"/>
                  </a:cubicBezTo>
                  <a:cubicBezTo>
                    <a:pt x="134" y="97"/>
                    <a:pt x="140" y="101"/>
                    <a:pt x="145" y="100"/>
                  </a:cubicBezTo>
                  <a:cubicBezTo>
                    <a:pt x="149" y="99"/>
                    <a:pt x="152" y="96"/>
                    <a:pt x="154" y="92"/>
                  </a:cubicBezTo>
                  <a:cubicBezTo>
                    <a:pt x="168" y="71"/>
                    <a:pt x="168" y="41"/>
                    <a:pt x="183" y="22"/>
                  </a:cubicBezTo>
                  <a:cubicBezTo>
                    <a:pt x="199" y="1"/>
                    <a:pt x="229" y="0"/>
                    <a:pt x="250" y="16"/>
                  </a:cubicBezTo>
                  <a:cubicBezTo>
                    <a:pt x="271" y="31"/>
                    <a:pt x="283" y="59"/>
                    <a:pt x="288" y="87"/>
                  </a:cubicBezTo>
                  <a:cubicBezTo>
                    <a:pt x="290" y="96"/>
                    <a:pt x="291" y="106"/>
                    <a:pt x="297" y="112"/>
                  </a:cubicBezTo>
                  <a:cubicBezTo>
                    <a:pt x="306" y="121"/>
                    <a:pt x="319" y="118"/>
                    <a:pt x="330" y="117"/>
                  </a:cubicBezTo>
                  <a:cubicBezTo>
                    <a:pt x="343" y="116"/>
                    <a:pt x="358" y="118"/>
                    <a:pt x="368" y="127"/>
                  </a:cubicBezTo>
                  <a:cubicBezTo>
                    <a:pt x="377" y="134"/>
                    <a:pt x="383" y="147"/>
                    <a:pt x="382" y="159"/>
                  </a:cubicBezTo>
                  <a:lnTo>
                    <a:pt x="0" y="15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07" name="Freeform 9"/>
            <p:cNvSpPr/>
            <p:nvPr userDrawn="1"/>
          </p:nvSpPr>
          <p:spPr bwMode="auto">
            <a:xfrm>
              <a:off x="5594927" y="2012262"/>
              <a:ext cx="1001759" cy="408677"/>
            </a:xfrm>
            <a:custGeom>
              <a:avLst/>
              <a:gdLst>
                <a:gd name="T0" fmla="*/ 4 w 386"/>
                <a:gd name="T1" fmla="*/ 156 h 158"/>
                <a:gd name="T2" fmla="*/ 14 w 386"/>
                <a:gd name="T3" fmla="*/ 130 h 158"/>
                <a:gd name="T4" fmla="*/ 37 w 386"/>
                <a:gd name="T5" fmla="*/ 127 h 158"/>
                <a:gd name="T6" fmla="*/ 60 w 386"/>
                <a:gd name="T7" fmla="*/ 125 h 158"/>
                <a:gd name="T8" fmla="*/ 75 w 386"/>
                <a:gd name="T9" fmla="*/ 97 h 158"/>
                <a:gd name="T10" fmla="*/ 100 w 386"/>
                <a:gd name="T11" fmla="*/ 78 h 158"/>
                <a:gd name="T12" fmla="*/ 137 w 386"/>
                <a:gd name="T13" fmla="*/ 97 h 158"/>
                <a:gd name="T14" fmla="*/ 148 w 386"/>
                <a:gd name="T15" fmla="*/ 99 h 158"/>
                <a:gd name="T16" fmla="*/ 172 w 386"/>
                <a:gd name="T17" fmla="*/ 54 h 158"/>
                <a:gd name="T18" fmla="*/ 220 w 386"/>
                <a:gd name="T19" fmla="*/ 4 h 158"/>
                <a:gd name="T20" fmla="*/ 288 w 386"/>
                <a:gd name="T21" fmla="*/ 84 h 158"/>
                <a:gd name="T22" fmla="*/ 298 w 386"/>
                <a:gd name="T23" fmla="*/ 111 h 158"/>
                <a:gd name="T24" fmla="*/ 316 w 386"/>
                <a:gd name="T25" fmla="*/ 117 h 158"/>
                <a:gd name="T26" fmla="*/ 340 w 386"/>
                <a:gd name="T27" fmla="*/ 116 h 158"/>
                <a:gd name="T28" fmla="*/ 382 w 386"/>
                <a:gd name="T29" fmla="*/ 153 h 158"/>
                <a:gd name="T30" fmla="*/ 384 w 386"/>
                <a:gd name="T31" fmla="*/ 156 h 158"/>
                <a:gd name="T32" fmla="*/ 2 w 386"/>
                <a:gd name="T33" fmla="*/ 154 h 158"/>
                <a:gd name="T34" fmla="*/ 4 w 386"/>
                <a:gd name="T35" fmla="*/ 156 h 158"/>
                <a:gd name="T36" fmla="*/ 2 w 386"/>
                <a:gd name="T37" fmla="*/ 158 h 158"/>
                <a:gd name="T38" fmla="*/ 386 w 386"/>
                <a:gd name="T39" fmla="*/ 157 h 158"/>
                <a:gd name="T40" fmla="*/ 372 w 386"/>
                <a:gd name="T41" fmla="*/ 122 h 158"/>
                <a:gd name="T42" fmla="*/ 332 w 386"/>
                <a:gd name="T43" fmla="*/ 112 h 158"/>
                <a:gd name="T44" fmla="*/ 308 w 386"/>
                <a:gd name="T45" fmla="*/ 112 h 158"/>
                <a:gd name="T46" fmla="*/ 295 w 386"/>
                <a:gd name="T47" fmla="*/ 97 h 158"/>
                <a:gd name="T48" fmla="*/ 253 w 386"/>
                <a:gd name="T49" fmla="*/ 11 h 158"/>
                <a:gd name="T50" fmla="*/ 183 w 386"/>
                <a:gd name="T51" fmla="*/ 18 h 158"/>
                <a:gd name="T52" fmla="*/ 155 w 386"/>
                <a:gd name="T53" fmla="*/ 88 h 158"/>
                <a:gd name="T54" fmla="*/ 145 w 386"/>
                <a:gd name="T55" fmla="*/ 95 h 158"/>
                <a:gd name="T56" fmla="*/ 133 w 386"/>
                <a:gd name="T57" fmla="*/ 88 h 158"/>
                <a:gd name="T58" fmla="*/ 100 w 386"/>
                <a:gd name="T59" fmla="*/ 74 h 158"/>
                <a:gd name="T60" fmla="*/ 67 w 386"/>
                <a:gd name="T61" fmla="*/ 113 h 158"/>
                <a:gd name="T62" fmla="*/ 45 w 386"/>
                <a:gd name="T63" fmla="*/ 123 h 158"/>
                <a:gd name="T64" fmla="*/ 28 w 386"/>
                <a:gd name="T65" fmla="*/ 122 h 158"/>
                <a:gd name="T66" fmla="*/ 1 w 386"/>
                <a:gd name="T67" fmla="*/ 147 h 158"/>
                <a:gd name="T68" fmla="*/ 1 w 386"/>
                <a:gd name="T69" fmla="*/ 158 h 158"/>
                <a:gd name="T70" fmla="*/ 2 w 386"/>
                <a:gd name="T71" fmla="*/ 15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6" h="158">
                  <a:moveTo>
                    <a:pt x="2" y="156"/>
                  </a:moveTo>
                  <a:cubicBezTo>
                    <a:pt x="4" y="156"/>
                    <a:pt x="4" y="156"/>
                    <a:pt x="4" y="156"/>
                  </a:cubicBezTo>
                  <a:cubicBezTo>
                    <a:pt x="4" y="154"/>
                    <a:pt x="5" y="151"/>
                    <a:pt x="5" y="148"/>
                  </a:cubicBezTo>
                  <a:cubicBezTo>
                    <a:pt x="6" y="138"/>
                    <a:pt x="10" y="133"/>
                    <a:pt x="14" y="130"/>
                  </a:cubicBezTo>
                  <a:cubicBezTo>
                    <a:pt x="18" y="127"/>
                    <a:pt x="23" y="126"/>
                    <a:pt x="28" y="126"/>
                  </a:cubicBezTo>
                  <a:cubicBezTo>
                    <a:pt x="31" y="126"/>
                    <a:pt x="34" y="126"/>
                    <a:pt x="37" y="127"/>
                  </a:cubicBezTo>
                  <a:cubicBezTo>
                    <a:pt x="39" y="127"/>
                    <a:pt x="42" y="127"/>
                    <a:pt x="45" y="127"/>
                  </a:cubicBezTo>
                  <a:cubicBezTo>
                    <a:pt x="50" y="127"/>
                    <a:pt x="55" y="126"/>
                    <a:pt x="60" y="125"/>
                  </a:cubicBezTo>
                  <a:cubicBezTo>
                    <a:pt x="64" y="123"/>
                    <a:pt x="68" y="120"/>
                    <a:pt x="71" y="114"/>
                  </a:cubicBezTo>
                  <a:cubicBezTo>
                    <a:pt x="73" y="109"/>
                    <a:pt x="73" y="102"/>
                    <a:pt x="75" y="97"/>
                  </a:cubicBezTo>
                  <a:cubicBezTo>
                    <a:pt x="78" y="85"/>
                    <a:pt x="89" y="78"/>
                    <a:pt x="100" y="78"/>
                  </a:cubicBezTo>
                  <a:cubicBezTo>
                    <a:pt x="100" y="78"/>
                    <a:pt x="100" y="78"/>
                    <a:pt x="100" y="78"/>
                  </a:cubicBezTo>
                  <a:cubicBezTo>
                    <a:pt x="111" y="78"/>
                    <a:pt x="121" y="84"/>
                    <a:pt x="130" y="91"/>
                  </a:cubicBezTo>
                  <a:cubicBezTo>
                    <a:pt x="132" y="93"/>
                    <a:pt x="135" y="95"/>
                    <a:pt x="137" y="97"/>
                  </a:cubicBezTo>
                  <a:cubicBezTo>
                    <a:pt x="139" y="98"/>
                    <a:pt x="142" y="99"/>
                    <a:pt x="145" y="99"/>
                  </a:cubicBezTo>
                  <a:cubicBezTo>
                    <a:pt x="146" y="99"/>
                    <a:pt x="147" y="99"/>
                    <a:pt x="148" y="99"/>
                  </a:cubicBezTo>
                  <a:cubicBezTo>
                    <a:pt x="153" y="98"/>
                    <a:pt x="156" y="94"/>
                    <a:pt x="158" y="90"/>
                  </a:cubicBezTo>
                  <a:cubicBezTo>
                    <a:pt x="165" y="80"/>
                    <a:pt x="168" y="67"/>
                    <a:pt x="172" y="54"/>
                  </a:cubicBezTo>
                  <a:cubicBezTo>
                    <a:pt x="175" y="42"/>
                    <a:pt x="179" y="30"/>
                    <a:pt x="186" y="20"/>
                  </a:cubicBezTo>
                  <a:cubicBezTo>
                    <a:pt x="195" y="9"/>
                    <a:pt x="207" y="4"/>
                    <a:pt x="220" y="4"/>
                  </a:cubicBezTo>
                  <a:cubicBezTo>
                    <a:pt x="231" y="4"/>
                    <a:pt x="242" y="7"/>
                    <a:pt x="251" y="14"/>
                  </a:cubicBezTo>
                  <a:cubicBezTo>
                    <a:pt x="271" y="29"/>
                    <a:pt x="283" y="57"/>
                    <a:pt x="288" y="84"/>
                  </a:cubicBezTo>
                  <a:cubicBezTo>
                    <a:pt x="289" y="89"/>
                    <a:pt x="290" y="94"/>
                    <a:pt x="291" y="98"/>
                  </a:cubicBezTo>
                  <a:cubicBezTo>
                    <a:pt x="293" y="103"/>
                    <a:pt x="295" y="107"/>
                    <a:pt x="298" y="111"/>
                  </a:cubicBezTo>
                  <a:cubicBezTo>
                    <a:pt x="300" y="113"/>
                    <a:pt x="303" y="115"/>
                    <a:pt x="307" y="116"/>
                  </a:cubicBezTo>
                  <a:cubicBezTo>
                    <a:pt x="310" y="117"/>
                    <a:pt x="313" y="117"/>
                    <a:pt x="316" y="117"/>
                  </a:cubicBezTo>
                  <a:cubicBezTo>
                    <a:pt x="322" y="117"/>
                    <a:pt x="327" y="117"/>
                    <a:pt x="332" y="116"/>
                  </a:cubicBezTo>
                  <a:cubicBezTo>
                    <a:pt x="335" y="116"/>
                    <a:pt x="337" y="116"/>
                    <a:pt x="340" y="116"/>
                  </a:cubicBezTo>
                  <a:cubicBezTo>
                    <a:pt x="350" y="116"/>
                    <a:pt x="361" y="118"/>
                    <a:pt x="369" y="125"/>
                  </a:cubicBezTo>
                  <a:cubicBezTo>
                    <a:pt x="376" y="132"/>
                    <a:pt x="382" y="143"/>
                    <a:pt x="382" y="153"/>
                  </a:cubicBezTo>
                  <a:cubicBezTo>
                    <a:pt x="382" y="154"/>
                    <a:pt x="382" y="155"/>
                    <a:pt x="382" y="156"/>
                  </a:cubicBezTo>
                  <a:cubicBezTo>
                    <a:pt x="384" y="156"/>
                    <a:pt x="384" y="156"/>
                    <a:pt x="384" y="156"/>
                  </a:cubicBezTo>
                  <a:cubicBezTo>
                    <a:pt x="384" y="154"/>
                    <a:pt x="384" y="154"/>
                    <a:pt x="384" y="154"/>
                  </a:cubicBezTo>
                  <a:cubicBezTo>
                    <a:pt x="2" y="154"/>
                    <a:pt x="2" y="154"/>
                    <a:pt x="2" y="154"/>
                  </a:cubicBezTo>
                  <a:cubicBezTo>
                    <a:pt x="2" y="156"/>
                    <a:pt x="2" y="156"/>
                    <a:pt x="2" y="156"/>
                  </a:cubicBezTo>
                  <a:cubicBezTo>
                    <a:pt x="4" y="156"/>
                    <a:pt x="4" y="156"/>
                    <a:pt x="4" y="156"/>
                  </a:cubicBezTo>
                  <a:cubicBezTo>
                    <a:pt x="2" y="156"/>
                    <a:pt x="2" y="156"/>
                    <a:pt x="2" y="156"/>
                  </a:cubicBezTo>
                  <a:cubicBezTo>
                    <a:pt x="2" y="158"/>
                    <a:pt x="2" y="158"/>
                    <a:pt x="2" y="158"/>
                  </a:cubicBezTo>
                  <a:cubicBezTo>
                    <a:pt x="384" y="158"/>
                    <a:pt x="384" y="158"/>
                    <a:pt x="384" y="158"/>
                  </a:cubicBezTo>
                  <a:cubicBezTo>
                    <a:pt x="385" y="158"/>
                    <a:pt x="385" y="158"/>
                    <a:pt x="386" y="157"/>
                  </a:cubicBezTo>
                  <a:cubicBezTo>
                    <a:pt x="386" y="155"/>
                    <a:pt x="386" y="154"/>
                    <a:pt x="386" y="153"/>
                  </a:cubicBezTo>
                  <a:cubicBezTo>
                    <a:pt x="386" y="141"/>
                    <a:pt x="380" y="129"/>
                    <a:pt x="372" y="122"/>
                  </a:cubicBezTo>
                  <a:cubicBezTo>
                    <a:pt x="362" y="114"/>
                    <a:pt x="351" y="112"/>
                    <a:pt x="340" y="112"/>
                  </a:cubicBezTo>
                  <a:cubicBezTo>
                    <a:pt x="337" y="112"/>
                    <a:pt x="335" y="112"/>
                    <a:pt x="332" y="112"/>
                  </a:cubicBezTo>
                  <a:cubicBezTo>
                    <a:pt x="327" y="113"/>
                    <a:pt x="321" y="113"/>
                    <a:pt x="316" y="113"/>
                  </a:cubicBezTo>
                  <a:cubicBezTo>
                    <a:pt x="313" y="113"/>
                    <a:pt x="310" y="113"/>
                    <a:pt x="308" y="112"/>
                  </a:cubicBezTo>
                  <a:cubicBezTo>
                    <a:pt x="305" y="111"/>
                    <a:pt x="303" y="110"/>
                    <a:pt x="301" y="108"/>
                  </a:cubicBezTo>
                  <a:cubicBezTo>
                    <a:pt x="298" y="105"/>
                    <a:pt x="296" y="101"/>
                    <a:pt x="295" y="97"/>
                  </a:cubicBezTo>
                  <a:cubicBezTo>
                    <a:pt x="294" y="93"/>
                    <a:pt x="293" y="88"/>
                    <a:pt x="292" y="84"/>
                  </a:cubicBezTo>
                  <a:cubicBezTo>
                    <a:pt x="287" y="55"/>
                    <a:pt x="275" y="27"/>
                    <a:pt x="253" y="11"/>
                  </a:cubicBezTo>
                  <a:cubicBezTo>
                    <a:pt x="244" y="4"/>
                    <a:pt x="232" y="0"/>
                    <a:pt x="220" y="0"/>
                  </a:cubicBezTo>
                  <a:cubicBezTo>
                    <a:pt x="206" y="0"/>
                    <a:pt x="192" y="6"/>
                    <a:pt x="183" y="18"/>
                  </a:cubicBezTo>
                  <a:cubicBezTo>
                    <a:pt x="175" y="28"/>
                    <a:pt x="172" y="41"/>
                    <a:pt x="168" y="53"/>
                  </a:cubicBezTo>
                  <a:cubicBezTo>
                    <a:pt x="165" y="66"/>
                    <a:pt x="161" y="78"/>
                    <a:pt x="155" y="88"/>
                  </a:cubicBezTo>
                  <a:cubicBezTo>
                    <a:pt x="153" y="91"/>
                    <a:pt x="150" y="94"/>
                    <a:pt x="147" y="95"/>
                  </a:cubicBezTo>
                  <a:cubicBezTo>
                    <a:pt x="146" y="95"/>
                    <a:pt x="146" y="95"/>
                    <a:pt x="145" y="95"/>
                  </a:cubicBezTo>
                  <a:cubicBezTo>
                    <a:pt x="143" y="95"/>
                    <a:pt x="141" y="94"/>
                    <a:pt x="139" y="93"/>
                  </a:cubicBezTo>
                  <a:cubicBezTo>
                    <a:pt x="137" y="92"/>
                    <a:pt x="135" y="90"/>
                    <a:pt x="133" y="88"/>
                  </a:cubicBezTo>
                  <a:cubicBezTo>
                    <a:pt x="123" y="81"/>
                    <a:pt x="112" y="74"/>
                    <a:pt x="100" y="74"/>
                  </a:cubicBezTo>
                  <a:cubicBezTo>
                    <a:pt x="100" y="74"/>
                    <a:pt x="100" y="74"/>
                    <a:pt x="100" y="74"/>
                  </a:cubicBezTo>
                  <a:cubicBezTo>
                    <a:pt x="88" y="74"/>
                    <a:pt x="75" y="82"/>
                    <a:pt x="71" y="96"/>
                  </a:cubicBezTo>
                  <a:cubicBezTo>
                    <a:pt x="69" y="102"/>
                    <a:pt x="69" y="108"/>
                    <a:pt x="67" y="113"/>
                  </a:cubicBezTo>
                  <a:cubicBezTo>
                    <a:pt x="65" y="117"/>
                    <a:pt x="62" y="119"/>
                    <a:pt x="58" y="121"/>
                  </a:cubicBezTo>
                  <a:cubicBezTo>
                    <a:pt x="55" y="122"/>
                    <a:pt x="50" y="123"/>
                    <a:pt x="45" y="123"/>
                  </a:cubicBezTo>
                  <a:cubicBezTo>
                    <a:pt x="42" y="123"/>
                    <a:pt x="40" y="123"/>
                    <a:pt x="37" y="123"/>
                  </a:cubicBezTo>
                  <a:cubicBezTo>
                    <a:pt x="34" y="122"/>
                    <a:pt x="31" y="122"/>
                    <a:pt x="28" y="122"/>
                  </a:cubicBezTo>
                  <a:cubicBezTo>
                    <a:pt x="23" y="122"/>
                    <a:pt x="16" y="123"/>
                    <a:pt x="11" y="127"/>
                  </a:cubicBezTo>
                  <a:cubicBezTo>
                    <a:pt x="6" y="130"/>
                    <a:pt x="2" y="137"/>
                    <a:pt x="1" y="147"/>
                  </a:cubicBezTo>
                  <a:cubicBezTo>
                    <a:pt x="1" y="150"/>
                    <a:pt x="0" y="153"/>
                    <a:pt x="0" y="156"/>
                  </a:cubicBezTo>
                  <a:cubicBezTo>
                    <a:pt x="0" y="157"/>
                    <a:pt x="0" y="157"/>
                    <a:pt x="1" y="158"/>
                  </a:cubicBezTo>
                  <a:cubicBezTo>
                    <a:pt x="1" y="158"/>
                    <a:pt x="2" y="158"/>
                    <a:pt x="2" y="158"/>
                  </a:cubicBezTo>
                  <a:lnTo>
                    <a:pt x="2" y="156"/>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4" name="组合 3"/>
            <p:cNvGrpSpPr/>
            <p:nvPr userDrawn="1"/>
          </p:nvGrpSpPr>
          <p:grpSpPr>
            <a:xfrm>
              <a:off x="1214104" y="1711568"/>
              <a:ext cx="908726" cy="375452"/>
              <a:chOff x="1244584" y="1825868"/>
              <a:chExt cx="908726" cy="375452"/>
            </a:xfrm>
          </p:grpSpPr>
          <p:sp>
            <p:nvSpPr>
              <p:cNvPr id="9808" name="Freeform 10"/>
              <p:cNvSpPr/>
              <p:nvPr userDrawn="1"/>
            </p:nvSpPr>
            <p:spPr bwMode="auto">
              <a:xfrm>
                <a:off x="1244584" y="1825868"/>
                <a:ext cx="902081" cy="370468"/>
              </a:xfrm>
              <a:custGeom>
                <a:avLst/>
                <a:gdLst>
                  <a:gd name="T0" fmla="*/ 20 w 348"/>
                  <a:gd name="T1" fmla="*/ 143 h 143"/>
                  <a:gd name="T2" fmla="*/ 348 w 348"/>
                  <a:gd name="T3" fmla="*/ 143 h 143"/>
                  <a:gd name="T4" fmla="*/ 321 w 348"/>
                  <a:gd name="T5" fmla="*/ 112 h 143"/>
                  <a:gd name="T6" fmla="*/ 288 w 348"/>
                  <a:gd name="T7" fmla="*/ 108 h 143"/>
                  <a:gd name="T8" fmla="*/ 259 w 348"/>
                  <a:gd name="T9" fmla="*/ 69 h 143"/>
                  <a:gd name="T10" fmla="*/ 210 w 348"/>
                  <a:gd name="T11" fmla="*/ 79 h 143"/>
                  <a:gd name="T12" fmla="*/ 187 w 348"/>
                  <a:gd name="T13" fmla="*/ 30 h 143"/>
                  <a:gd name="T14" fmla="*/ 128 w 348"/>
                  <a:gd name="T15" fmla="*/ 9 h 143"/>
                  <a:gd name="T16" fmla="*/ 86 w 348"/>
                  <a:gd name="T17" fmla="*/ 66 h 143"/>
                  <a:gd name="T18" fmla="*/ 20 w 348"/>
                  <a:gd name="T19" fmla="*/ 78 h 143"/>
                  <a:gd name="T20" fmla="*/ 20 w 348"/>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8" h="143">
                    <a:moveTo>
                      <a:pt x="20" y="143"/>
                    </a:moveTo>
                    <a:cubicBezTo>
                      <a:pt x="348" y="143"/>
                      <a:pt x="348" y="143"/>
                      <a:pt x="348" y="143"/>
                    </a:cubicBezTo>
                    <a:cubicBezTo>
                      <a:pt x="348" y="143"/>
                      <a:pt x="342" y="122"/>
                      <a:pt x="321" y="112"/>
                    </a:cubicBezTo>
                    <a:cubicBezTo>
                      <a:pt x="302" y="104"/>
                      <a:pt x="296" y="116"/>
                      <a:pt x="288" y="108"/>
                    </a:cubicBezTo>
                    <a:cubicBezTo>
                      <a:pt x="285" y="104"/>
                      <a:pt x="288" y="69"/>
                      <a:pt x="259" y="69"/>
                    </a:cubicBezTo>
                    <a:cubicBezTo>
                      <a:pt x="230" y="69"/>
                      <a:pt x="224" y="86"/>
                      <a:pt x="210" y="79"/>
                    </a:cubicBezTo>
                    <a:cubicBezTo>
                      <a:pt x="199" y="73"/>
                      <a:pt x="199" y="50"/>
                      <a:pt x="187" y="30"/>
                    </a:cubicBezTo>
                    <a:cubicBezTo>
                      <a:pt x="176" y="11"/>
                      <a:pt x="148" y="0"/>
                      <a:pt x="128" y="9"/>
                    </a:cubicBezTo>
                    <a:cubicBezTo>
                      <a:pt x="93" y="28"/>
                      <a:pt x="98" y="57"/>
                      <a:pt x="86" y="66"/>
                    </a:cubicBezTo>
                    <a:cubicBezTo>
                      <a:pt x="75" y="76"/>
                      <a:pt x="49" y="42"/>
                      <a:pt x="20" y="78"/>
                    </a:cubicBezTo>
                    <a:cubicBezTo>
                      <a:pt x="0" y="103"/>
                      <a:pt x="20" y="143"/>
                      <a:pt x="20" y="1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09" name="Freeform 11"/>
              <p:cNvSpPr/>
              <p:nvPr userDrawn="1"/>
            </p:nvSpPr>
            <p:spPr bwMode="auto">
              <a:xfrm>
                <a:off x="1267842" y="1835836"/>
                <a:ext cx="885468" cy="365484"/>
              </a:xfrm>
              <a:custGeom>
                <a:avLst/>
                <a:gdLst>
                  <a:gd name="T0" fmla="*/ 11 w 341"/>
                  <a:gd name="T1" fmla="*/ 141 h 141"/>
                  <a:gd name="T2" fmla="*/ 340 w 341"/>
                  <a:gd name="T3" fmla="*/ 141 h 141"/>
                  <a:gd name="T4" fmla="*/ 335 w 341"/>
                  <a:gd name="T5" fmla="*/ 126 h 141"/>
                  <a:gd name="T6" fmla="*/ 299 w 341"/>
                  <a:gd name="T7" fmla="*/ 103 h 141"/>
                  <a:gd name="T8" fmla="*/ 283 w 341"/>
                  <a:gd name="T9" fmla="*/ 104 h 141"/>
                  <a:gd name="T10" fmla="*/ 281 w 341"/>
                  <a:gd name="T11" fmla="*/ 103 h 141"/>
                  <a:gd name="T12" fmla="*/ 281 w 341"/>
                  <a:gd name="T13" fmla="*/ 103 h 141"/>
                  <a:gd name="T14" fmla="*/ 281 w 341"/>
                  <a:gd name="T15" fmla="*/ 103 h 141"/>
                  <a:gd name="T16" fmla="*/ 278 w 341"/>
                  <a:gd name="T17" fmla="*/ 91 h 141"/>
                  <a:gd name="T18" fmla="*/ 250 w 341"/>
                  <a:gd name="T19" fmla="*/ 63 h 141"/>
                  <a:gd name="T20" fmla="*/ 214 w 341"/>
                  <a:gd name="T21" fmla="*/ 73 h 141"/>
                  <a:gd name="T22" fmla="*/ 202 w 341"/>
                  <a:gd name="T23" fmla="*/ 73 h 141"/>
                  <a:gd name="T24" fmla="*/ 190 w 341"/>
                  <a:gd name="T25" fmla="*/ 48 h 141"/>
                  <a:gd name="T26" fmla="*/ 135 w 341"/>
                  <a:gd name="T27" fmla="*/ 0 h 141"/>
                  <a:gd name="T28" fmla="*/ 88 w 341"/>
                  <a:gd name="T29" fmla="*/ 36 h 141"/>
                  <a:gd name="T30" fmla="*/ 76 w 341"/>
                  <a:gd name="T31" fmla="*/ 61 h 141"/>
                  <a:gd name="T32" fmla="*/ 59 w 341"/>
                  <a:gd name="T33" fmla="*/ 59 h 141"/>
                  <a:gd name="T34" fmla="*/ 26 w 341"/>
                  <a:gd name="T35" fmla="*/ 59 h 141"/>
                  <a:gd name="T36" fmla="*/ 0 w 341"/>
                  <a:gd name="T37" fmla="*/ 102 h 141"/>
                  <a:gd name="T38" fmla="*/ 11 w 341"/>
                  <a:gd name="T39" fmla="*/ 141 h 141"/>
                  <a:gd name="T40" fmla="*/ 13 w 341"/>
                  <a:gd name="T41" fmla="*/ 138 h 141"/>
                  <a:gd name="T42" fmla="*/ 4 w 341"/>
                  <a:gd name="T43" fmla="*/ 102 h 141"/>
                  <a:gd name="T44" fmla="*/ 28 w 341"/>
                  <a:gd name="T45" fmla="*/ 63 h 141"/>
                  <a:gd name="T46" fmla="*/ 58 w 341"/>
                  <a:gd name="T47" fmla="*/ 63 h 141"/>
                  <a:gd name="T48" fmla="*/ 79 w 341"/>
                  <a:gd name="T49" fmla="*/ 64 h 141"/>
                  <a:gd name="T50" fmla="*/ 95 w 341"/>
                  <a:gd name="T51" fmla="*/ 30 h 141"/>
                  <a:gd name="T52" fmla="*/ 135 w 341"/>
                  <a:gd name="T53" fmla="*/ 4 h 141"/>
                  <a:gd name="T54" fmla="*/ 188 w 341"/>
                  <a:gd name="T55" fmla="*/ 57 h 141"/>
                  <a:gd name="T56" fmla="*/ 201 w 341"/>
                  <a:gd name="T57" fmla="*/ 77 h 141"/>
                  <a:gd name="T58" fmla="*/ 216 w 341"/>
                  <a:gd name="T59" fmla="*/ 77 h 141"/>
                  <a:gd name="T60" fmla="*/ 265 w 341"/>
                  <a:gd name="T61" fmla="*/ 72 h 141"/>
                  <a:gd name="T62" fmla="*/ 276 w 341"/>
                  <a:gd name="T63" fmla="*/ 99 h 141"/>
                  <a:gd name="T64" fmla="*/ 278 w 341"/>
                  <a:gd name="T65" fmla="*/ 105 h 141"/>
                  <a:gd name="T66" fmla="*/ 286 w 341"/>
                  <a:gd name="T67" fmla="*/ 109 h 141"/>
                  <a:gd name="T68" fmla="*/ 311 w 341"/>
                  <a:gd name="T69" fmla="*/ 110 h 141"/>
                  <a:gd name="T70" fmla="*/ 336 w 341"/>
                  <a:gd name="T71" fmla="*/ 137 h 141"/>
                  <a:gd name="T72" fmla="*/ 337 w 341"/>
                  <a:gd name="T73" fmla="*/ 140 h 141"/>
                  <a:gd name="T74" fmla="*/ 339 w 341"/>
                  <a:gd name="T75" fmla="*/ 139 h 141"/>
                  <a:gd name="T76" fmla="*/ 11 w 341"/>
                  <a:gd name="T77" fmla="*/ 137 h 141"/>
                  <a:gd name="T78" fmla="*/ 13 w 341"/>
                  <a:gd name="T79" fmla="*/ 13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141">
                    <a:moveTo>
                      <a:pt x="11" y="139"/>
                    </a:moveTo>
                    <a:cubicBezTo>
                      <a:pt x="11" y="141"/>
                      <a:pt x="11" y="141"/>
                      <a:pt x="11" y="141"/>
                    </a:cubicBezTo>
                    <a:cubicBezTo>
                      <a:pt x="339" y="141"/>
                      <a:pt x="339" y="141"/>
                      <a:pt x="339" y="141"/>
                    </a:cubicBezTo>
                    <a:cubicBezTo>
                      <a:pt x="339" y="141"/>
                      <a:pt x="340" y="141"/>
                      <a:pt x="340" y="141"/>
                    </a:cubicBezTo>
                    <a:cubicBezTo>
                      <a:pt x="341" y="140"/>
                      <a:pt x="341" y="139"/>
                      <a:pt x="341" y="139"/>
                    </a:cubicBezTo>
                    <a:cubicBezTo>
                      <a:pt x="341" y="139"/>
                      <a:pt x="339" y="133"/>
                      <a:pt x="335" y="126"/>
                    </a:cubicBezTo>
                    <a:cubicBezTo>
                      <a:pt x="330" y="119"/>
                      <a:pt x="323" y="111"/>
                      <a:pt x="312" y="107"/>
                    </a:cubicBezTo>
                    <a:cubicBezTo>
                      <a:pt x="307" y="104"/>
                      <a:pt x="302" y="103"/>
                      <a:pt x="299" y="103"/>
                    </a:cubicBezTo>
                    <a:cubicBezTo>
                      <a:pt x="293" y="103"/>
                      <a:pt x="289" y="105"/>
                      <a:pt x="286" y="105"/>
                    </a:cubicBezTo>
                    <a:cubicBezTo>
                      <a:pt x="285" y="105"/>
                      <a:pt x="284" y="105"/>
                      <a:pt x="283" y="104"/>
                    </a:cubicBezTo>
                    <a:cubicBezTo>
                      <a:pt x="283" y="104"/>
                      <a:pt x="282" y="104"/>
                      <a:pt x="281" y="103"/>
                    </a:cubicBezTo>
                    <a:cubicBezTo>
                      <a:pt x="281" y="103"/>
                      <a:pt x="281" y="103"/>
                      <a:pt x="281" y="103"/>
                    </a:cubicBezTo>
                    <a:cubicBezTo>
                      <a:pt x="281" y="103"/>
                      <a:pt x="281" y="103"/>
                      <a:pt x="281" y="103"/>
                    </a:cubicBezTo>
                    <a:cubicBezTo>
                      <a:pt x="281" y="103"/>
                      <a:pt x="281" y="103"/>
                      <a:pt x="281" y="103"/>
                    </a:cubicBezTo>
                    <a:cubicBezTo>
                      <a:pt x="281" y="103"/>
                      <a:pt x="281" y="103"/>
                      <a:pt x="281" y="103"/>
                    </a:cubicBezTo>
                    <a:cubicBezTo>
                      <a:pt x="281" y="103"/>
                      <a:pt x="281" y="103"/>
                      <a:pt x="281" y="103"/>
                    </a:cubicBezTo>
                    <a:cubicBezTo>
                      <a:pt x="281" y="102"/>
                      <a:pt x="280" y="101"/>
                      <a:pt x="280" y="100"/>
                    </a:cubicBezTo>
                    <a:cubicBezTo>
                      <a:pt x="279" y="98"/>
                      <a:pt x="279" y="94"/>
                      <a:pt x="278" y="91"/>
                    </a:cubicBezTo>
                    <a:cubicBezTo>
                      <a:pt x="277" y="85"/>
                      <a:pt x="275" y="78"/>
                      <a:pt x="271" y="73"/>
                    </a:cubicBezTo>
                    <a:cubicBezTo>
                      <a:pt x="266" y="67"/>
                      <a:pt x="260" y="63"/>
                      <a:pt x="250" y="63"/>
                    </a:cubicBezTo>
                    <a:cubicBezTo>
                      <a:pt x="237" y="63"/>
                      <a:pt x="229" y="66"/>
                      <a:pt x="222" y="69"/>
                    </a:cubicBezTo>
                    <a:cubicBezTo>
                      <a:pt x="219" y="71"/>
                      <a:pt x="217" y="72"/>
                      <a:pt x="214" y="73"/>
                    </a:cubicBezTo>
                    <a:cubicBezTo>
                      <a:pt x="212" y="74"/>
                      <a:pt x="210" y="75"/>
                      <a:pt x="208" y="75"/>
                    </a:cubicBezTo>
                    <a:cubicBezTo>
                      <a:pt x="206" y="75"/>
                      <a:pt x="204" y="74"/>
                      <a:pt x="202" y="73"/>
                    </a:cubicBezTo>
                    <a:cubicBezTo>
                      <a:pt x="200" y="72"/>
                      <a:pt x="198" y="70"/>
                      <a:pt x="196" y="67"/>
                    </a:cubicBezTo>
                    <a:cubicBezTo>
                      <a:pt x="194" y="62"/>
                      <a:pt x="192" y="56"/>
                      <a:pt x="190" y="48"/>
                    </a:cubicBezTo>
                    <a:cubicBezTo>
                      <a:pt x="187" y="41"/>
                      <a:pt x="185" y="33"/>
                      <a:pt x="180" y="25"/>
                    </a:cubicBezTo>
                    <a:cubicBezTo>
                      <a:pt x="171" y="10"/>
                      <a:pt x="152" y="0"/>
                      <a:pt x="135" y="0"/>
                    </a:cubicBezTo>
                    <a:cubicBezTo>
                      <a:pt x="129" y="0"/>
                      <a:pt x="124" y="1"/>
                      <a:pt x="119" y="4"/>
                    </a:cubicBezTo>
                    <a:cubicBezTo>
                      <a:pt x="101" y="13"/>
                      <a:pt x="93" y="25"/>
                      <a:pt x="88" y="36"/>
                    </a:cubicBezTo>
                    <a:cubicBezTo>
                      <a:pt x="85" y="42"/>
                      <a:pt x="84" y="47"/>
                      <a:pt x="82" y="51"/>
                    </a:cubicBezTo>
                    <a:cubicBezTo>
                      <a:pt x="80" y="55"/>
                      <a:pt x="79" y="59"/>
                      <a:pt x="76" y="61"/>
                    </a:cubicBezTo>
                    <a:cubicBezTo>
                      <a:pt x="75" y="62"/>
                      <a:pt x="74" y="62"/>
                      <a:pt x="72" y="62"/>
                    </a:cubicBezTo>
                    <a:cubicBezTo>
                      <a:pt x="69" y="62"/>
                      <a:pt x="65" y="60"/>
                      <a:pt x="59" y="59"/>
                    </a:cubicBezTo>
                    <a:cubicBezTo>
                      <a:pt x="54" y="57"/>
                      <a:pt x="48" y="55"/>
                      <a:pt x="42" y="55"/>
                    </a:cubicBezTo>
                    <a:cubicBezTo>
                      <a:pt x="37" y="55"/>
                      <a:pt x="31" y="56"/>
                      <a:pt x="26" y="59"/>
                    </a:cubicBezTo>
                    <a:cubicBezTo>
                      <a:pt x="21" y="62"/>
                      <a:pt x="15" y="66"/>
                      <a:pt x="10" y="73"/>
                    </a:cubicBezTo>
                    <a:cubicBezTo>
                      <a:pt x="2" y="82"/>
                      <a:pt x="0" y="92"/>
                      <a:pt x="0" y="102"/>
                    </a:cubicBezTo>
                    <a:cubicBezTo>
                      <a:pt x="0" y="122"/>
                      <a:pt x="9" y="140"/>
                      <a:pt x="9" y="140"/>
                    </a:cubicBezTo>
                    <a:cubicBezTo>
                      <a:pt x="10" y="141"/>
                      <a:pt x="10" y="141"/>
                      <a:pt x="11" y="141"/>
                    </a:cubicBezTo>
                    <a:cubicBezTo>
                      <a:pt x="11" y="139"/>
                      <a:pt x="11" y="139"/>
                      <a:pt x="11" y="139"/>
                    </a:cubicBezTo>
                    <a:cubicBezTo>
                      <a:pt x="13" y="138"/>
                      <a:pt x="13" y="138"/>
                      <a:pt x="13" y="138"/>
                    </a:cubicBezTo>
                    <a:cubicBezTo>
                      <a:pt x="13" y="138"/>
                      <a:pt x="13" y="138"/>
                      <a:pt x="13" y="138"/>
                    </a:cubicBezTo>
                    <a:cubicBezTo>
                      <a:pt x="11" y="134"/>
                      <a:pt x="4" y="119"/>
                      <a:pt x="4" y="102"/>
                    </a:cubicBezTo>
                    <a:cubicBezTo>
                      <a:pt x="4" y="93"/>
                      <a:pt x="6" y="83"/>
                      <a:pt x="13" y="76"/>
                    </a:cubicBezTo>
                    <a:cubicBezTo>
                      <a:pt x="18" y="69"/>
                      <a:pt x="23" y="65"/>
                      <a:pt x="28" y="63"/>
                    </a:cubicBezTo>
                    <a:cubicBezTo>
                      <a:pt x="33" y="60"/>
                      <a:pt x="37" y="59"/>
                      <a:pt x="42" y="59"/>
                    </a:cubicBezTo>
                    <a:cubicBezTo>
                      <a:pt x="47" y="59"/>
                      <a:pt x="53" y="61"/>
                      <a:pt x="58" y="63"/>
                    </a:cubicBezTo>
                    <a:cubicBezTo>
                      <a:pt x="63" y="64"/>
                      <a:pt x="68" y="66"/>
                      <a:pt x="72" y="66"/>
                    </a:cubicBezTo>
                    <a:cubicBezTo>
                      <a:pt x="74" y="66"/>
                      <a:pt x="77" y="65"/>
                      <a:pt x="79" y="64"/>
                    </a:cubicBezTo>
                    <a:cubicBezTo>
                      <a:pt x="82" y="61"/>
                      <a:pt x="84" y="57"/>
                      <a:pt x="86" y="53"/>
                    </a:cubicBezTo>
                    <a:cubicBezTo>
                      <a:pt x="88" y="46"/>
                      <a:pt x="91" y="38"/>
                      <a:pt x="95" y="30"/>
                    </a:cubicBezTo>
                    <a:cubicBezTo>
                      <a:pt x="100" y="22"/>
                      <a:pt x="108" y="14"/>
                      <a:pt x="120" y="7"/>
                    </a:cubicBezTo>
                    <a:cubicBezTo>
                      <a:pt x="125" y="5"/>
                      <a:pt x="130" y="4"/>
                      <a:pt x="135" y="4"/>
                    </a:cubicBezTo>
                    <a:cubicBezTo>
                      <a:pt x="151" y="4"/>
                      <a:pt x="168" y="14"/>
                      <a:pt x="177" y="27"/>
                    </a:cubicBezTo>
                    <a:cubicBezTo>
                      <a:pt x="182" y="37"/>
                      <a:pt x="185" y="47"/>
                      <a:pt x="188" y="57"/>
                    </a:cubicBezTo>
                    <a:cubicBezTo>
                      <a:pt x="189" y="61"/>
                      <a:pt x="191" y="65"/>
                      <a:pt x="193" y="69"/>
                    </a:cubicBezTo>
                    <a:cubicBezTo>
                      <a:pt x="195" y="72"/>
                      <a:pt x="197" y="75"/>
                      <a:pt x="201" y="77"/>
                    </a:cubicBezTo>
                    <a:cubicBezTo>
                      <a:pt x="203" y="78"/>
                      <a:pt x="205" y="79"/>
                      <a:pt x="208" y="79"/>
                    </a:cubicBezTo>
                    <a:cubicBezTo>
                      <a:pt x="210" y="79"/>
                      <a:pt x="213" y="78"/>
                      <a:pt x="216" y="77"/>
                    </a:cubicBezTo>
                    <a:cubicBezTo>
                      <a:pt x="224" y="73"/>
                      <a:pt x="232" y="67"/>
                      <a:pt x="250" y="67"/>
                    </a:cubicBezTo>
                    <a:cubicBezTo>
                      <a:pt x="257" y="67"/>
                      <a:pt x="261" y="69"/>
                      <a:pt x="265" y="72"/>
                    </a:cubicBezTo>
                    <a:cubicBezTo>
                      <a:pt x="270" y="77"/>
                      <a:pt x="273" y="84"/>
                      <a:pt x="274" y="90"/>
                    </a:cubicBezTo>
                    <a:cubicBezTo>
                      <a:pt x="275" y="94"/>
                      <a:pt x="275" y="97"/>
                      <a:pt x="276" y="99"/>
                    </a:cubicBezTo>
                    <a:cubicBezTo>
                      <a:pt x="276" y="100"/>
                      <a:pt x="276" y="102"/>
                      <a:pt x="276" y="103"/>
                    </a:cubicBezTo>
                    <a:cubicBezTo>
                      <a:pt x="277" y="104"/>
                      <a:pt x="277" y="104"/>
                      <a:pt x="278" y="105"/>
                    </a:cubicBezTo>
                    <a:cubicBezTo>
                      <a:pt x="279" y="107"/>
                      <a:pt x="280" y="108"/>
                      <a:pt x="282" y="108"/>
                    </a:cubicBezTo>
                    <a:cubicBezTo>
                      <a:pt x="283" y="109"/>
                      <a:pt x="284" y="109"/>
                      <a:pt x="286" y="109"/>
                    </a:cubicBezTo>
                    <a:cubicBezTo>
                      <a:pt x="290" y="109"/>
                      <a:pt x="294" y="107"/>
                      <a:pt x="299" y="107"/>
                    </a:cubicBezTo>
                    <a:cubicBezTo>
                      <a:pt x="302" y="107"/>
                      <a:pt x="306" y="108"/>
                      <a:pt x="311" y="110"/>
                    </a:cubicBezTo>
                    <a:cubicBezTo>
                      <a:pt x="321" y="115"/>
                      <a:pt x="327" y="122"/>
                      <a:pt x="331" y="128"/>
                    </a:cubicBezTo>
                    <a:cubicBezTo>
                      <a:pt x="333" y="132"/>
                      <a:pt x="335" y="134"/>
                      <a:pt x="336" y="137"/>
                    </a:cubicBezTo>
                    <a:cubicBezTo>
                      <a:pt x="336" y="138"/>
                      <a:pt x="336" y="138"/>
                      <a:pt x="336" y="139"/>
                    </a:cubicBezTo>
                    <a:cubicBezTo>
                      <a:pt x="337" y="140"/>
                      <a:pt x="337" y="140"/>
                      <a:pt x="337" y="140"/>
                    </a:cubicBezTo>
                    <a:cubicBezTo>
                      <a:pt x="337" y="140"/>
                      <a:pt x="337" y="140"/>
                      <a:pt x="337" y="140"/>
                    </a:cubicBezTo>
                    <a:cubicBezTo>
                      <a:pt x="339" y="139"/>
                      <a:pt x="339" y="139"/>
                      <a:pt x="339" y="139"/>
                    </a:cubicBezTo>
                    <a:cubicBezTo>
                      <a:pt x="339" y="137"/>
                      <a:pt x="339" y="137"/>
                      <a:pt x="339" y="137"/>
                    </a:cubicBezTo>
                    <a:cubicBezTo>
                      <a:pt x="11" y="137"/>
                      <a:pt x="11" y="137"/>
                      <a:pt x="11" y="137"/>
                    </a:cubicBezTo>
                    <a:cubicBezTo>
                      <a:pt x="11" y="139"/>
                      <a:pt x="11" y="139"/>
                      <a:pt x="11" y="139"/>
                    </a:cubicBezTo>
                    <a:cubicBezTo>
                      <a:pt x="13" y="138"/>
                      <a:pt x="13" y="138"/>
                      <a:pt x="13" y="138"/>
                    </a:cubicBezTo>
                    <a:lnTo>
                      <a:pt x="11" y="139"/>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9810" name="Freeform 12"/>
            <p:cNvSpPr>
              <a:spLocks noEditPoints="1"/>
            </p:cNvSpPr>
            <p:nvPr userDrawn="1"/>
          </p:nvSpPr>
          <p:spPr bwMode="auto">
            <a:xfrm>
              <a:off x="702426" y="1934181"/>
              <a:ext cx="6299612" cy="3055113"/>
            </a:xfrm>
            <a:custGeom>
              <a:avLst/>
              <a:gdLst>
                <a:gd name="T0" fmla="*/ 1394 w 2427"/>
                <a:gd name="T1" fmla="*/ 0 h 1178"/>
                <a:gd name="T2" fmla="*/ 1242 w 2427"/>
                <a:gd name="T3" fmla="*/ 4 h 1178"/>
                <a:gd name="T4" fmla="*/ 1122 w 2427"/>
                <a:gd name="T5" fmla="*/ 0 h 1178"/>
                <a:gd name="T6" fmla="*/ 990 w 2427"/>
                <a:gd name="T7" fmla="*/ 4 h 1178"/>
                <a:gd name="T8" fmla="*/ 886 w 2427"/>
                <a:gd name="T9" fmla="*/ 44 h 1178"/>
                <a:gd name="T10" fmla="*/ 832 w 2427"/>
                <a:gd name="T11" fmla="*/ 158 h 1178"/>
                <a:gd name="T12" fmla="*/ 895 w 2427"/>
                <a:gd name="T13" fmla="*/ 280 h 1178"/>
                <a:gd name="T14" fmla="*/ 1007 w 2427"/>
                <a:gd name="T15" fmla="*/ 316 h 1178"/>
                <a:gd name="T16" fmla="*/ 1135 w 2427"/>
                <a:gd name="T17" fmla="*/ 312 h 1178"/>
                <a:gd name="T18" fmla="*/ 1267 w 2427"/>
                <a:gd name="T19" fmla="*/ 312 h 1178"/>
                <a:gd name="T20" fmla="*/ 1395 w 2427"/>
                <a:gd name="T21" fmla="*/ 316 h 1178"/>
                <a:gd name="T22" fmla="*/ 1547 w 2427"/>
                <a:gd name="T23" fmla="*/ 312 h 1178"/>
                <a:gd name="T24" fmla="*/ 1667 w 2427"/>
                <a:gd name="T25" fmla="*/ 316 h 1178"/>
                <a:gd name="T26" fmla="*/ 1795 w 2427"/>
                <a:gd name="T27" fmla="*/ 312 h 1178"/>
                <a:gd name="T28" fmla="*/ 1927 w 2427"/>
                <a:gd name="T29" fmla="*/ 312 h 1178"/>
                <a:gd name="T30" fmla="*/ 2055 w 2427"/>
                <a:gd name="T31" fmla="*/ 316 h 1178"/>
                <a:gd name="T32" fmla="*/ 2207 w 2427"/>
                <a:gd name="T33" fmla="*/ 312 h 1178"/>
                <a:gd name="T34" fmla="*/ 2327 w 2427"/>
                <a:gd name="T35" fmla="*/ 316 h 1178"/>
                <a:gd name="T36" fmla="*/ 2413 w 2427"/>
                <a:gd name="T37" fmla="*/ 393 h 1178"/>
                <a:gd name="T38" fmla="*/ 2410 w 2427"/>
                <a:gd name="T39" fmla="*/ 497 h 1178"/>
                <a:gd name="T40" fmla="*/ 2309 w 2427"/>
                <a:gd name="T41" fmla="*/ 572 h 1178"/>
                <a:gd name="T42" fmla="*/ 2189 w 2427"/>
                <a:gd name="T43" fmla="*/ 572 h 1178"/>
                <a:gd name="T44" fmla="*/ 2061 w 2427"/>
                <a:gd name="T45" fmla="*/ 568 h 1178"/>
                <a:gd name="T46" fmla="*/ 1909 w 2427"/>
                <a:gd name="T47" fmla="*/ 572 h 1178"/>
                <a:gd name="T48" fmla="*/ 1789 w 2427"/>
                <a:gd name="T49" fmla="*/ 568 h 1178"/>
                <a:gd name="T50" fmla="*/ 1661 w 2427"/>
                <a:gd name="T51" fmla="*/ 572 h 1178"/>
                <a:gd name="T52" fmla="*/ 1529 w 2427"/>
                <a:gd name="T53" fmla="*/ 572 h 1178"/>
                <a:gd name="T54" fmla="*/ 1401 w 2427"/>
                <a:gd name="T55" fmla="*/ 568 h 1178"/>
                <a:gd name="T56" fmla="*/ 1249 w 2427"/>
                <a:gd name="T57" fmla="*/ 572 h 1178"/>
                <a:gd name="T58" fmla="*/ 1129 w 2427"/>
                <a:gd name="T59" fmla="*/ 568 h 1178"/>
                <a:gd name="T60" fmla="*/ 1001 w 2427"/>
                <a:gd name="T61" fmla="*/ 572 h 1178"/>
                <a:gd name="T62" fmla="*/ 869 w 2427"/>
                <a:gd name="T63" fmla="*/ 572 h 1178"/>
                <a:gd name="T64" fmla="*/ 741 w 2427"/>
                <a:gd name="T65" fmla="*/ 568 h 1178"/>
                <a:gd name="T66" fmla="*/ 589 w 2427"/>
                <a:gd name="T67" fmla="*/ 572 h 1178"/>
                <a:gd name="T68" fmla="*/ 469 w 2427"/>
                <a:gd name="T69" fmla="*/ 568 h 1178"/>
                <a:gd name="T70" fmla="*/ 341 w 2427"/>
                <a:gd name="T71" fmla="*/ 572 h 1178"/>
                <a:gd name="T72" fmla="*/ 209 w 2427"/>
                <a:gd name="T73" fmla="*/ 572 h 1178"/>
                <a:gd name="T74" fmla="*/ 85 w 2427"/>
                <a:gd name="T75" fmla="*/ 597 h 1178"/>
                <a:gd name="T76" fmla="*/ 7 w 2427"/>
                <a:gd name="T77" fmla="*/ 701 h 1178"/>
                <a:gd name="T78" fmla="*/ 14 w 2427"/>
                <a:gd name="T79" fmla="*/ 820 h 1178"/>
                <a:gd name="T80" fmla="*/ 102 w 2427"/>
                <a:gd name="T81" fmla="*/ 910 h 1178"/>
                <a:gd name="T82" fmla="*/ 217 w 2427"/>
                <a:gd name="T83" fmla="*/ 930 h 1178"/>
                <a:gd name="T84" fmla="*/ 349 w 2427"/>
                <a:gd name="T85" fmla="*/ 930 h 1178"/>
                <a:gd name="T86" fmla="*/ 477 w 2427"/>
                <a:gd name="T87" fmla="*/ 934 h 1178"/>
                <a:gd name="T88" fmla="*/ 629 w 2427"/>
                <a:gd name="T89" fmla="*/ 930 h 1178"/>
                <a:gd name="T90" fmla="*/ 749 w 2427"/>
                <a:gd name="T91" fmla="*/ 934 h 1178"/>
                <a:gd name="T92" fmla="*/ 877 w 2427"/>
                <a:gd name="T93" fmla="*/ 930 h 1178"/>
                <a:gd name="T94" fmla="*/ 1009 w 2427"/>
                <a:gd name="T95" fmla="*/ 930 h 1178"/>
                <a:gd name="T96" fmla="*/ 1137 w 2427"/>
                <a:gd name="T97" fmla="*/ 934 h 1178"/>
                <a:gd name="T98" fmla="*/ 1289 w 2427"/>
                <a:gd name="T99" fmla="*/ 930 h 1178"/>
                <a:gd name="T100" fmla="*/ 1409 w 2427"/>
                <a:gd name="T101" fmla="*/ 934 h 1178"/>
                <a:gd name="T102" fmla="*/ 1537 w 2427"/>
                <a:gd name="T103" fmla="*/ 930 h 1178"/>
                <a:gd name="T104" fmla="*/ 1669 w 2427"/>
                <a:gd name="T105" fmla="*/ 930 h 1178"/>
                <a:gd name="T106" fmla="*/ 1797 w 2427"/>
                <a:gd name="T107" fmla="*/ 934 h 1178"/>
                <a:gd name="T108" fmla="*/ 1949 w 2427"/>
                <a:gd name="T109" fmla="*/ 930 h 1178"/>
                <a:gd name="T110" fmla="*/ 2069 w 2427"/>
                <a:gd name="T111" fmla="*/ 934 h 1178"/>
                <a:gd name="T112" fmla="*/ 2197 w 2427"/>
                <a:gd name="T113" fmla="*/ 930 h 1178"/>
                <a:gd name="T114" fmla="*/ 2303 w 2427"/>
                <a:gd name="T115" fmla="*/ 961 h 1178"/>
                <a:gd name="T116" fmla="*/ 2340 w 2427"/>
                <a:gd name="T117" fmla="*/ 1090 h 1178"/>
                <a:gd name="T118" fmla="*/ 2267 w 2427"/>
                <a:gd name="T119" fmla="*/ 1165 h 1178"/>
                <a:gd name="T120" fmla="*/ 2137 w 2427"/>
                <a:gd name="T121" fmla="*/ 1174 h 1178"/>
                <a:gd name="T122" fmla="*/ 2009 w 2427"/>
                <a:gd name="T123" fmla="*/ 1178 h 1178"/>
                <a:gd name="T124" fmla="*/ 1877 w 2427"/>
                <a:gd name="T125" fmla="*/ 1178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7" h="1178">
                  <a:moveTo>
                    <a:pt x="1502" y="4"/>
                  </a:moveTo>
                  <a:cubicBezTo>
                    <a:pt x="1514" y="4"/>
                    <a:pt x="1514" y="4"/>
                    <a:pt x="1514" y="4"/>
                  </a:cubicBezTo>
                  <a:cubicBezTo>
                    <a:pt x="1514" y="0"/>
                    <a:pt x="1514" y="0"/>
                    <a:pt x="1514" y="0"/>
                  </a:cubicBezTo>
                  <a:cubicBezTo>
                    <a:pt x="1502" y="0"/>
                    <a:pt x="1502" y="0"/>
                    <a:pt x="1502" y="0"/>
                  </a:cubicBezTo>
                  <a:cubicBezTo>
                    <a:pt x="1502" y="4"/>
                    <a:pt x="1502" y="4"/>
                    <a:pt x="1502" y="4"/>
                  </a:cubicBezTo>
                  <a:moveTo>
                    <a:pt x="1482" y="4"/>
                  </a:moveTo>
                  <a:cubicBezTo>
                    <a:pt x="1494" y="4"/>
                    <a:pt x="1494" y="4"/>
                    <a:pt x="1494" y="4"/>
                  </a:cubicBezTo>
                  <a:cubicBezTo>
                    <a:pt x="1494" y="0"/>
                    <a:pt x="1494" y="0"/>
                    <a:pt x="1494" y="0"/>
                  </a:cubicBezTo>
                  <a:cubicBezTo>
                    <a:pt x="1482" y="0"/>
                    <a:pt x="1482" y="0"/>
                    <a:pt x="1482" y="0"/>
                  </a:cubicBezTo>
                  <a:cubicBezTo>
                    <a:pt x="1482" y="4"/>
                    <a:pt x="1482" y="4"/>
                    <a:pt x="1482" y="4"/>
                  </a:cubicBezTo>
                  <a:moveTo>
                    <a:pt x="1462" y="4"/>
                  </a:moveTo>
                  <a:cubicBezTo>
                    <a:pt x="1474" y="4"/>
                    <a:pt x="1474" y="4"/>
                    <a:pt x="1474" y="4"/>
                  </a:cubicBezTo>
                  <a:cubicBezTo>
                    <a:pt x="1474" y="0"/>
                    <a:pt x="1474" y="0"/>
                    <a:pt x="1474" y="0"/>
                  </a:cubicBezTo>
                  <a:cubicBezTo>
                    <a:pt x="1462" y="0"/>
                    <a:pt x="1462" y="0"/>
                    <a:pt x="1462" y="0"/>
                  </a:cubicBezTo>
                  <a:cubicBezTo>
                    <a:pt x="1462" y="4"/>
                    <a:pt x="1462" y="4"/>
                    <a:pt x="1462" y="4"/>
                  </a:cubicBezTo>
                  <a:moveTo>
                    <a:pt x="1442" y="4"/>
                  </a:moveTo>
                  <a:cubicBezTo>
                    <a:pt x="1454" y="4"/>
                    <a:pt x="1454" y="4"/>
                    <a:pt x="1454" y="4"/>
                  </a:cubicBezTo>
                  <a:cubicBezTo>
                    <a:pt x="1454" y="0"/>
                    <a:pt x="1454" y="0"/>
                    <a:pt x="1454" y="0"/>
                  </a:cubicBezTo>
                  <a:cubicBezTo>
                    <a:pt x="1442" y="0"/>
                    <a:pt x="1442" y="0"/>
                    <a:pt x="1442" y="0"/>
                  </a:cubicBezTo>
                  <a:cubicBezTo>
                    <a:pt x="1442" y="4"/>
                    <a:pt x="1442" y="4"/>
                    <a:pt x="1442" y="4"/>
                  </a:cubicBezTo>
                  <a:moveTo>
                    <a:pt x="1422" y="4"/>
                  </a:moveTo>
                  <a:cubicBezTo>
                    <a:pt x="1434" y="4"/>
                    <a:pt x="1434" y="4"/>
                    <a:pt x="1434" y="4"/>
                  </a:cubicBezTo>
                  <a:cubicBezTo>
                    <a:pt x="1434" y="0"/>
                    <a:pt x="1434" y="0"/>
                    <a:pt x="1434" y="0"/>
                  </a:cubicBezTo>
                  <a:cubicBezTo>
                    <a:pt x="1422" y="0"/>
                    <a:pt x="1422" y="0"/>
                    <a:pt x="1422" y="0"/>
                  </a:cubicBezTo>
                  <a:cubicBezTo>
                    <a:pt x="1422" y="4"/>
                    <a:pt x="1422" y="4"/>
                    <a:pt x="1422" y="4"/>
                  </a:cubicBezTo>
                  <a:moveTo>
                    <a:pt x="1402" y="4"/>
                  </a:moveTo>
                  <a:cubicBezTo>
                    <a:pt x="1414" y="4"/>
                    <a:pt x="1414" y="4"/>
                    <a:pt x="1414" y="4"/>
                  </a:cubicBezTo>
                  <a:cubicBezTo>
                    <a:pt x="1414" y="0"/>
                    <a:pt x="1414" y="0"/>
                    <a:pt x="1414" y="0"/>
                  </a:cubicBezTo>
                  <a:cubicBezTo>
                    <a:pt x="1402" y="0"/>
                    <a:pt x="1402" y="0"/>
                    <a:pt x="1402" y="0"/>
                  </a:cubicBezTo>
                  <a:cubicBezTo>
                    <a:pt x="1402" y="4"/>
                    <a:pt x="1402" y="4"/>
                    <a:pt x="1402" y="4"/>
                  </a:cubicBezTo>
                  <a:moveTo>
                    <a:pt x="1382" y="4"/>
                  </a:moveTo>
                  <a:cubicBezTo>
                    <a:pt x="1394" y="4"/>
                    <a:pt x="1394" y="4"/>
                    <a:pt x="1394" y="4"/>
                  </a:cubicBezTo>
                  <a:cubicBezTo>
                    <a:pt x="1394" y="0"/>
                    <a:pt x="1394" y="0"/>
                    <a:pt x="1394" y="0"/>
                  </a:cubicBezTo>
                  <a:cubicBezTo>
                    <a:pt x="1382" y="0"/>
                    <a:pt x="1382" y="0"/>
                    <a:pt x="1382" y="0"/>
                  </a:cubicBezTo>
                  <a:cubicBezTo>
                    <a:pt x="1382" y="4"/>
                    <a:pt x="1382" y="4"/>
                    <a:pt x="1382" y="4"/>
                  </a:cubicBezTo>
                  <a:moveTo>
                    <a:pt x="1362" y="4"/>
                  </a:moveTo>
                  <a:cubicBezTo>
                    <a:pt x="1374" y="4"/>
                    <a:pt x="1374" y="4"/>
                    <a:pt x="1374" y="4"/>
                  </a:cubicBezTo>
                  <a:cubicBezTo>
                    <a:pt x="1374" y="0"/>
                    <a:pt x="1374" y="0"/>
                    <a:pt x="1374" y="0"/>
                  </a:cubicBezTo>
                  <a:cubicBezTo>
                    <a:pt x="1362" y="0"/>
                    <a:pt x="1362" y="0"/>
                    <a:pt x="1362" y="0"/>
                  </a:cubicBezTo>
                  <a:cubicBezTo>
                    <a:pt x="1362" y="4"/>
                    <a:pt x="1362" y="4"/>
                    <a:pt x="1362" y="4"/>
                  </a:cubicBezTo>
                  <a:moveTo>
                    <a:pt x="1342" y="4"/>
                  </a:moveTo>
                  <a:cubicBezTo>
                    <a:pt x="1354" y="4"/>
                    <a:pt x="1354" y="4"/>
                    <a:pt x="1354" y="4"/>
                  </a:cubicBezTo>
                  <a:cubicBezTo>
                    <a:pt x="1354" y="0"/>
                    <a:pt x="1354" y="0"/>
                    <a:pt x="1354" y="0"/>
                  </a:cubicBezTo>
                  <a:cubicBezTo>
                    <a:pt x="1342" y="0"/>
                    <a:pt x="1342" y="0"/>
                    <a:pt x="1342" y="0"/>
                  </a:cubicBezTo>
                  <a:cubicBezTo>
                    <a:pt x="1342" y="4"/>
                    <a:pt x="1342" y="4"/>
                    <a:pt x="1342" y="4"/>
                  </a:cubicBezTo>
                  <a:moveTo>
                    <a:pt x="1322" y="4"/>
                  </a:moveTo>
                  <a:cubicBezTo>
                    <a:pt x="1334" y="4"/>
                    <a:pt x="1334" y="4"/>
                    <a:pt x="1334" y="4"/>
                  </a:cubicBezTo>
                  <a:cubicBezTo>
                    <a:pt x="1334" y="0"/>
                    <a:pt x="1334" y="0"/>
                    <a:pt x="1334" y="0"/>
                  </a:cubicBezTo>
                  <a:cubicBezTo>
                    <a:pt x="1322" y="0"/>
                    <a:pt x="1322" y="0"/>
                    <a:pt x="1322" y="0"/>
                  </a:cubicBezTo>
                  <a:cubicBezTo>
                    <a:pt x="1322" y="4"/>
                    <a:pt x="1322" y="4"/>
                    <a:pt x="1322" y="4"/>
                  </a:cubicBezTo>
                  <a:moveTo>
                    <a:pt x="1302" y="4"/>
                  </a:moveTo>
                  <a:cubicBezTo>
                    <a:pt x="1314" y="4"/>
                    <a:pt x="1314" y="4"/>
                    <a:pt x="1314" y="4"/>
                  </a:cubicBezTo>
                  <a:cubicBezTo>
                    <a:pt x="1314" y="0"/>
                    <a:pt x="1314" y="0"/>
                    <a:pt x="1314" y="0"/>
                  </a:cubicBezTo>
                  <a:cubicBezTo>
                    <a:pt x="1302" y="0"/>
                    <a:pt x="1302" y="0"/>
                    <a:pt x="1302" y="0"/>
                  </a:cubicBezTo>
                  <a:cubicBezTo>
                    <a:pt x="1302" y="4"/>
                    <a:pt x="1302" y="4"/>
                    <a:pt x="1302" y="4"/>
                  </a:cubicBezTo>
                  <a:moveTo>
                    <a:pt x="1282" y="4"/>
                  </a:moveTo>
                  <a:cubicBezTo>
                    <a:pt x="1294" y="4"/>
                    <a:pt x="1294" y="4"/>
                    <a:pt x="1294" y="4"/>
                  </a:cubicBezTo>
                  <a:cubicBezTo>
                    <a:pt x="1294" y="0"/>
                    <a:pt x="1294" y="0"/>
                    <a:pt x="1294" y="0"/>
                  </a:cubicBezTo>
                  <a:cubicBezTo>
                    <a:pt x="1282" y="0"/>
                    <a:pt x="1282" y="0"/>
                    <a:pt x="1282" y="0"/>
                  </a:cubicBezTo>
                  <a:cubicBezTo>
                    <a:pt x="1282" y="4"/>
                    <a:pt x="1282" y="4"/>
                    <a:pt x="1282" y="4"/>
                  </a:cubicBezTo>
                  <a:moveTo>
                    <a:pt x="1262" y="4"/>
                  </a:moveTo>
                  <a:cubicBezTo>
                    <a:pt x="1274" y="4"/>
                    <a:pt x="1274" y="4"/>
                    <a:pt x="1274" y="4"/>
                  </a:cubicBezTo>
                  <a:cubicBezTo>
                    <a:pt x="1274" y="0"/>
                    <a:pt x="1274" y="0"/>
                    <a:pt x="1274" y="0"/>
                  </a:cubicBezTo>
                  <a:cubicBezTo>
                    <a:pt x="1262" y="0"/>
                    <a:pt x="1262" y="0"/>
                    <a:pt x="1262" y="0"/>
                  </a:cubicBezTo>
                  <a:cubicBezTo>
                    <a:pt x="1262" y="4"/>
                    <a:pt x="1262" y="4"/>
                    <a:pt x="1262" y="4"/>
                  </a:cubicBezTo>
                  <a:moveTo>
                    <a:pt x="1242" y="4"/>
                  </a:moveTo>
                  <a:cubicBezTo>
                    <a:pt x="1254" y="4"/>
                    <a:pt x="1254" y="4"/>
                    <a:pt x="1254" y="4"/>
                  </a:cubicBezTo>
                  <a:cubicBezTo>
                    <a:pt x="1254" y="0"/>
                    <a:pt x="1254" y="0"/>
                    <a:pt x="1254" y="0"/>
                  </a:cubicBezTo>
                  <a:cubicBezTo>
                    <a:pt x="1242" y="0"/>
                    <a:pt x="1242" y="0"/>
                    <a:pt x="1242" y="0"/>
                  </a:cubicBezTo>
                  <a:cubicBezTo>
                    <a:pt x="1242" y="4"/>
                    <a:pt x="1242" y="4"/>
                    <a:pt x="1242" y="4"/>
                  </a:cubicBezTo>
                  <a:moveTo>
                    <a:pt x="1222" y="4"/>
                  </a:moveTo>
                  <a:cubicBezTo>
                    <a:pt x="1234" y="4"/>
                    <a:pt x="1234" y="4"/>
                    <a:pt x="1234" y="4"/>
                  </a:cubicBezTo>
                  <a:cubicBezTo>
                    <a:pt x="1234" y="0"/>
                    <a:pt x="1234" y="0"/>
                    <a:pt x="1234" y="0"/>
                  </a:cubicBezTo>
                  <a:cubicBezTo>
                    <a:pt x="1222" y="0"/>
                    <a:pt x="1222" y="0"/>
                    <a:pt x="1222" y="0"/>
                  </a:cubicBezTo>
                  <a:cubicBezTo>
                    <a:pt x="1222" y="4"/>
                    <a:pt x="1222" y="4"/>
                    <a:pt x="1222" y="4"/>
                  </a:cubicBezTo>
                  <a:moveTo>
                    <a:pt x="1202" y="4"/>
                  </a:moveTo>
                  <a:cubicBezTo>
                    <a:pt x="1214" y="4"/>
                    <a:pt x="1214" y="4"/>
                    <a:pt x="1214" y="4"/>
                  </a:cubicBezTo>
                  <a:cubicBezTo>
                    <a:pt x="1214" y="0"/>
                    <a:pt x="1214" y="0"/>
                    <a:pt x="1214" y="0"/>
                  </a:cubicBezTo>
                  <a:cubicBezTo>
                    <a:pt x="1202" y="0"/>
                    <a:pt x="1202" y="0"/>
                    <a:pt x="1202" y="0"/>
                  </a:cubicBezTo>
                  <a:cubicBezTo>
                    <a:pt x="1202" y="4"/>
                    <a:pt x="1202" y="4"/>
                    <a:pt x="1202" y="4"/>
                  </a:cubicBezTo>
                  <a:moveTo>
                    <a:pt x="1182" y="4"/>
                  </a:moveTo>
                  <a:cubicBezTo>
                    <a:pt x="1194" y="4"/>
                    <a:pt x="1194" y="4"/>
                    <a:pt x="1194" y="4"/>
                  </a:cubicBezTo>
                  <a:cubicBezTo>
                    <a:pt x="1194" y="0"/>
                    <a:pt x="1194" y="0"/>
                    <a:pt x="1194" y="0"/>
                  </a:cubicBezTo>
                  <a:cubicBezTo>
                    <a:pt x="1182" y="0"/>
                    <a:pt x="1182" y="0"/>
                    <a:pt x="1182" y="0"/>
                  </a:cubicBezTo>
                  <a:cubicBezTo>
                    <a:pt x="1182" y="4"/>
                    <a:pt x="1182" y="4"/>
                    <a:pt x="1182" y="4"/>
                  </a:cubicBezTo>
                  <a:moveTo>
                    <a:pt x="1162" y="4"/>
                  </a:moveTo>
                  <a:cubicBezTo>
                    <a:pt x="1174" y="4"/>
                    <a:pt x="1174" y="4"/>
                    <a:pt x="1174" y="4"/>
                  </a:cubicBezTo>
                  <a:cubicBezTo>
                    <a:pt x="1174" y="0"/>
                    <a:pt x="1174" y="0"/>
                    <a:pt x="1174" y="0"/>
                  </a:cubicBezTo>
                  <a:cubicBezTo>
                    <a:pt x="1162" y="0"/>
                    <a:pt x="1162" y="0"/>
                    <a:pt x="1162" y="0"/>
                  </a:cubicBezTo>
                  <a:cubicBezTo>
                    <a:pt x="1162" y="4"/>
                    <a:pt x="1162" y="4"/>
                    <a:pt x="1162" y="4"/>
                  </a:cubicBezTo>
                  <a:moveTo>
                    <a:pt x="1142" y="4"/>
                  </a:moveTo>
                  <a:cubicBezTo>
                    <a:pt x="1154" y="4"/>
                    <a:pt x="1154" y="4"/>
                    <a:pt x="1154" y="4"/>
                  </a:cubicBezTo>
                  <a:cubicBezTo>
                    <a:pt x="1154" y="0"/>
                    <a:pt x="1154" y="0"/>
                    <a:pt x="1154" y="0"/>
                  </a:cubicBezTo>
                  <a:cubicBezTo>
                    <a:pt x="1142" y="0"/>
                    <a:pt x="1142" y="0"/>
                    <a:pt x="1142" y="0"/>
                  </a:cubicBezTo>
                  <a:cubicBezTo>
                    <a:pt x="1142" y="4"/>
                    <a:pt x="1142" y="4"/>
                    <a:pt x="1142" y="4"/>
                  </a:cubicBezTo>
                  <a:moveTo>
                    <a:pt x="1122" y="4"/>
                  </a:moveTo>
                  <a:cubicBezTo>
                    <a:pt x="1134" y="4"/>
                    <a:pt x="1134" y="4"/>
                    <a:pt x="1134" y="4"/>
                  </a:cubicBezTo>
                  <a:cubicBezTo>
                    <a:pt x="1134" y="0"/>
                    <a:pt x="1134" y="0"/>
                    <a:pt x="1134" y="0"/>
                  </a:cubicBezTo>
                  <a:cubicBezTo>
                    <a:pt x="1122" y="0"/>
                    <a:pt x="1122" y="0"/>
                    <a:pt x="1122" y="0"/>
                  </a:cubicBezTo>
                  <a:cubicBezTo>
                    <a:pt x="1122" y="4"/>
                    <a:pt x="1122" y="4"/>
                    <a:pt x="1122" y="4"/>
                  </a:cubicBezTo>
                  <a:moveTo>
                    <a:pt x="1102" y="4"/>
                  </a:moveTo>
                  <a:cubicBezTo>
                    <a:pt x="1114" y="4"/>
                    <a:pt x="1114" y="4"/>
                    <a:pt x="1114" y="4"/>
                  </a:cubicBezTo>
                  <a:cubicBezTo>
                    <a:pt x="1114" y="0"/>
                    <a:pt x="1114" y="0"/>
                    <a:pt x="1114" y="0"/>
                  </a:cubicBezTo>
                  <a:cubicBezTo>
                    <a:pt x="1102" y="0"/>
                    <a:pt x="1102" y="0"/>
                    <a:pt x="1102" y="0"/>
                  </a:cubicBezTo>
                  <a:cubicBezTo>
                    <a:pt x="1102" y="4"/>
                    <a:pt x="1102" y="4"/>
                    <a:pt x="1102" y="4"/>
                  </a:cubicBezTo>
                  <a:moveTo>
                    <a:pt x="1082" y="4"/>
                  </a:moveTo>
                  <a:cubicBezTo>
                    <a:pt x="1094" y="4"/>
                    <a:pt x="1094" y="4"/>
                    <a:pt x="1094" y="4"/>
                  </a:cubicBezTo>
                  <a:cubicBezTo>
                    <a:pt x="1094" y="0"/>
                    <a:pt x="1094" y="0"/>
                    <a:pt x="1094" y="0"/>
                  </a:cubicBezTo>
                  <a:cubicBezTo>
                    <a:pt x="1082" y="0"/>
                    <a:pt x="1082" y="0"/>
                    <a:pt x="1082" y="0"/>
                  </a:cubicBezTo>
                  <a:cubicBezTo>
                    <a:pt x="1082" y="4"/>
                    <a:pt x="1082" y="4"/>
                    <a:pt x="1082" y="4"/>
                  </a:cubicBezTo>
                  <a:moveTo>
                    <a:pt x="1062" y="4"/>
                  </a:moveTo>
                  <a:cubicBezTo>
                    <a:pt x="1074" y="4"/>
                    <a:pt x="1074" y="4"/>
                    <a:pt x="1074" y="4"/>
                  </a:cubicBezTo>
                  <a:cubicBezTo>
                    <a:pt x="1074" y="0"/>
                    <a:pt x="1074" y="0"/>
                    <a:pt x="1074" y="0"/>
                  </a:cubicBezTo>
                  <a:cubicBezTo>
                    <a:pt x="1062" y="0"/>
                    <a:pt x="1062" y="0"/>
                    <a:pt x="1062" y="0"/>
                  </a:cubicBezTo>
                  <a:cubicBezTo>
                    <a:pt x="1062" y="4"/>
                    <a:pt x="1062" y="4"/>
                    <a:pt x="1062" y="4"/>
                  </a:cubicBezTo>
                  <a:moveTo>
                    <a:pt x="1042" y="4"/>
                  </a:moveTo>
                  <a:cubicBezTo>
                    <a:pt x="1054" y="4"/>
                    <a:pt x="1054" y="4"/>
                    <a:pt x="1054" y="4"/>
                  </a:cubicBezTo>
                  <a:cubicBezTo>
                    <a:pt x="1054" y="0"/>
                    <a:pt x="1054" y="0"/>
                    <a:pt x="1054" y="0"/>
                  </a:cubicBezTo>
                  <a:cubicBezTo>
                    <a:pt x="1042" y="0"/>
                    <a:pt x="1042" y="0"/>
                    <a:pt x="1042" y="0"/>
                  </a:cubicBezTo>
                  <a:cubicBezTo>
                    <a:pt x="1042" y="4"/>
                    <a:pt x="1042" y="4"/>
                    <a:pt x="1042" y="4"/>
                  </a:cubicBezTo>
                  <a:moveTo>
                    <a:pt x="1022" y="4"/>
                  </a:moveTo>
                  <a:cubicBezTo>
                    <a:pt x="1034" y="4"/>
                    <a:pt x="1034" y="4"/>
                    <a:pt x="1034" y="4"/>
                  </a:cubicBezTo>
                  <a:cubicBezTo>
                    <a:pt x="1034" y="0"/>
                    <a:pt x="1034" y="0"/>
                    <a:pt x="1034" y="0"/>
                  </a:cubicBezTo>
                  <a:cubicBezTo>
                    <a:pt x="1022" y="0"/>
                    <a:pt x="1022" y="0"/>
                    <a:pt x="1022" y="0"/>
                  </a:cubicBezTo>
                  <a:cubicBezTo>
                    <a:pt x="1022" y="4"/>
                    <a:pt x="1022" y="4"/>
                    <a:pt x="1022" y="4"/>
                  </a:cubicBezTo>
                  <a:moveTo>
                    <a:pt x="1002" y="4"/>
                  </a:moveTo>
                  <a:cubicBezTo>
                    <a:pt x="1014" y="4"/>
                    <a:pt x="1014" y="4"/>
                    <a:pt x="1014" y="4"/>
                  </a:cubicBezTo>
                  <a:cubicBezTo>
                    <a:pt x="1014" y="0"/>
                    <a:pt x="1014" y="0"/>
                    <a:pt x="1014" y="0"/>
                  </a:cubicBezTo>
                  <a:cubicBezTo>
                    <a:pt x="1002" y="0"/>
                    <a:pt x="1002" y="0"/>
                    <a:pt x="1002" y="0"/>
                  </a:cubicBezTo>
                  <a:cubicBezTo>
                    <a:pt x="1002" y="4"/>
                    <a:pt x="1002" y="4"/>
                    <a:pt x="1002" y="4"/>
                  </a:cubicBezTo>
                  <a:moveTo>
                    <a:pt x="983" y="5"/>
                  </a:moveTo>
                  <a:cubicBezTo>
                    <a:pt x="985" y="5"/>
                    <a:pt x="987" y="4"/>
                    <a:pt x="990" y="4"/>
                  </a:cubicBezTo>
                  <a:cubicBezTo>
                    <a:pt x="994" y="4"/>
                    <a:pt x="994" y="4"/>
                    <a:pt x="994" y="4"/>
                  </a:cubicBezTo>
                  <a:cubicBezTo>
                    <a:pt x="994" y="0"/>
                    <a:pt x="994" y="0"/>
                    <a:pt x="994" y="0"/>
                  </a:cubicBezTo>
                  <a:cubicBezTo>
                    <a:pt x="990" y="0"/>
                    <a:pt x="990" y="0"/>
                    <a:pt x="990" y="0"/>
                  </a:cubicBezTo>
                  <a:cubicBezTo>
                    <a:pt x="987" y="0"/>
                    <a:pt x="985" y="1"/>
                    <a:pt x="982" y="1"/>
                  </a:cubicBezTo>
                  <a:cubicBezTo>
                    <a:pt x="983" y="5"/>
                    <a:pt x="983" y="5"/>
                    <a:pt x="983" y="5"/>
                  </a:cubicBezTo>
                  <a:moveTo>
                    <a:pt x="963" y="7"/>
                  </a:moveTo>
                  <a:cubicBezTo>
                    <a:pt x="967" y="6"/>
                    <a:pt x="971" y="6"/>
                    <a:pt x="975" y="5"/>
                  </a:cubicBezTo>
                  <a:cubicBezTo>
                    <a:pt x="974" y="1"/>
                    <a:pt x="974" y="1"/>
                    <a:pt x="974" y="1"/>
                  </a:cubicBezTo>
                  <a:cubicBezTo>
                    <a:pt x="970" y="2"/>
                    <a:pt x="966" y="2"/>
                    <a:pt x="962" y="3"/>
                  </a:cubicBezTo>
                  <a:cubicBezTo>
                    <a:pt x="963" y="7"/>
                    <a:pt x="963" y="7"/>
                    <a:pt x="963" y="7"/>
                  </a:cubicBezTo>
                  <a:moveTo>
                    <a:pt x="944" y="11"/>
                  </a:moveTo>
                  <a:cubicBezTo>
                    <a:pt x="948" y="10"/>
                    <a:pt x="951" y="9"/>
                    <a:pt x="955" y="8"/>
                  </a:cubicBezTo>
                  <a:cubicBezTo>
                    <a:pt x="954" y="4"/>
                    <a:pt x="954" y="4"/>
                    <a:pt x="954" y="4"/>
                  </a:cubicBezTo>
                  <a:cubicBezTo>
                    <a:pt x="950" y="5"/>
                    <a:pt x="946" y="6"/>
                    <a:pt x="943" y="8"/>
                  </a:cubicBezTo>
                  <a:cubicBezTo>
                    <a:pt x="944" y="11"/>
                    <a:pt x="944" y="11"/>
                    <a:pt x="944" y="11"/>
                  </a:cubicBezTo>
                  <a:cubicBezTo>
                    <a:pt x="944" y="11"/>
                    <a:pt x="944" y="11"/>
                    <a:pt x="944" y="11"/>
                  </a:cubicBezTo>
                  <a:moveTo>
                    <a:pt x="925" y="18"/>
                  </a:moveTo>
                  <a:cubicBezTo>
                    <a:pt x="929" y="17"/>
                    <a:pt x="933" y="15"/>
                    <a:pt x="936" y="14"/>
                  </a:cubicBezTo>
                  <a:cubicBezTo>
                    <a:pt x="935" y="10"/>
                    <a:pt x="935" y="10"/>
                    <a:pt x="935" y="10"/>
                  </a:cubicBezTo>
                  <a:cubicBezTo>
                    <a:pt x="931" y="12"/>
                    <a:pt x="927" y="13"/>
                    <a:pt x="924" y="15"/>
                  </a:cubicBezTo>
                  <a:cubicBezTo>
                    <a:pt x="925" y="18"/>
                    <a:pt x="925" y="18"/>
                    <a:pt x="925" y="18"/>
                  </a:cubicBezTo>
                  <a:moveTo>
                    <a:pt x="908" y="28"/>
                  </a:moveTo>
                  <a:cubicBezTo>
                    <a:pt x="911" y="26"/>
                    <a:pt x="915" y="24"/>
                    <a:pt x="918" y="22"/>
                  </a:cubicBezTo>
                  <a:cubicBezTo>
                    <a:pt x="916" y="18"/>
                    <a:pt x="916" y="18"/>
                    <a:pt x="916" y="18"/>
                  </a:cubicBezTo>
                  <a:cubicBezTo>
                    <a:pt x="913" y="20"/>
                    <a:pt x="909" y="22"/>
                    <a:pt x="906" y="24"/>
                  </a:cubicBezTo>
                  <a:cubicBezTo>
                    <a:pt x="908" y="28"/>
                    <a:pt x="908" y="28"/>
                    <a:pt x="908" y="28"/>
                  </a:cubicBezTo>
                  <a:moveTo>
                    <a:pt x="892" y="39"/>
                  </a:moveTo>
                  <a:cubicBezTo>
                    <a:pt x="895" y="37"/>
                    <a:pt x="898" y="34"/>
                    <a:pt x="901" y="32"/>
                  </a:cubicBezTo>
                  <a:cubicBezTo>
                    <a:pt x="899" y="29"/>
                    <a:pt x="899" y="29"/>
                    <a:pt x="899" y="29"/>
                  </a:cubicBezTo>
                  <a:cubicBezTo>
                    <a:pt x="896" y="31"/>
                    <a:pt x="893" y="34"/>
                    <a:pt x="889" y="36"/>
                  </a:cubicBezTo>
                  <a:cubicBezTo>
                    <a:pt x="892" y="39"/>
                    <a:pt x="892" y="39"/>
                    <a:pt x="892" y="39"/>
                  </a:cubicBezTo>
                  <a:moveTo>
                    <a:pt x="878" y="53"/>
                  </a:moveTo>
                  <a:cubicBezTo>
                    <a:pt x="880" y="50"/>
                    <a:pt x="883" y="47"/>
                    <a:pt x="886" y="44"/>
                  </a:cubicBezTo>
                  <a:cubicBezTo>
                    <a:pt x="883" y="42"/>
                    <a:pt x="883" y="42"/>
                    <a:pt x="883" y="42"/>
                  </a:cubicBezTo>
                  <a:cubicBezTo>
                    <a:pt x="880" y="44"/>
                    <a:pt x="877" y="47"/>
                    <a:pt x="875" y="50"/>
                  </a:cubicBezTo>
                  <a:cubicBezTo>
                    <a:pt x="878" y="53"/>
                    <a:pt x="878" y="53"/>
                    <a:pt x="878" y="53"/>
                  </a:cubicBezTo>
                  <a:moveTo>
                    <a:pt x="865" y="68"/>
                  </a:moveTo>
                  <a:cubicBezTo>
                    <a:pt x="867" y="65"/>
                    <a:pt x="870" y="62"/>
                    <a:pt x="872" y="59"/>
                  </a:cubicBezTo>
                  <a:cubicBezTo>
                    <a:pt x="869" y="56"/>
                    <a:pt x="869" y="56"/>
                    <a:pt x="869" y="56"/>
                  </a:cubicBezTo>
                  <a:cubicBezTo>
                    <a:pt x="867" y="59"/>
                    <a:pt x="864" y="62"/>
                    <a:pt x="862" y="66"/>
                  </a:cubicBezTo>
                  <a:cubicBezTo>
                    <a:pt x="865" y="68"/>
                    <a:pt x="865" y="68"/>
                    <a:pt x="865" y="68"/>
                  </a:cubicBezTo>
                  <a:moveTo>
                    <a:pt x="854" y="85"/>
                  </a:moveTo>
                  <a:cubicBezTo>
                    <a:pt x="856" y="81"/>
                    <a:pt x="858" y="78"/>
                    <a:pt x="861" y="74"/>
                  </a:cubicBezTo>
                  <a:cubicBezTo>
                    <a:pt x="857" y="72"/>
                    <a:pt x="857" y="72"/>
                    <a:pt x="857" y="72"/>
                  </a:cubicBezTo>
                  <a:cubicBezTo>
                    <a:pt x="855" y="76"/>
                    <a:pt x="853" y="79"/>
                    <a:pt x="851" y="83"/>
                  </a:cubicBezTo>
                  <a:cubicBezTo>
                    <a:pt x="854" y="85"/>
                    <a:pt x="854" y="85"/>
                    <a:pt x="854" y="85"/>
                  </a:cubicBezTo>
                  <a:moveTo>
                    <a:pt x="846" y="103"/>
                  </a:moveTo>
                  <a:cubicBezTo>
                    <a:pt x="848" y="99"/>
                    <a:pt x="849" y="95"/>
                    <a:pt x="851" y="92"/>
                  </a:cubicBezTo>
                  <a:cubicBezTo>
                    <a:pt x="847" y="90"/>
                    <a:pt x="847" y="90"/>
                    <a:pt x="847" y="90"/>
                  </a:cubicBezTo>
                  <a:cubicBezTo>
                    <a:pt x="845" y="94"/>
                    <a:pt x="844" y="97"/>
                    <a:pt x="842" y="101"/>
                  </a:cubicBezTo>
                  <a:cubicBezTo>
                    <a:pt x="846" y="103"/>
                    <a:pt x="846" y="103"/>
                    <a:pt x="846" y="103"/>
                  </a:cubicBezTo>
                  <a:moveTo>
                    <a:pt x="840" y="121"/>
                  </a:moveTo>
                  <a:cubicBezTo>
                    <a:pt x="841" y="118"/>
                    <a:pt x="842" y="114"/>
                    <a:pt x="843" y="110"/>
                  </a:cubicBezTo>
                  <a:cubicBezTo>
                    <a:pt x="840" y="109"/>
                    <a:pt x="840" y="109"/>
                    <a:pt x="840" y="109"/>
                  </a:cubicBezTo>
                  <a:cubicBezTo>
                    <a:pt x="838" y="113"/>
                    <a:pt x="837" y="116"/>
                    <a:pt x="836" y="120"/>
                  </a:cubicBezTo>
                  <a:cubicBezTo>
                    <a:pt x="840" y="121"/>
                    <a:pt x="840" y="121"/>
                    <a:pt x="840" y="121"/>
                  </a:cubicBezTo>
                  <a:moveTo>
                    <a:pt x="837" y="141"/>
                  </a:moveTo>
                  <a:cubicBezTo>
                    <a:pt x="837" y="137"/>
                    <a:pt x="838" y="133"/>
                    <a:pt x="838" y="129"/>
                  </a:cubicBezTo>
                  <a:cubicBezTo>
                    <a:pt x="835" y="128"/>
                    <a:pt x="835" y="128"/>
                    <a:pt x="835" y="128"/>
                  </a:cubicBezTo>
                  <a:cubicBezTo>
                    <a:pt x="834" y="132"/>
                    <a:pt x="833" y="136"/>
                    <a:pt x="833" y="140"/>
                  </a:cubicBezTo>
                  <a:cubicBezTo>
                    <a:pt x="837" y="141"/>
                    <a:pt x="837" y="141"/>
                    <a:pt x="837" y="141"/>
                  </a:cubicBezTo>
                  <a:moveTo>
                    <a:pt x="836" y="160"/>
                  </a:moveTo>
                  <a:cubicBezTo>
                    <a:pt x="836" y="160"/>
                    <a:pt x="836" y="159"/>
                    <a:pt x="836" y="158"/>
                  </a:cubicBezTo>
                  <a:cubicBezTo>
                    <a:pt x="836" y="155"/>
                    <a:pt x="836" y="152"/>
                    <a:pt x="836" y="149"/>
                  </a:cubicBezTo>
                  <a:cubicBezTo>
                    <a:pt x="832" y="148"/>
                    <a:pt x="832" y="148"/>
                    <a:pt x="832" y="148"/>
                  </a:cubicBezTo>
                  <a:cubicBezTo>
                    <a:pt x="832" y="152"/>
                    <a:pt x="832" y="155"/>
                    <a:pt x="832" y="158"/>
                  </a:cubicBezTo>
                  <a:cubicBezTo>
                    <a:pt x="832" y="159"/>
                    <a:pt x="832" y="160"/>
                    <a:pt x="832" y="161"/>
                  </a:cubicBezTo>
                  <a:cubicBezTo>
                    <a:pt x="836" y="160"/>
                    <a:pt x="836" y="160"/>
                    <a:pt x="836" y="160"/>
                  </a:cubicBezTo>
                  <a:moveTo>
                    <a:pt x="837" y="180"/>
                  </a:moveTo>
                  <a:cubicBezTo>
                    <a:pt x="837" y="176"/>
                    <a:pt x="836" y="172"/>
                    <a:pt x="836" y="168"/>
                  </a:cubicBezTo>
                  <a:cubicBezTo>
                    <a:pt x="832" y="169"/>
                    <a:pt x="832" y="169"/>
                    <a:pt x="832" y="169"/>
                  </a:cubicBezTo>
                  <a:cubicBezTo>
                    <a:pt x="832" y="173"/>
                    <a:pt x="833" y="177"/>
                    <a:pt x="833" y="181"/>
                  </a:cubicBezTo>
                  <a:cubicBezTo>
                    <a:pt x="837" y="180"/>
                    <a:pt x="837" y="180"/>
                    <a:pt x="837" y="180"/>
                  </a:cubicBezTo>
                  <a:moveTo>
                    <a:pt x="841" y="199"/>
                  </a:moveTo>
                  <a:cubicBezTo>
                    <a:pt x="840" y="196"/>
                    <a:pt x="839" y="192"/>
                    <a:pt x="839" y="188"/>
                  </a:cubicBezTo>
                  <a:cubicBezTo>
                    <a:pt x="835" y="189"/>
                    <a:pt x="835" y="189"/>
                    <a:pt x="835" y="189"/>
                  </a:cubicBezTo>
                  <a:cubicBezTo>
                    <a:pt x="835" y="193"/>
                    <a:pt x="836" y="197"/>
                    <a:pt x="837" y="201"/>
                  </a:cubicBezTo>
                  <a:cubicBezTo>
                    <a:pt x="841" y="199"/>
                    <a:pt x="841" y="199"/>
                    <a:pt x="841" y="199"/>
                  </a:cubicBezTo>
                  <a:moveTo>
                    <a:pt x="848" y="218"/>
                  </a:moveTo>
                  <a:cubicBezTo>
                    <a:pt x="846" y="214"/>
                    <a:pt x="845" y="211"/>
                    <a:pt x="844" y="207"/>
                  </a:cubicBezTo>
                  <a:cubicBezTo>
                    <a:pt x="840" y="208"/>
                    <a:pt x="840" y="208"/>
                    <a:pt x="840" y="208"/>
                  </a:cubicBezTo>
                  <a:cubicBezTo>
                    <a:pt x="841" y="212"/>
                    <a:pt x="842" y="216"/>
                    <a:pt x="844" y="220"/>
                  </a:cubicBezTo>
                  <a:cubicBezTo>
                    <a:pt x="848" y="218"/>
                    <a:pt x="848" y="218"/>
                    <a:pt x="848" y="218"/>
                  </a:cubicBezTo>
                  <a:moveTo>
                    <a:pt x="857" y="236"/>
                  </a:moveTo>
                  <a:cubicBezTo>
                    <a:pt x="855" y="232"/>
                    <a:pt x="853" y="229"/>
                    <a:pt x="851" y="225"/>
                  </a:cubicBezTo>
                  <a:cubicBezTo>
                    <a:pt x="847" y="227"/>
                    <a:pt x="847" y="227"/>
                    <a:pt x="847" y="227"/>
                  </a:cubicBezTo>
                  <a:cubicBezTo>
                    <a:pt x="849" y="231"/>
                    <a:pt x="851" y="234"/>
                    <a:pt x="853" y="238"/>
                  </a:cubicBezTo>
                  <a:cubicBezTo>
                    <a:pt x="857" y="236"/>
                    <a:pt x="857" y="236"/>
                    <a:pt x="857" y="236"/>
                  </a:cubicBezTo>
                  <a:moveTo>
                    <a:pt x="868" y="252"/>
                  </a:moveTo>
                  <a:cubicBezTo>
                    <a:pt x="865" y="249"/>
                    <a:pt x="863" y="246"/>
                    <a:pt x="861" y="242"/>
                  </a:cubicBezTo>
                  <a:cubicBezTo>
                    <a:pt x="857" y="245"/>
                    <a:pt x="857" y="245"/>
                    <a:pt x="857" y="245"/>
                  </a:cubicBezTo>
                  <a:cubicBezTo>
                    <a:pt x="860" y="248"/>
                    <a:pt x="862" y="251"/>
                    <a:pt x="864" y="254"/>
                  </a:cubicBezTo>
                  <a:cubicBezTo>
                    <a:pt x="868" y="252"/>
                    <a:pt x="868" y="252"/>
                    <a:pt x="868" y="252"/>
                  </a:cubicBezTo>
                  <a:moveTo>
                    <a:pt x="881" y="267"/>
                  </a:moveTo>
                  <a:cubicBezTo>
                    <a:pt x="878" y="264"/>
                    <a:pt x="875" y="261"/>
                    <a:pt x="873" y="258"/>
                  </a:cubicBezTo>
                  <a:cubicBezTo>
                    <a:pt x="869" y="261"/>
                    <a:pt x="869" y="261"/>
                    <a:pt x="869" y="261"/>
                  </a:cubicBezTo>
                  <a:cubicBezTo>
                    <a:pt x="872" y="264"/>
                    <a:pt x="875" y="267"/>
                    <a:pt x="878" y="270"/>
                  </a:cubicBezTo>
                  <a:cubicBezTo>
                    <a:pt x="881" y="267"/>
                    <a:pt x="881" y="267"/>
                    <a:pt x="881" y="267"/>
                  </a:cubicBezTo>
                  <a:moveTo>
                    <a:pt x="895" y="280"/>
                  </a:moveTo>
                  <a:cubicBezTo>
                    <a:pt x="892" y="278"/>
                    <a:pt x="889" y="275"/>
                    <a:pt x="886" y="272"/>
                  </a:cubicBezTo>
                  <a:cubicBezTo>
                    <a:pt x="884" y="275"/>
                    <a:pt x="884" y="275"/>
                    <a:pt x="884" y="275"/>
                  </a:cubicBezTo>
                  <a:cubicBezTo>
                    <a:pt x="887" y="278"/>
                    <a:pt x="890" y="281"/>
                    <a:pt x="893" y="283"/>
                  </a:cubicBezTo>
                  <a:cubicBezTo>
                    <a:pt x="895" y="280"/>
                    <a:pt x="895" y="280"/>
                    <a:pt x="895" y="280"/>
                  </a:cubicBezTo>
                  <a:moveTo>
                    <a:pt x="912" y="291"/>
                  </a:moveTo>
                  <a:cubicBezTo>
                    <a:pt x="908" y="289"/>
                    <a:pt x="905" y="287"/>
                    <a:pt x="902" y="285"/>
                  </a:cubicBezTo>
                  <a:cubicBezTo>
                    <a:pt x="899" y="288"/>
                    <a:pt x="899" y="288"/>
                    <a:pt x="899" y="288"/>
                  </a:cubicBezTo>
                  <a:cubicBezTo>
                    <a:pt x="903" y="290"/>
                    <a:pt x="906" y="292"/>
                    <a:pt x="910" y="294"/>
                  </a:cubicBezTo>
                  <a:cubicBezTo>
                    <a:pt x="912" y="291"/>
                    <a:pt x="912" y="291"/>
                    <a:pt x="912" y="291"/>
                  </a:cubicBezTo>
                  <a:moveTo>
                    <a:pt x="929" y="300"/>
                  </a:moveTo>
                  <a:cubicBezTo>
                    <a:pt x="926" y="298"/>
                    <a:pt x="922" y="297"/>
                    <a:pt x="919" y="295"/>
                  </a:cubicBezTo>
                  <a:cubicBezTo>
                    <a:pt x="917" y="298"/>
                    <a:pt x="917" y="298"/>
                    <a:pt x="917" y="298"/>
                  </a:cubicBezTo>
                  <a:cubicBezTo>
                    <a:pt x="920" y="300"/>
                    <a:pt x="924" y="302"/>
                    <a:pt x="928" y="304"/>
                  </a:cubicBezTo>
                  <a:cubicBezTo>
                    <a:pt x="929" y="300"/>
                    <a:pt x="929" y="300"/>
                    <a:pt x="929" y="300"/>
                  </a:cubicBezTo>
                  <a:moveTo>
                    <a:pt x="948" y="306"/>
                  </a:moveTo>
                  <a:cubicBezTo>
                    <a:pt x="944" y="305"/>
                    <a:pt x="940" y="304"/>
                    <a:pt x="937" y="303"/>
                  </a:cubicBezTo>
                  <a:cubicBezTo>
                    <a:pt x="935" y="307"/>
                    <a:pt x="935" y="307"/>
                    <a:pt x="935" y="307"/>
                  </a:cubicBezTo>
                  <a:cubicBezTo>
                    <a:pt x="939" y="308"/>
                    <a:pt x="943" y="309"/>
                    <a:pt x="947" y="310"/>
                  </a:cubicBezTo>
                  <a:cubicBezTo>
                    <a:pt x="948" y="306"/>
                    <a:pt x="948" y="306"/>
                    <a:pt x="948" y="306"/>
                  </a:cubicBezTo>
                  <a:moveTo>
                    <a:pt x="967" y="311"/>
                  </a:moveTo>
                  <a:cubicBezTo>
                    <a:pt x="963" y="310"/>
                    <a:pt x="959" y="309"/>
                    <a:pt x="956" y="308"/>
                  </a:cubicBezTo>
                  <a:cubicBezTo>
                    <a:pt x="955" y="312"/>
                    <a:pt x="955" y="312"/>
                    <a:pt x="955" y="312"/>
                  </a:cubicBezTo>
                  <a:cubicBezTo>
                    <a:pt x="959" y="313"/>
                    <a:pt x="963" y="314"/>
                    <a:pt x="967" y="314"/>
                  </a:cubicBezTo>
                  <a:cubicBezTo>
                    <a:pt x="967" y="311"/>
                    <a:pt x="967" y="311"/>
                    <a:pt x="967" y="311"/>
                  </a:cubicBezTo>
                  <a:moveTo>
                    <a:pt x="987" y="312"/>
                  </a:moveTo>
                  <a:cubicBezTo>
                    <a:pt x="983" y="312"/>
                    <a:pt x="979" y="312"/>
                    <a:pt x="975" y="311"/>
                  </a:cubicBezTo>
                  <a:cubicBezTo>
                    <a:pt x="975" y="315"/>
                    <a:pt x="975" y="315"/>
                    <a:pt x="975" y="315"/>
                  </a:cubicBezTo>
                  <a:cubicBezTo>
                    <a:pt x="979" y="316"/>
                    <a:pt x="983" y="316"/>
                    <a:pt x="987" y="316"/>
                  </a:cubicBezTo>
                  <a:cubicBezTo>
                    <a:pt x="987" y="312"/>
                    <a:pt x="987" y="312"/>
                    <a:pt x="987" y="312"/>
                  </a:cubicBezTo>
                  <a:moveTo>
                    <a:pt x="1007" y="312"/>
                  </a:moveTo>
                  <a:cubicBezTo>
                    <a:pt x="995" y="312"/>
                    <a:pt x="995" y="312"/>
                    <a:pt x="995" y="312"/>
                  </a:cubicBezTo>
                  <a:cubicBezTo>
                    <a:pt x="995" y="316"/>
                    <a:pt x="995" y="316"/>
                    <a:pt x="995" y="316"/>
                  </a:cubicBezTo>
                  <a:cubicBezTo>
                    <a:pt x="1007" y="316"/>
                    <a:pt x="1007" y="316"/>
                    <a:pt x="1007" y="316"/>
                  </a:cubicBezTo>
                  <a:cubicBezTo>
                    <a:pt x="1007" y="312"/>
                    <a:pt x="1007" y="312"/>
                    <a:pt x="1007" y="312"/>
                  </a:cubicBezTo>
                  <a:moveTo>
                    <a:pt x="1027" y="312"/>
                  </a:moveTo>
                  <a:cubicBezTo>
                    <a:pt x="1015" y="312"/>
                    <a:pt x="1015" y="312"/>
                    <a:pt x="1015" y="312"/>
                  </a:cubicBezTo>
                  <a:cubicBezTo>
                    <a:pt x="1015" y="316"/>
                    <a:pt x="1015" y="316"/>
                    <a:pt x="1015" y="316"/>
                  </a:cubicBezTo>
                  <a:cubicBezTo>
                    <a:pt x="1027" y="316"/>
                    <a:pt x="1027" y="316"/>
                    <a:pt x="1027" y="316"/>
                  </a:cubicBezTo>
                  <a:cubicBezTo>
                    <a:pt x="1027" y="312"/>
                    <a:pt x="1027" y="312"/>
                    <a:pt x="1027" y="312"/>
                  </a:cubicBezTo>
                  <a:moveTo>
                    <a:pt x="1047" y="312"/>
                  </a:moveTo>
                  <a:cubicBezTo>
                    <a:pt x="1035" y="312"/>
                    <a:pt x="1035" y="312"/>
                    <a:pt x="1035" y="312"/>
                  </a:cubicBezTo>
                  <a:cubicBezTo>
                    <a:pt x="1035" y="316"/>
                    <a:pt x="1035" y="316"/>
                    <a:pt x="1035" y="316"/>
                  </a:cubicBezTo>
                  <a:cubicBezTo>
                    <a:pt x="1047" y="316"/>
                    <a:pt x="1047" y="316"/>
                    <a:pt x="1047" y="316"/>
                  </a:cubicBezTo>
                  <a:cubicBezTo>
                    <a:pt x="1047" y="312"/>
                    <a:pt x="1047" y="312"/>
                    <a:pt x="1047" y="312"/>
                  </a:cubicBezTo>
                  <a:moveTo>
                    <a:pt x="1067" y="312"/>
                  </a:moveTo>
                  <a:cubicBezTo>
                    <a:pt x="1055" y="312"/>
                    <a:pt x="1055" y="312"/>
                    <a:pt x="1055" y="312"/>
                  </a:cubicBezTo>
                  <a:cubicBezTo>
                    <a:pt x="1055" y="316"/>
                    <a:pt x="1055" y="316"/>
                    <a:pt x="1055" y="316"/>
                  </a:cubicBezTo>
                  <a:cubicBezTo>
                    <a:pt x="1067" y="316"/>
                    <a:pt x="1067" y="316"/>
                    <a:pt x="1067" y="316"/>
                  </a:cubicBezTo>
                  <a:cubicBezTo>
                    <a:pt x="1067" y="312"/>
                    <a:pt x="1067" y="312"/>
                    <a:pt x="1067" y="312"/>
                  </a:cubicBezTo>
                  <a:moveTo>
                    <a:pt x="1087" y="312"/>
                  </a:moveTo>
                  <a:cubicBezTo>
                    <a:pt x="1075" y="312"/>
                    <a:pt x="1075" y="312"/>
                    <a:pt x="1075" y="312"/>
                  </a:cubicBezTo>
                  <a:cubicBezTo>
                    <a:pt x="1075" y="316"/>
                    <a:pt x="1075" y="316"/>
                    <a:pt x="1075" y="316"/>
                  </a:cubicBezTo>
                  <a:cubicBezTo>
                    <a:pt x="1087" y="316"/>
                    <a:pt x="1087" y="316"/>
                    <a:pt x="1087" y="316"/>
                  </a:cubicBezTo>
                  <a:cubicBezTo>
                    <a:pt x="1087" y="312"/>
                    <a:pt x="1087" y="312"/>
                    <a:pt x="1087" y="312"/>
                  </a:cubicBezTo>
                  <a:moveTo>
                    <a:pt x="1107" y="312"/>
                  </a:moveTo>
                  <a:cubicBezTo>
                    <a:pt x="1095" y="312"/>
                    <a:pt x="1095" y="312"/>
                    <a:pt x="1095" y="312"/>
                  </a:cubicBezTo>
                  <a:cubicBezTo>
                    <a:pt x="1095" y="316"/>
                    <a:pt x="1095" y="316"/>
                    <a:pt x="1095" y="316"/>
                  </a:cubicBezTo>
                  <a:cubicBezTo>
                    <a:pt x="1107" y="316"/>
                    <a:pt x="1107" y="316"/>
                    <a:pt x="1107" y="316"/>
                  </a:cubicBezTo>
                  <a:cubicBezTo>
                    <a:pt x="1107" y="312"/>
                    <a:pt x="1107" y="312"/>
                    <a:pt x="1107" y="312"/>
                  </a:cubicBezTo>
                  <a:moveTo>
                    <a:pt x="1127" y="312"/>
                  </a:moveTo>
                  <a:cubicBezTo>
                    <a:pt x="1115" y="312"/>
                    <a:pt x="1115" y="312"/>
                    <a:pt x="1115" y="312"/>
                  </a:cubicBezTo>
                  <a:cubicBezTo>
                    <a:pt x="1115" y="316"/>
                    <a:pt x="1115" y="316"/>
                    <a:pt x="1115" y="316"/>
                  </a:cubicBezTo>
                  <a:cubicBezTo>
                    <a:pt x="1127" y="316"/>
                    <a:pt x="1127" y="316"/>
                    <a:pt x="1127" y="316"/>
                  </a:cubicBezTo>
                  <a:cubicBezTo>
                    <a:pt x="1127" y="312"/>
                    <a:pt x="1127" y="312"/>
                    <a:pt x="1127" y="312"/>
                  </a:cubicBezTo>
                  <a:moveTo>
                    <a:pt x="1147" y="312"/>
                  </a:moveTo>
                  <a:cubicBezTo>
                    <a:pt x="1135" y="312"/>
                    <a:pt x="1135" y="312"/>
                    <a:pt x="1135" y="312"/>
                  </a:cubicBezTo>
                  <a:cubicBezTo>
                    <a:pt x="1135" y="316"/>
                    <a:pt x="1135" y="316"/>
                    <a:pt x="1135" y="316"/>
                  </a:cubicBezTo>
                  <a:cubicBezTo>
                    <a:pt x="1147" y="316"/>
                    <a:pt x="1147" y="316"/>
                    <a:pt x="1147" y="316"/>
                  </a:cubicBezTo>
                  <a:cubicBezTo>
                    <a:pt x="1147" y="312"/>
                    <a:pt x="1147" y="312"/>
                    <a:pt x="1147" y="312"/>
                  </a:cubicBezTo>
                  <a:moveTo>
                    <a:pt x="1167" y="312"/>
                  </a:moveTo>
                  <a:cubicBezTo>
                    <a:pt x="1155" y="312"/>
                    <a:pt x="1155" y="312"/>
                    <a:pt x="1155" y="312"/>
                  </a:cubicBezTo>
                  <a:cubicBezTo>
                    <a:pt x="1155" y="316"/>
                    <a:pt x="1155" y="316"/>
                    <a:pt x="1155" y="316"/>
                  </a:cubicBezTo>
                  <a:cubicBezTo>
                    <a:pt x="1167" y="316"/>
                    <a:pt x="1167" y="316"/>
                    <a:pt x="1167" y="316"/>
                  </a:cubicBezTo>
                  <a:cubicBezTo>
                    <a:pt x="1167" y="312"/>
                    <a:pt x="1167" y="312"/>
                    <a:pt x="1167" y="312"/>
                  </a:cubicBezTo>
                  <a:moveTo>
                    <a:pt x="1187" y="312"/>
                  </a:moveTo>
                  <a:cubicBezTo>
                    <a:pt x="1175" y="312"/>
                    <a:pt x="1175" y="312"/>
                    <a:pt x="1175" y="312"/>
                  </a:cubicBezTo>
                  <a:cubicBezTo>
                    <a:pt x="1175" y="316"/>
                    <a:pt x="1175" y="316"/>
                    <a:pt x="1175" y="316"/>
                  </a:cubicBezTo>
                  <a:cubicBezTo>
                    <a:pt x="1187" y="316"/>
                    <a:pt x="1187" y="316"/>
                    <a:pt x="1187" y="316"/>
                  </a:cubicBezTo>
                  <a:cubicBezTo>
                    <a:pt x="1187" y="312"/>
                    <a:pt x="1187" y="312"/>
                    <a:pt x="1187" y="312"/>
                  </a:cubicBezTo>
                  <a:moveTo>
                    <a:pt x="1207" y="312"/>
                  </a:moveTo>
                  <a:cubicBezTo>
                    <a:pt x="1195" y="312"/>
                    <a:pt x="1195" y="312"/>
                    <a:pt x="1195" y="312"/>
                  </a:cubicBezTo>
                  <a:cubicBezTo>
                    <a:pt x="1195" y="316"/>
                    <a:pt x="1195" y="316"/>
                    <a:pt x="1195" y="316"/>
                  </a:cubicBezTo>
                  <a:cubicBezTo>
                    <a:pt x="1207" y="316"/>
                    <a:pt x="1207" y="316"/>
                    <a:pt x="1207" y="316"/>
                  </a:cubicBezTo>
                  <a:cubicBezTo>
                    <a:pt x="1207" y="312"/>
                    <a:pt x="1207" y="312"/>
                    <a:pt x="1207" y="312"/>
                  </a:cubicBezTo>
                  <a:moveTo>
                    <a:pt x="1227" y="312"/>
                  </a:moveTo>
                  <a:cubicBezTo>
                    <a:pt x="1215" y="312"/>
                    <a:pt x="1215" y="312"/>
                    <a:pt x="1215" y="312"/>
                  </a:cubicBezTo>
                  <a:cubicBezTo>
                    <a:pt x="1215" y="316"/>
                    <a:pt x="1215" y="316"/>
                    <a:pt x="1215" y="316"/>
                  </a:cubicBezTo>
                  <a:cubicBezTo>
                    <a:pt x="1227" y="316"/>
                    <a:pt x="1227" y="316"/>
                    <a:pt x="1227" y="316"/>
                  </a:cubicBezTo>
                  <a:cubicBezTo>
                    <a:pt x="1227" y="312"/>
                    <a:pt x="1227" y="312"/>
                    <a:pt x="1227" y="312"/>
                  </a:cubicBezTo>
                  <a:moveTo>
                    <a:pt x="1247" y="312"/>
                  </a:moveTo>
                  <a:cubicBezTo>
                    <a:pt x="1235" y="312"/>
                    <a:pt x="1235" y="312"/>
                    <a:pt x="1235" y="312"/>
                  </a:cubicBezTo>
                  <a:cubicBezTo>
                    <a:pt x="1235" y="316"/>
                    <a:pt x="1235" y="316"/>
                    <a:pt x="1235" y="316"/>
                  </a:cubicBezTo>
                  <a:cubicBezTo>
                    <a:pt x="1247" y="316"/>
                    <a:pt x="1247" y="316"/>
                    <a:pt x="1247" y="316"/>
                  </a:cubicBezTo>
                  <a:cubicBezTo>
                    <a:pt x="1247" y="312"/>
                    <a:pt x="1247" y="312"/>
                    <a:pt x="1247" y="312"/>
                  </a:cubicBezTo>
                  <a:moveTo>
                    <a:pt x="1267" y="312"/>
                  </a:moveTo>
                  <a:cubicBezTo>
                    <a:pt x="1255" y="312"/>
                    <a:pt x="1255" y="312"/>
                    <a:pt x="1255" y="312"/>
                  </a:cubicBezTo>
                  <a:cubicBezTo>
                    <a:pt x="1255" y="316"/>
                    <a:pt x="1255" y="316"/>
                    <a:pt x="1255" y="316"/>
                  </a:cubicBezTo>
                  <a:cubicBezTo>
                    <a:pt x="1267" y="316"/>
                    <a:pt x="1267" y="316"/>
                    <a:pt x="1267" y="316"/>
                  </a:cubicBezTo>
                  <a:cubicBezTo>
                    <a:pt x="1267" y="312"/>
                    <a:pt x="1267" y="312"/>
                    <a:pt x="1267" y="312"/>
                  </a:cubicBezTo>
                  <a:moveTo>
                    <a:pt x="1287" y="312"/>
                  </a:moveTo>
                  <a:cubicBezTo>
                    <a:pt x="1275" y="312"/>
                    <a:pt x="1275" y="312"/>
                    <a:pt x="1275" y="312"/>
                  </a:cubicBezTo>
                  <a:cubicBezTo>
                    <a:pt x="1275" y="316"/>
                    <a:pt x="1275" y="316"/>
                    <a:pt x="1275" y="316"/>
                  </a:cubicBezTo>
                  <a:cubicBezTo>
                    <a:pt x="1287" y="316"/>
                    <a:pt x="1287" y="316"/>
                    <a:pt x="1287" y="316"/>
                  </a:cubicBezTo>
                  <a:cubicBezTo>
                    <a:pt x="1287" y="312"/>
                    <a:pt x="1287" y="312"/>
                    <a:pt x="1287" y="312"/>
                  </a:cubicBezTo>
                  <a:moveTo>
                    <a:pt x="1307" y="312"/>
                  </a:moveTo>
                  <a:cubicBezTo>
                    <a:pt x="1295" y="312"/>
                    <a:pt x="1295" y="312"/>
                    <a:pt x="1295" y="312"/>
                  </a:cubicBezTo>
                  <a:cubicBezTo>
                    <a:pt x="1295" y="316"/>
                    <a:pt x="1295" y="316"/>
                    <a:pt x="1295" y="316"/>
                  </a:cubicBezTo>
                  <a:cubicBezTo>
                    <a:pt x="1307" y="316"/>
                    <a:pt x="1307" y="316"/>
                    <a:pt x="1307" y="316"/>
                  </a:cubicBezTo>
                  <a:cubicBezTo>
                    <a:pt x="1307" y="312"/>
                    <a:pt x="1307" y="312"/>
                    <a:pt x="1307" y="312"/>
                  </a:cubicBezTo>
                  <a:moveTo>
                    <a:pt x="1327" y="312"/>
                  </a:moveTo>
                  <a:cubicBezTo>
                    <a:pt x="1315" y="312"/>
                    <a:pt x="1315" y="312"/>
                    <a:pt x="1315" y="312"/>
                  </a:cubicBezTo>
                  <a:cubicBezTo>
                    <a:pt x="1315" y="316"/>
                    <a:pt x="1315" y="316"/>
                    <a:pt x="1315" y="316"/>
                  </a:cubicBezTo>
                  <a:cubicBezTo>
                    <a:pt x="1327" y="316"/>
                    <a:pt x="1327" y="316"/>
                    <a:pt x="1327" y="316"/>
                  </a:cubicBezTo>
                  <a:cubicBezTo>
                    <a:pt x="1327" y="312"/>
                    <a:pt x="1327" y="312"/>
                    <a:pt x="1327" y="312"/>
                  </a:cubicBezTo>
                  <a:moveTo>
                    <a:pt x="1347" y="312"/>
                  </a:moveTo>
                  <a:cubicBezTo>
                    <a:pt x="1335" y="312"/>
                    <a:pt x="1335" y="312"/>
                    <a:pt x="1335" y="312"/>
                  </a:cubicBezTo>
                  <a:cubicBezTo>
                    <a:pt x="1335" y="316"/>
                    <a:pt x="1335" y="316"/>
                    <a:pt x="1335" y="316"/>
                  </a:cubicBezTo>
                  <a:cubicBezTo>
                    <a:pt x="1347" y="316"/>
                    <a:pt x="1347" y="316"/>
                    <a:pt x="1347" y="316"/>
                  </a:cubicBezTo>
                  <a:cubicBezTo>
                    <a:pt x="1347" y="312"/>
                    <a:pt x="1347" y="312"/>
                    <a:pt x="1347" y="312"/>
                  </a:cubicBezTo>
                  <a:moveTo>
                    <a:pt x="1367" y="312"/>
                  </a:moveTo>
                  <a:cubicBezTo>
                    <a:pt x="1355" y="312"/>
                    <a:pt x="1355" y="312"/>
                    <a:pt x="1355" y="312"/>
                  </a:cubicBezTo>
                  <a:cubicBezTo>
                    <a:pt x="1355" y="316"/>
                    <a:pt x="1355" y="316"/>
                    <a:pt x="1355" y="316"/>
                  </a:cubicBezTo>
                  <a:cubicBezTo>
                    <a:pt x="1367" y="316"/>
                    <a:pt x="1367" y="316"/>
                    <a:pt x="1367" y="316"/>
                  </a:cubicBezTo>
                  <a:cubicBezTo>
                    <a:pt x="1367" y="312"/>
                    <a:pt x="1367" y="312"/>
                    <a:pt x="1367" y="312"/>
                  </a:cubicBezTo>
                  <a:moveTo>
                    <a:pt x="1387" y="312"/>
                  </a:moveTo>
                  <a:cubicBezTo>
                    <a:pt x="1375" y="312"/>
                    <a:pt x="1375" y="312"/>
                    <a:pt x="1375" y="312"/>
                  </a:cubicBezTo>
                  <a:cubicBezTo>
                    <a:pt x="1375" y="316"/>
                    <a:pt x="1375" y="316"/>
                    <a:pt x="1375" y="316"/>
                  </a:cubicBezTo>
                  <a:cubicBezTo>
                    <a:pt x="1387" y="316"/>
                    <a:pt x="1387" y="316"/>
                    <a:pt x="1387" y="316"/>
                  </a:cubicBezTo>
                  <a:cubicBezTo>
                    <a:pt x="1387" y="312"/>
                    <a:pt x="1387" y="312"/>
                    <a:pt x="1387" y="312"/>
                  </a:cubicBezTo>
                  <a:moveTo>
                    <a:pt x="1407" y="312"/>
                  </a:moveTo>
                  <a:cubicBezTo>
                    <a:pt x="1395" y="312"/>
                    <a:pt x="1395" y="312"/>
                    <a:pt x="1395" y="312"/>
                  </a:cubicBezTo>
                  <a:cubicBezTo>
                    <a:pt x="1395" y="316"/>
                    <a:pt x="1395" y="316"/>
                    <a:pt x="1395" y="316"/>
                  </a:cubicBezTo>
                  <a:cubicBezTo>
                    <a:pt x="1407" y="316"/>
                    <a:pt x="1407" y="316"/>
                    <a:pt x="1407" y="316"/>
                  </a:cubicBezTo>
                  <a:cubicBezTo>
                    <a:pt x="1407" y="312"/>
                    <a:pt x="1407" y="312"/>
                    <a:pt x="1407" y="312"/>
                  </a:cubicBezTo>
                  <a:moveTo>
                    <a:pt x="1427" y="312"/>
                  </a:moveTo>
                  <a:cubicBezTo>
                    <a:pt x="1415" y="312"/>
                    <a:pt x="1415" y="312"/>
                    <a:pt x="1415" y="312"/>
                  </a:cubicBezTo>
                  <a:cubicBezTo>
                    <a:pt x="1415" y="316"/>
                    <a:pt x="1415" y="316"/>
                    <a:pt x="1415" y="316"/>
                  </a:cubicBezTo>
                  <a:cubicBezTo>
                    <a:pt x="1427" y="316"/>
                    <a:pt x="1427" y="316"/>
                    <a:pt x="1427" y="316"/>
                  </a:cubicBezTo>
                  <a:cubicBezTo>
                    <a:pt x="1427" y="312"/>
                    <a:pt x="1427" y="312"/>
                    <a:pt x="1427" y="312"/>
                  </a:cubicBezTo>
                  <a:moveTo>
                    <a:pt x="1447" y="312"/>
                  </a:moveTo>
                  <a:cubicBezTo>
                    <a:pt x="1435" y="312"/>
                    <a:pt x="1435" y="312"/>
                    <a:pt x="1435" y="312"/>
                  </a:cubicBezTo>
                  <a:cubicBezTo>
                    <a:pt x="1435" y="316"/>
                    <a:pt x="1435" y="316"/>
                    <a:pt x="1435" y="316"/>
                  </a:cubicBezTo>
                  <a:cubicBezTo>
                    <a:pt x="1447" y="316"/>
                    <a:pt x="1447" y="316"/>
                    <a:pt x="1447" y="316"/>
                  </a:cubicBezTo>
                  <a:cubicBezTo>
                    <a:pt x="1447" y="312"/>
                    <a:pt x="1447" y="312"/>
                    <a:pt x="1447" y="312"/>
                  </a:cubicBezTo>
                  <a:moveTo>
                    <a:pt x="1467" y="312"/>
                  </a:moveTo>
                  <a:cubicBezTo>
                    <a:pt x="1455" y="312"/>
                    <a:pt x="1455" y="312"/>
                    <a:pt x="1455" y="312"/>
                  </a:cubicBezTo>
                  <a:cubicBezTo>
                    <a:pt x="1455" y="316"/>
                    <a:pt x="1455" y="316"/>
                    <a:pt x="1455" y="316"/>
                  </a:cubicBezTo>
                  <a:cubicBezTo>
                    <a:pt x="1467" y="316"/>
                    <a:pt x="1467" y="316"/>
                    <a:pt x="1467" y="316"/>
                  </a:cubicBezTo>
                  <a:cubicBezTo>
                    <a:pt x="1467" y="312"/>
                    <a:pt x="1467" y="312"/>
                    <a:pt x="1467" y="312"/>
                  </a:cubicBezTo>
                  <a:moveTo>
                    <a:pt x="1487" y="312"/>
                  </a:moveTo>
                  <a:cubicBezTo>
                    <a:pt x="1475" y="312"/>
                    <a:pt x="1475" y="312"/>
                    <a:pt x="1475" y="312"/>
                  </a:cubicBezTo>
                  <a:cubicBezTo>
                    <a:pt x="1475" y="316"/>
                    <a:pt x="1475" y="316"/>
                    <a:pt x="1475" y="316"/>
                  </a:cubicBezTo>
                  <a:cubicBezTo>
                    <a:pt x="1487" y="316"/>
                    <a:pt x="1487" y="316"/>
                    <a:pt x="1487" y="316"/>
                  </a:cubicBezTo>
                  <a:cubicBezTo>
                    <a:pt x="1487" y="312"/>
                    <a:pt x="1487" y="312"/>
                    <a:pt x="1487" y="312"/>
                  </a:cubicBezTo>
                  <a:moveTo>
                    <a:pt x="1507" y="312"/>
                  </a:moveTo>
                  <a:cubicBezTo>
                    <a:pt x="1495" y="312"/>
                    <a:pt x="1495" y="312"/>
                    <a:pt x="1495" y="312"/>
                  </a:cubicBezTo>
                  <a:cubicBezTo>
                    <a:pt x="1495" y="316"/>
                    <a:pt x="1495" y="316"/>
                    <a:pt x="1495" y="316"/>
                  </a:cubicBezTo>
                  <a:cubicBezTo>
                    <a:pt x="1507" y="316"/>
                    <a:pt x="1507" y="316"/>
                    <a:pt x="1507" y="316"/>
                  </a:cubicBezTo>
                  <a:cubicBezTo>
                    <a:pt x="1507" y="312"/>
                    <a:pt x="1507" y="312"/>
                    <a:pt x="1507" y="312"/>
                  </a:cubicBezTo>
                  <a:moveTo>
                    <a:pt x="1527" y="312"/>
                  </a:moveTo>
                  <a:cubicBezTo>
                    <a:pt x="1515" y="312"/>
                    <a:pt x="1515" y="312"/>
                    <a:pt x="1515" y="312"/>
                  </a:cubicBezTo>
                  <a:cubicBezTo>
                    <a:pt x="1515" y="316"/>
                    <a:pt x="1515" y="316"/>
                    <a:pt x="1515" y="316"/>
                  </a:cubicBezTo>
                  <a:cubicBezTo>
                    <a:pt x="1527" y="316"/>
                    <a:pt x="1527" y="316"/>
                    <a:pt x="1527" y="316"/>
                  </a:cubicBezTo>
                  <a:cubicBezTo>
                    <a:pt x="1527" y="312"/>
                    <a:pt x="1527" y="312"/>
                    <a:pt x="1527" y="312"/>
                  </a:cubicBezTo>
                  <a:moveTo>
                    <a:pt x="1547" y="312"/>
                  </a:moveTo>
                  <a:cubicBezTo>
                    <a:pt x="1535" y="312"/>
                    <a:pt x="1535" y="312"/>
                    <a:pt x="1535" y="312"/>
                  </a:cubicBezTo>
                  <a:cubicBezTo>
                    <a:pt x="1535" y="316"/>
                    <a:pt x="1535" y="316"/>
                    <a:pt x="1535" y="316"/>
                  </a:cubicBezTo>
                  <a:cubicBezTo>
                    <a:pt x="1547" y="316"/>
                    <a:pt x="1547" y="316"/>
                    <a:pt x="1547" y="316"/>
                  </a:cubicBezTo>
                  <a:cubicBezTo>
                    <a:pt x="1547" y="312"/>
                    <a:pt x="1547" y="312"/>
                    <a:pt x="1547" y="312"/>
                  </a:cubicBezTo>
                  <a:moveTo>
                    <a:pt x="1567" y="312"/>
                  </a:moveTo>
                  <a:cubicBezTo>
                    <a:pt x="1555" y="312"/>
                    <a:pt x="1555" y="312"/>
                    <a:pt x="1555" y="312"/>
                  </a:cubicBezTo>
                  <a:cubicBezTo>
                    <a:pt x="1555" y="316"/>
                    <a:pt x="1555" y="316"/>
                    <a:pt x="1555" y="316"/>
                  </a:cubicBezTo>
                  <a:cubicBezTo>
                    <a:pt x="1567" y="316"/>
                    <a:pt x="1567" y="316"/>
                    <a:pt x="1567" y="316"/>
                  </a:cubicBezTo>
                  <a:cubicBezTo>
                    <a:pt x="1567" y="312"/>
                    <a:pt x="1567" y="312"/>
                    <a:pt x="1567" y="312"/>
                  </a:cubicBezTo>
                  <a:moveTo>
                    <a:pt x="1587" y="312"/>
                  </a:moveTo>
                  <a:cubicBezTo>
                    <a:pt x="1575" y="312"/>
                    <a:pt x="1575" y="312"/>
                    <a:pt x="1575" y="312"/>
                  </a:cubicBezTo>
                  <a:cubicBezTo>
                    <a:pt x="1575" y="316"/>
                    <a:pt x="1575" y="316"/>
                    <a:pt x="1575" y="316"/>
                  </a:cubicBezTo>
                  <a:cubicBezTo>
                    <a:pt x="1587" y="316"/>
                    <a:pt x="1587" y="316"/>
                    <a:pt x="1587" y="316"/>
                  </a:cubicBezTo>
                  <a:cubicBezTo>
                    <a:pt x="1587" y="312"/>
                    <a:pt x="1587" y="312"/>
                    <a:pt x="1587" y="312"/>
                  </a:cubicBezTo>
                  <a:moveTo>
                    <a:pt x="1607" y="312"/>
                  </a:moveTo>
                  <a:cubicBezTo>
                    <a:pt x="1595" y="312"/>
                    <a:pt x="1595" y="312"/>
                    <a:pt x="1595" y="312"/>
                  </a:cubicBezTo>
                  <a:cubicBezTo>
                    <a:pt x="1595" y="316"/>
                    <a:pt x="1595" y="316"/>
                    <a:pt x="1595" y="316"/>
                  </a:cubicBezTo>
                  <a:cubicBezTo>
                    <a:pt x="1607" y="316"/>
                    <a:pt x="1607" y="316"/>
                    <a:pt x="1607" y="316"/>
                  </a:cubicBezTo>
                  <a:cubicBezTo>
                    <a:pt x="1607" y="312"/>
                    <a:pt x="1607" y="312"/>
                    <a:pt x="1607" y="312"/>
                  </a:cubicBezTo>
                  <a:moveTo>
                    <a:pt x="1627" y="312"/>
                  </a:moveTo>
                  <a:cubicBezTo>
                    <a:pt x="1615" y="312"/>
                    <a:pt x="1615" y="312"/>
                    <a:pt x="1615" y="312"/>
                  </a:cubicBezTo>
                  <a:cubicBezTo>
                    <a:pt x="1615" y="316"/>
                    <a:pt x="1615" y="316"/>
                    <a:pt x="1615" y="316"/>
                  </a:cubicBezTo>
                  <a:cubicBezTo>
                    <a:pt x="1627" y="316"/>
                    <a:pt x="1627" y="316"/>
                    <a:pt x="1627" y="316"/>
                  </a:cubicBezTo>
                  <a:cubicBezTo>
                    <a:pt x="1627" y="312"/>
                    <a:pt x="1627" y="312"/>
                    <a:pt x="1627" y="312"/>
                  </a:cubicBezTo>
                  <a:moveTo>
                    <a:pt x="1647" y="312"/>
                  </a:moveTo>
                  <a:cubicBezTo>
                    <a:pt x="1635" y="312"/>
                    <a:pt x="1635" y="312"/>
                    <a:pt x="1635" y="312"/>
                  </a:cubicBezTo>
                  <a:cubicBezTo>
                    <a:pt x="1635" y="316"/>
                    <a:pt x="1635" y="316"/>
                    <a:pt x="1635" y="316"/>
                  </a:cubicBezTo>
                  <a:cubicBezTo>
                    <a:pt x="1647" y="316"/>
                    <a:pt x="1647" y="316"/>
                    <a:pt x="1647" y="316"/>
                  </a:cubicBezTo>
                  <a:cubicBezTo>
                    <a:pt x="1647" y="312"/>
                    <a:pt x="1647" y="312"/>
                    <a:pt x="1647" y="312"/>
                  </a:cubicBezTo>
                  <a:moveTo>
                    <a:pt x="1667" y="312"/>
                  </a:moveTo>
                  <a:cubicBezTo>
                    <a:pt x="1655" y="312"/>
                    <a:pt x="1655" y="312"/>
                    <a:pt x="1655" y="312"/>
                  </a:cubicBezTo>
                  <a:cubicBezTo>
                    <a:pt x="1655" y="316"/>
                    <a:pt x="1655" y="316"/>
                    <a:pt x="1655" y="316"/>
                  </a:cubicBezTo>
                  <a:cubicBezTo>
                    <a:pt x="1667" y="316"/>
                    <a:pt x="1667" y="316"/>
                    <a:pt x="1667" y="316"/>
                  </a:cubicBezTo>
                  <a:cubicBezTo>
                    <a:pt x="1667" y="312"/>
                    <a:pt x="1667" y="312"/>
                    <a:pt x="1667" y="312"/>
                  </a:cubicBezTo>
                  <a:moveTo>
                    <a:pt x="1687" y="312"/>
                  </a:moveTo>
                  <a:cubicBezTo>
                    <a:pt x="1675" y="312"/>
                    <a:pt x="1675" y="312"/>
                    <a:pt x="1675" y="312"/>
                  </a:cubicBezTo>
                  <a:cubicBezTo>
                    <a:pt x="1675" y="316"/>
                    <a:pt x="1675" y="316"/>
                    <a:pt x="1675" y="316"/>
                  </a:cubicBezTo>
                  <a:cubicBezTo>
                    <a:pt x="1687" y="316"/>
                    <a:pt x="1687" y="316"/>
                    <a:pt x="1687" y="316"/>
                  </a:cubicBezTo>
                  <a:cubicBezTo>
                    <a:pt x="1687" y="312"/>
                    <a:pt x="1687" y="312"/>
                    <a:pt x="1687" y="312"/>
                  </a:cubicBezTo>
                  <a:moveTo>
                    <a:pt x="1707" y="312"/>
                  </a:moveTo>
                  <a:cubicBezTo>
                    <a:pt x="1695" y="312"/>
                    <a:pt x="1695" y="312"/>
                    <a:pt x="1695" y="312"/>
                  </a:cubicBezTo>
                  <a:cubicBezTo>
                    <a:pt x="1695" y="316"/>
                    <a:pt x="1695" y="316"/>
                    <a:pt x="1695" y="316"/>
                  </a:cubicBezTo>
                  <a:cubicBezTo>
                    <a:pt x="1707" y="316"/>
                    <a:pt x="1707" y="316"/>
                    <a:pt x="1707" y="316"/>
                  </a:cubicBezTo>
                  <a:cubicBezTo>
                    <a:pt x="1707" y="312"/>
                    <a:pt x="1707" y="312"/>
                    <a:pt x="1707" y="312"/>
                  </a:cubicBezTo>
                  <a:moveTo>
                    <a:pt x="1727" y="312"/>
                  </a:moveTo>
                  <a:cubicBezTo>
                    <a:pt x="1715" y="312"/>
                    <a:pt x="1715" y="312"/>
                    <a:pt x="1715" y="312"/>
                  </a:cubicBezTo>
                  <a:cubicBezTo>
                    <a:pt x="1715" y="316"/>
                    <a:pt x="1715" y="316"/>
                    <a:pt x="1715" y="316"/>
                  </a:cubicBezTo>
                  <a:cubicBezTo>
                    <a:pt x="1727" y="316"/>
                    <a:pt x="1727" y="316"/>
                    <a:pt x="1727" y="316"/>
                  </a:cubicBezTo>
                  <a:cubicBezTo>
                    <a:pt x="1727" y="312"/>
                    <a:pt x="1727" y="312"/>
                    <a:pt x="1727" y="312"/>
                  </a:cubicBezTo>
                  <a:moveTo>
                    <a:pt x="1747" y="312"/>
                  </a:moveTo>
                  <a:cubicBezTo>
                    <a:pt x="1735" y="312"/>
                    <a:pt x="1735" y="312"/>
                    <a:pt x="1735" y="312"/>
                  </a:cubicBezTo>
                  <a:cubicBezTo>
                    <a:pt x="1735" y="316"/>
                    <a:pt x="1735" y="316"/>
                    <a:pt x="1735" y="316"/>
                  </a:cubicBezTo>
                  <a:cubicBezTo>
                    <a:pt x="1747" y="316"/>
                    <a:pt x="1747" y="316"/>
                    <a:pt x="1747" y="316"/>
                  </a:cubicBezTo>
                  <a:cubicBezTo>
                    <a:pt x="1747" y="312"/>
                    <a:pt x="1747" y="312"/>
                    <a:pt x="1747" y="312"/>
                  </a:cubicBezTo>
                  <a:moveTo>
                    <a:pt x="1767" y="312"/>
                  </a:moveTo>
                  <a:cubicBezTo>
                    <a:pt x="1755" y="312"/>
                    <a:pt x="1755" y="312"/>
                    <a:pt x="1755" y="312"/>
                  </a:cubicBezTo>
                  <a:cubicBezTo>
                    <a:pt x="1755" y="316"/>
                    <a:pt x="1755" y="316"/>
                    <a:pt x="1755" y="316"/>
                  </a:cubicBezTo>
                  <a:cubicBezTo>
                    <a:pt x="1767" y="316"/>
                    <a:pt x="1767" y="316"/>
                    <a:pt x="1767" y="316"/>
                  </a:cubicBezTo>
                  <a:cubicBezTo>
                    <a:pt x="1767" y="312"/>
                    <a:pt x="1767" y="312"/>
                    <a:pt x="1767" y="312"/>
                  </a:cubicBezTo>
                  <a:moveTo>
                    <a:pt x="1787" y="312"/>
                  </a:moveTo>
                  <a:cubicBezTo>
                    <a:pt x="1775" y="312"/>
                    <a:pt x="1775" y="312"/>
                    <a:pt x="1775" y="312"/>
                  </a:cubicBezTo>
                  <a:cubicBezTo>
                    <a:pt x="1775" y="316"/>
                    <a:pt x="1775" y="316"/>
                    <a:pt x="1775" y="316"/>
                  </a:cubicBezTo>
                  <a:cubicBezTo>
                    <a:pt x="1787" y="316"/>
                    <a:pt x="1787" y="316"/>
                    <a:pt x="1787" y="316"/>
                  </a:cubicBezTo>
                  <a:cubicBezTo>
                    <a:pt x="1787" y="312"/>
                    <a:pt x="1787" y="312"/>
                    <a:pt x="1787" y="312"/>
                  </a:cubicBezTo>
                  <a:moveTo>
                    <a:pt x="1807" y="312"/>
                  </a:moveTo>
                  <a:cubicBezTo>
                    <a:pt x="1795" y="312"/>
                    <a:pt x="1795" y="312"/>
                    <a:pt x="1795" y="312"/>
                  </a:cubicBezTo>
                  <a:cubicBezTo>
                    <a:pt x="1795" y="316"/>
                    <a:pt x="1795" y="316"/>
                    <a:pt x="1795" y="316"/>
                  </a:cubicBezTo>
                  <a:cubicBezTo>
                    <a:pt x="1807" y="316"/>
                    <a:pt x="1807" y="316"/>
                    <a:pt x="1807" y="316"/>
                  </a:cubicBezTo>
                  <a:cubicBezTo>
                    <a:pt x="1807" y="312"/>
                    <a:pt x="1807" y="312"/>
                    <a:pt x="1807" y="312"/>
                  </a:cubicBezTo>
                  <a:moveTo>
                    <a:pt x="1827" y="312"/>
                  </a:moveTo>
                  <a:cubicBezTo>
                    <a:pt x="1815" y="312"/>
                    <a:pt x="1815" y="312"/>
                    <a:pt x="1815" y="312"/>
                  </a:cubicBezTo>
                  <a:cubicBezTo>
                    <a:pt x="1815" y="316"/>
                    <a:pt x="1815" y="316"/>
                    <a:pt x="1815" y="316"/>
                  </a:cubicBezTo>
                  <a:cubicBezTo>
                    <a:pt x="1827" y="316"/>
                    <a:pt x="1827" y="316"/>
                    <a:pt x="1827" y="316"/>
                  </a:cubicBezTo>
                  <a:cubicBezTo>
                    <a:pt x="1827" y="312"/>
                    <a:pt x="1827" y="312"/>
                    <a:pt x="1827" y="312"/>
                  </a:cubicBezTo>
                  <a:moveTo>
                    <a:pt x="1847" y="312"/>
                  </a:moveTo>
                  <a:cubicBezTo>
                    <a:pt x="1835" y="312"/>
                    <a:pt x="1835" y="312"/>
                    <a:pt x="1835" y="312"/>
                  </a:cubicBezTo>
                  <a:cubicBezTo>
                    <a:pt x="1835" y="316"/>
                    <a:pt x="1835" y="316"/>
                    <a:pt x="1835" y="316"/>
                  </a:cubicBezTo>
                  <a:cubicBezTo>
                    <a:pt x="1847" y="316"/>
                    <a:pt x="1847" y="316"/>
                    <a:pt x="1847" y="316"/>
                  </a:cubicBezTo>
                  <a:cubicBezTo>
                    <a:pt x="1847" y="312"/>
                    <a:pt x="1847" y="312"/>
                    <a:pt x="1847" y="312"/>
                  </a:cubicBezTo>
                  <a:moveTo>
                    <a:pt x="1867" y="312"/>
                  </a:moveTo>
                  <a:cubicBezTo>
                    <a:pt x="1855" y="312"/>
                    <a:pt x="1855" y="312"/>
                    <a:pt x="1855" y="312"/>
                  </a:cubicBezTo>
                  <a:cubicBezTo>
                    <a:pt x="1855" y="316"/>
                    <a:pt x="1855" y="316"/>
                    <a:pt x="1855" y="316"/>
                  </a:cubicBezTo>
                  <a:cubicBezTo>
                    <a:pt x="1867" y="316"/>
                    <a:pt x="1867" y="316"/>
                    <a:pt x="1867" y="316"/>
                  </a:cubicBezTo>
                  <a:cubicBezTo>
                    <a:pt x="1867" y="312"/>
                    <a:pt x="1867" y="312"/>
                    <a:pt x="1867" y="312"/>
                  </a:cubicBezTo>
                  <a:moveTo>
                    <a:pt x="1887" y="312"/>
                  </a:moveTo>
                  <a:cubicBezTo>
                    <a:pt x="1875" y="312"/>
                    <a:pt x="1875" y="312"/>
                    <a:pt x="1875" y="312"/>
                  </a:cubicBezTo>
                  <a:cubicBezTo>
                    <a:pt x="1875" y="316"/>
                    <a:pt x="1875" y="316"/>
                    <a:pt x="1875" y="316"/>
                  </a:cubicBezTo>
                  <a:cubicBezTo>
                    <a:pt x="1887" y="316"/>
                    <a:pt x="1887" y="316"/>
                    <a:pt x="1887" y="316"/>
                  </a:cubicBezTo>
                  <a:cubicBezTo>
                    <a:pt x="1887" y="312"/>
                    <a:pt x="1887" y="312"/>
                    <a:pt x="1887" y="312"/>
                  </a:cubicBezTo>
                  <a:moveTo>
                    <a:pt x="1907" y="312"/>
                  </a:moveTo>
                  <a:cubicBezTo>
                    <a:pt x="1895" y="312"/>
                    <a:pt x="1895" y="312"/>
                    <a:pt x="1895" y="312"/>
                  </a:cubicBezTo>
                  <a:cubicBezTo>
                    <a:pt x="1895" y="316"/>
                    <a:pt x="1895" y="316"/>
                    <a:pt x="1895" y="316"/>
                  </a:cubicBezTo>
                  <a:cubicBezTo>
                    <a:pt x="1907" y="316"/>
                    <a:pt x="1907" y="316"/>
                    <a:pt x="1907" y="316"/>
                  </a:cubicBezTo>
                  <a:cubicBezTo>
                    <a:pt x="1907" y="312"/>
                    <a:pt x="1907" y="312"/>
                    <a:pt x="1907" y="312"/>
                  </a:cubicBezTo>
                  <a:moveTo>
                    <a:pt x="1927" y="312"/>
                  </a:moveTo>
                  <a:cubicBezTo>
                    <a:pt x="1915" y="312"/>
                    <a:pt x="1915" y="312"/>
                    <a:pt x="1915" y="312"/>
                  </a:cubicBezTo>
                  <a:cubicBezTo>
                    <a:pt x="1915" y="316"/>
                    <a:pt x="1915" y="316"/>
                    <a:pt x="1915" y="316"/>
                  </a:cubicBezTo>
                  <a:cubicBezTo>
                    <a:pt x="1927" y="316"/>
                    <a:pt x="1927" y="316"/>
                    <a:pt x="1927" y="316"/>
                  </a:cubicBezTo>
                  <a:cubicBezTo>
                    <a:pt x="1927" y="312"/>
                    <a:pt x="1927" y="312"/>
                    <a:pt x="1927" y="312"/>
                  </a:cubicBezTo>
                  <a:moveTo>
                    <a:pt x="1947" y="312"/>
                  </a:moveTo>
                  <a:cubicBezTo>
                    <a:pt x="1935" y="312"/>
                    <a:pt x="1935" y="312"/>
                    <a:pt x="1935" y="312"/>
                  </a:cubicBezTo>
                  <a:cubicBezTo>
                    <a:pt x="1935" y="316"/>
                    <a:pt x="1935" y="316"/>
                    <a:pt x="1935" y="316"/>
                  </a:cubicBezTo>
                  <a:cubicBezTo>
                    <a:pt x="1947" y="316"/>
                    <a:pt x="1947" y="316"/>
                    <a:pt x="1947" y="316"/>
                  </a:cubicBezTo>
                  <a:cubicBezTo>
                    <a:pt x="1947" y="312"/>
                    <a:pt x="1947" y="312"/>
                    <a:pt x="1947" y="312"/>
                  </a:cubicBezTo>
                  <a:moveTo>
                    <a:pt x="1967" y="312"/>
                  </a:moveTo>
                  <a:cubicBezTo>
                    <a:pt x="1955" y="312"/>
                    <a:pt x="1955" y="312"/>
                    <a:pt x="1955" y="312"/>
                  </a:cubicBezTo>
                  <a:cubicBezTo>
                    <a:pt x="1955" y="316"/>
                    <a:pt x="1955" y="316"/>
                    <a:pt x="1955" y="316"/>
                  </a:cubicBezTo>
                  <a:cubicBezTo>
                    <a:pt x="1967" y="316"/>
                    <a:pt x="1967" y="316"/>
                    <a:pt x="1967" y="316"/>
                  </a:cubicBezTo>
                  <a:cubicBezTo>
                    <a:pt x="1967" y="312"/>
                    <a:pt x="1967" y="312"/>
                    <a:pt x="1967" y="312"/>
                  </a:cubicBezTo>
                  <a:moveTo>
                    <a:pt x="1987" y="312"/>
                  </a:moveTo>
                  <a:cubicBezTo>
                    <a:pt x="1975" y="312"/>
                    <a:pt x="1975" y="312"/>
                    <a:pt x="1975" y="312"/>
                  </a:cubicBezTo>
                  <a:cubicBezTo>
                    <a:pt x="1975" y="316"/>
                    <a:pt x="1975" y="316"/>
                    <a:pt x="1975" y="316"/>
                  </a:cubicBezTo>
                  <a:cubicBezTo>
                    <a:pt x="1987" y="316"/>
                    <a:pt x="1987" y="316"/>
                    <a:pt x="1987" y="316"/>
                  </a:cubicBezTo>
                  <a:cubicBezTo>
                    <a:pt x="1987" y="312"/>
                    <a:pt x="1987" y="312"/>
                    <a:pt x="1987" y="312"/>
                  </a:cubicBezTo>
                  <a:moveTo>
                    <a:pt x="2007" y="312"/>
                  </a:moveTo>
                  <a:cubicBezTo>
                    <a:pt x="1995" y="312"/>
                    <a:pt x="1995" y="312"/>
                    <a:pt x="1995" y="312"/>
                  </a:cubicBezTo>
                  <a:cubicBezTo>
                    <a:pt x="1995" y="316"/>
                    <a:pt x="1995" y="316"/>
                    <a:pt x="1995" y="316"/>
                  </a:cubicBezTo>
                  <a:cubicBezTo>
                    <a:pt x="2007" y="316"/>
                    <a:pt x="2007" y="316"/>
                    <a:pt x="2007" y="316"/>
                  </a:cubicBezTo>
                  <a:cubicBezTo>
                    <a:pt x="2007" y="312"/>
                    <a:pt x="2007" y="312"/>
                    <a:pt x="2007" y="312"/>
                  </a:cubicBezTo>
                  <a:moveTo>
                    <a:pt x="2027" y="312"/>
                  </a:moveTo>
                  <a:cubicBezTo>
                    <a:pt x="2015" y="312"/>
                    <a:pt x="2015" y="312"/>
                    <a:pt x="2015" y="312"/>
                  </a:cubicBezTo>
                  <a:cubicBezTo>
                    <a:pt x="2015" y="316"/>
                    <a:pt x="2015" y="316"/>
                    <a:pt x="2015" y="316"/>
                  </a:cubicBezTo>
                  <a:cubicBezTo>
                    <a:pt x="2027" y="316"/>
                    <a:pt x="2027" y="316"/>
                    <a:pt x="2027" y="316"/>
                  </a:cubicBezTo>
                  <a:cubicBezTo>
                    <a:pt x="2027" y="312"/>
                    <a:pt x="2027" y="312"/>
                    <a:pt x="2027" y="312"/>
                  </a:cubicBezTo>
                  <a:moveTo>
                    <a:pt x="2047" y="312"/>
                  </a:moveTo>
                  <a:cubicBezTo>
                    <a:pt x="2035" y="312"/>
                    <a:pt x="2035" y="312"/>
                    <a:pt x="2035" y="312"/>
                  </a:cubicBezTo>
                  <a:cubicBezTo>
                    <a:pt x="2035" y="316"/>
                    <a:pt x="2035" y="316"/>
                    <a:pt x="2035" y="316"/>
                  </a:cubicBezTo>
                  <a:cubicBezTo>
                    <a:pt x="2047" y="316"/>
                    <a:pt x="2047" y="316"/>
                    <a:pt x="2047" y="316"/>
                  </a:cubicBezTo>
                  <a:cubicBezTo>
                    <a:pt x="2047" y="312"/>
                    <a:pt x="2047" y="312"/>
                    <a:pt x="2047" y="312"/>
                  </a:cubicBezTo>
                  <a:moveTo>
                    <a:pt x="2067" y="312"/>
                  </a:moveTo>
                  <a:cubicBezTo>
                    <a:pt x="2055" y="312"/>
                    <a:pt x="2055" y="312"/>
                    <a:pt x="2055" y="312"/>
                  </a:cubicBezTo>
                  <a:cubicBezTo>
                    <a:pt x="2055" y="316"/>
                    <a:pt x="2055" y="316"/>
                    <a:pt x="2055" y="316"/>
                  </a:cubicBezTo>
                  <a:cubicBezTo>
                    <a:pt x="2067" y="316"/>
                    <a:pt x="2067" y="316"/>
                    <a:pt x="2067" y="316"/>
                  </a:cubicBezTo>
                  <a:cubicBezTo>
                    <a:pt x="2067" y="312"/>
                    <a:pt x="2067" y="312"/>
                    <a:pt x="2067" y="312"/>
                  </a:cubicBezTo>
                  <a:moveTo>
                    <a:pt x="2087" y="312"/>
                  </a:moveTo>
                  <a:cubicBezTo>
                    <a:pt x="2075" y="312"/>
                    <a:pt x="2075" y="312"/>
                    <a:pt x="2075" y="312"/>
                  </a:cubicBezTo>
                  <a:cubicBezTo>
                    <a:pt x="2075" y="316"/>
                    <a:pt x="2075" y="316"/>
                    <a:pt x="2075" y="316"/>
                  </a:cubicBezTo>
                  <a:cubicBezTo>
                    <a:pt x="2087" y="316"/>
                    <a:pt x="2087" y="316"/>
                    <a:pt x="2087" y="316"/>
                  </a:cubicBezTo>
                  <a:cubicBezTo>
                    <a:pt x="2087" y="312"/>
                    <a:pt x="2087" y="312"/>
                    <a:pt x="2087" y="312"/>
                  </a:cubicBezTo>
                  <a:moveTo>
                    <a:pt x="2107" y="312"/>
                  </a:moveTo>
                  <a:cubicBezTo>
                    <a:pt x="2095" y="312"/>
                    <a:pt x="2095" y="312"/>
                    <a:pt x="2095" y="312"/>
                  </a:cubicBezTo>
                  <a:cubicBezTo>
                    <a:pt x="2095" y="316"/>
                    <a:pt x="2095" y="316"/>
                    <a:pt x="2095" y="316"/>
                  </a:cubicBezTo>
                  <a:cubicBezTo>
                    <a:pt x="2107" y="316"/>
                    <a:pt x="2107" y="316"/>
                    <a:pt x="2107" y="316"/>
                  </a:cubicBezTo>
                  <a:cubicBezTo>
                    <a:pt x="2107" y="312"/>
                    <a:pt x="2107" y="312"/>
                    <a:pt x="2107" y="312"/>
                  </a:cubicBezTo>
                  <a:moveTo>
                    <a:pt x="2127" y="312"/>
                  </a:moveTo>
                  <a:cubicBezTo>
                    <a:pt x="2115" y="312"/>
                    <a:pt x="2115" y="312"/>
                    <a:pt x="2115" y="312"/>
                  </a:cubicBezTo>
                  <a:cubicBezTo>
                    <a:pt x="2115" y="316"/>
                    <a:pt x="2115" y="316"/>
                    <a:pt x="2115" y="316"/>
                  </a:cubicBezTo>
                  <a:cubicBezTo>
                    <a:pt x="2127" y="316"/>
                    <a:pt x="2127" y="316"/>
                    <a:pt x="2127" y="316"/>
                  </a:cubicBezTo>
                  <a:cubicBezTo>
                    <a:pt x="2127" y="312"/>
                    <a:pt x="2127" y="312"/>
                    <a:pt x="2127" y="312"/>
                  </a:cubicBezTo>
                  <a:moveTo>
                    <a:pt x="2147" y="312"/>
                  </a:moveTo>
                  <a:cubicBezTo>
                    <a:pt x="2135" y="312"/>
                    <a:pt x="2135" y="312"/>
                    <a:pt x="2135" y="312"/>
                  </a:cubicBezTo>
                  <a:cubicBezTo>
                    <a:pt x="2135" y="316"/>
                    <a:pt x="2135" y="316"/>
                    <a:pt x="2135" y="316"/>
                  </a:cubicBezTo>
                  <a:cubicBezTo>
                    <a:pt x="2147" y="316"/>
                    <a:pt x="2147" y="316"/>
                    <a:pt x="2147" y="316"/>
                  </a:cubicBezTo>
                  <a:cubicBezTo>
                    <a:pt x="2147" y="312"/>
                    <a:pt x="2147" y="312"/>
                    <a:pt x="2147" y="312"/>
                  </a:cubicBezTo>
                  <a:moveTo>
                    <a:pt x="2167" y="312"/>
                  </a:moveTo>
                  <a:cubicBezTo>
                    <a:pt x="2155" y="312"/>
                    <a:pt x="2155" y="312"/>
                    <a:pt x="2155" y="312"/>
                  </a:cubicBezTo>
                  <a:cubicBezTo>
                    <a:pt x="2155" y="316"/>
                    <a:pt x="2155" y="316"/>
                    <a:pt x="2155" y="316"/>
                  </a:cubicBezTo>
                  <a:cubicBezTo>
                    <a:pt x="2167" y="316"/>
                    <a:pt x="2167" y="316"/>
                    <a:pt x="2167" y="316"/>
                  </a:cubicBezTo>
                  <a:cubicBezTo>
                    <a:pt x="2167" y="312"/>
                    <a:pt x="2167" y="312"/>
                    <a:pt x="2167" y="312"/>
                  </a:cubicBezTo>
                  <a:moveTo>
                    <a:pt x="2187" y="312"/>
                  </a:moveTo>
                  <a:cubicBezTo>
                    <a:pt x="2175" y="312"/>
                    <a:pt x="2175" y="312"/>
                    <a:pt x="2175" y="312"/>
                  </a:cubicBezTo>
                  <a:cubicBezTo>
                    <a:pt x="2175" y="316"/>
                    <a:pt x="2175" y="316"/>
                    <a:pt x="2175" y="316"/>
                  </a:cubicBezTo>
                  <a:cubicBezTo>
                    <a:pt x="2187" y="316"/>
                    <a:pt x="2187" y="316"/>
                    <a:pt x="2187" y="316"/>
                  </a:cubicBezTo>
                  <a:cubicBezTo>
                    <a:pt x="2187" y="312"/>
                    <a:pt x="2187" y="312"/>
                    <a:pt x="2187" y="312"/>
                  </a:cubicBezTo>
                  <a:moveTo>
                    <a:pt x="2207" y="312"/>
                  </a:moveTo>
                  <a:cubicBezTo>
                    <a:pt x="2195" y="312"/>
                    <a:pt x="2195" y="312"/>
                    <a:pt x="2195" y="312"/>
                  </a:cubicBezTo>
                  <a:cubicBezTo>
                    <a:pt x="2195" y="316"/>
                    <a:pt x="2195" y="316"/>
                    <a:pt x="2195" y="316"/>
                  </a:cubicBezTo>
                  <a:cubicBezTo>
                    <a:pt x="2207" y="316"/>
                    <a:pt x="2207" y="316"/>
                    <a:pt x="2207" y="316"/>
                  </a:cubicBezTo>
                  <a:cubicBezTo>
                    <a:pt x="2207" y="312"/>
                    <a:pt x="2207" y="312"/>
                    <a:pt x="2207" y="312"/>
                  </a:cubicBezTo>
                  <a:moveTo>
                    <a:pt x="2227" y="312"/>
                  </a:moveTo>
                  <a:cubicBezTo>
                    <a:pt x="2215" y="312"/>
                    <a:pt x="2215" y="312"/>
                    <a:pt x="2215" y="312"/>
                  </a:cubicBezTo>
                  <a:cubicBezTo>
                    <a:pt x="2215" y="316"/>
                    <a:pt x="2215" y="316"/>
                    <a:pt x="2215" y="316"/>
                  </a:cubicBezTo>
                  <a:cubicBezTo>
                    <a:pt x="2227" y="316"/>
                    <a:pt x="2227" y="316"/>
                    <a:pt x="2227" y="316"/>
                  </a:cubicBezTo>
                  <a:cubicBezTo>
                    <a:pt x="2227" y="312"/>
                    <a:pt x="2227" y="312"/>
                    <a:pt x="2227" y="312"/>
                  </a:cubicBezTo>
                  <a:moveTo>
                    <a:pt x="2247" y="312"/>
                  </a:moveTo>
                  <a:cubicBezTo>
                    <a:pt x="2235" y="312"/>
                    <a:pt x="2235" y="312"/>
                    <a:pt x="2235" y="312"/>
                  </a:cubicBezTo>
                  <a:cubicBezTo>
                    <a:pt x="2235" y="316"/>
                    <a:pt x="2235" y="316"/>
                    <a:pt x="2235" y="316"/>
                  </a:cubicBezTo>
                  <a:cubicBezTo>
                    <a:pt x="2247" y="316"/>
                    <a:pt x="2247" y="316"/>
                    <a:pt x="2247" y="316"/>
                  </a:cubicBezTo>
                  <a:cubicBezTo>
                    <a:pt x="2247" y="312"/>
                    <a:pt x="2247" y="312"/>
                    <a:pt x="2247" y="312"/>
                  </a:cubicBezTo>
                  <a:moveTo>
                    <a:pt x="2267" y="312"/>
                  </a:moveTo>
                  <a:cubicBezTo>
                    <a:pt x="2255" y="312"/>
                    <a:pt x="2255" y="312"/>
                    <a:pt x="2255" y="312"/>
                  </a:cubicBezTo>
                  <a:cubicBezTo>
                    <a:pt x="2255" y="316"/>
                    <a:pt x="2255" y="316"/>
                    <a:pt x="2255" y="316"/>
                  </a:cubicBezTo>
                  <a:cubicBezTo>
                    <a:pt x="2267" y="316"/>
                    <a:pt x="2267" y="316"/>
                    <a:pt x="2267" y="316"/>
                  </a:cubicBezTo>
                  <a:cubicBezTo>
                    <a:pt x="2267" y="312"/>
                    <a:pt x="2267" y="312"/>
                    <a:pt x="2267" y="312"/>
                  </a:cubicBezTo>
                  <a:moveTo>
                    <a:pt x="2287" y="312"/>
                  </a:moveTo>
                  <a:cubicBezTo>
                    <a:pt x="2275" y="312"/>
                    <a:pt x="2275" y="312"/>
                    <a:pt x="2275" y="312"/>
                  </a:cubicBezTo>
                  <a:cubicBezTo>
                    <a:pt x="2275" y="316"/>
                    <a:pt x="2275" y="316"/>
                    <a:pt x="2275" y="316"/>
                  </a:cubicBezTo>
                  <a:cubicBezTo>
                    <a:pt x="2287" y="316"/>
                    <a:pt x="2287" y="316"/>
                    <a:pt x="2287" y="316"/>
                  </a:cubicBezTo>
                  <a:cubicBezTo>
                    <a:pt x="2287" y="312"/>
                    <a:pt x="2287" y="312"/>
                    <a:pt x="2287" y="312"/>
                  </a:cubicBezTo>
                  <a:moveTo>
                    <a:pt x="2307" y="313"/>
                  </a:moveTo>
                  <a:cubicBezTo>
                    <a:pt x="2304" y="312"/>
                    <a:pt x="2300" y="312"/>
                    <a:pt x="2296" y="312"/>
                  </a:cubicBezTo>
                  <a:cubicBezTo>
                    <a:pt x="2295" y="312"/>
                    <a:pt x="2295" y="312"/>
                    <a:pt x="2295" y="312"/>
                  </a:cubicBezTo>
                  <a:cubicBezTo>
                    <a:pt x="2295" y="316"/>
                    <a:pt x="2295" y="316"/>
                    <a:pt x="2295" y="316"/>
                  </a:cubicBezTo>
                  <a:cubicBezTo>
                    <a:pt x="2296" y="316"/>
                    <a:pt x="2296" y="316"/>
                    <a:pt x="2296" y="316"/>
                  </a:cubicBezTo>
                  <a:cubicBezTo>
                    <a:pt x="2300" y="316"/>
                    <a:pt x="2303" y="316"/>
                    <a:pt x="2307" y="317"/>
                  </a:cubicBezTo>
                  <a:cubicBezTo>
                    <a:pt x="2307" y="313"/>
                    <a:pt x="2307" y="313"/>
                    <a:pt x="2307" y="313"/>
                  </a:cubicBezTo>
                  <a:cubicBezTo>
                    <a:pt x="2307" y="313"/>
                    <a:pt x="2307" y="313"/>
                    <a:pt x="2307" y="313"/>
                  </a:cubicBezTo>
                  <a:moveTo>
                    <a:pt x="2327" y="316"/>
                  </a:moveTo>
                  <a:cubicBezTo>
                    <a:pt x="2323" y="315"/>
                    <a:pt x="2319" y="314"/>
                    <a:pt x="2315" y="313"/>
                  </a:cubicBezTo>
                  <a:cubicBezTo>
                    <a:pt x="2315" y="317"/>
                    <a:pt x="2315" y="317"/>
                    <a:pt x="2315" y="317"/>
                  </a:cubicBezTo>
                  <a:cubicBezTo>
                    <a:pt x="2318" y="318"/>
                    <a:pt x="2322" y="319"/>
                    <a:pt x="2326" y="320"/>
                  </a:cubicBezTo>
                  <a:cubicBezTo>
                    <a:pt x="2327" y="316"/>
                    <a:pt x="2327" y="316"/>
                    <a:pt x="2327" y="316"/>
                  </a:cubicBezTo>
                  <a:moveTo>
                    <a:pt x="2346" y="322"/>
                  </a:moveTo>
                  <a:cubicBezTo>
                    <a:pt x="2343" y="320"/>
                    <a:pt x="2339" y="319"/>
                    <a:pt x="2335" y="318"/>
                  </a:cubicBezTo>
                  <a:cubicBezTo>
                    <a:pt x="2334" y="322"/>
                    <a:pt x="2334" y="322"/>
                    <a:pt x="2334" y="322"/>
                  </a:cubicBezTo>
                  <a:cubicBezTo>
                    <a:pt x="2337" y="323"/>
                    <a:pt x="2341" y="324"/>
                    <a:pt x="2345" y="326"/>
                  </a:cubicBezTo>
                  <a:cubicBezTo>
                    <a:pt x="2346" y="322"/>
                    <a:pt x="2346" y="322"/>
                    <a:pt x="2346" y="322"/>
                  </a:cubicBezTo>
                  <a:moveTo>
                    <a:pt x="2364" y="331"/>
                  </a:moveTo>
                  <a:cubicBezTo>
                    <a:pt x="2361" y="329"/>
                    <a:pt x="2357" y="327"/>
                    <a:pt x="2354" y="325"/>
                  </a:cubicBezTo>
                  <a:cubicBezTo>
                    <a:pt x="2352" y="329"/>
                    <a:pt x="2352" y="329"/>
                    <a:pt x="2352" y="329"/>
                  </a:cubicBezTo>
                  <a:cubicBezTo>
                    <a:pt x="2355" y="331"/>
                    <a:pt x="2359" y="333"/>
                    <a:pt x="2362" y="335"/>
                  </a:cubicBezTo>
                  <a:cubicBezTo>
                    <a:pt x="2364" y="331"/>
                    <a:pt x="2364" y="331"/>
                    <a:pt x="2364" y="331"/>
                  </a:cubicBezTo>
                  <a:moveTo>
                    <a:pt x="2381" y="343"/>
                  </a:moveTo>
                  <a:cubicBezTo>
                    <a:pt x="2378" y="341"/>
                    <a:pt x="2374" y="338"/>
                    <a:pt x="2371" y="336"/>
                  </a:cubicBezTo>
                  <a:cubicBezTo>
                    <a:pt x="2369" y="339"/>
                    <a:pt x="2369" y="339"/>
                    <a:pt x="2369" y="339"/>
                  </a:cubicBezTo>
                  <a:cubicBezTo>
                    <a:pt x="2372" y="341"/>
                    <a:pt x="2375" y="344"/>
                    <a:pt x="2378" y="346"/>
                  </a:cubicBezTo>
                  <a:cubicBezTo>
                    <a:pt x="2381" y="343"/>
                    <a:pt x="2381" y="343"/>
                    <a:pt x="2381" y="343"/>
                  </a:cubicBezTo>
                  <a:moveTo>
                    <a:pt x="2395" y="357"/>
                  </a:moveTo>
                  <a:cubicBezTo>
                    <a:pt x="2393" y="354"/>
                    <a:pt x="2390" y="351"/>
                    <a:pt x="2387" y="349"/>
                  </a:cubicBezTo>
                  <a:cubicBezTo>
                    <a:pt x="2384" y="352"/>
                    <a:pt x="2384" y="352"/>
                    <a:pt x="2384" y="352"/>
                  </a:cubicBezTo>
                  <a:cubicBezTo>
                    <a:pt x="2387" y="354"/>
                    <a:pt x="2390" y="357"/>
                    <a:pt x="2392" y="360"/>
                  </a:cubicBezTo>
                  <a:cubicBezTo>
                    <a:pt x="2395" y="357"/>
                    <a:pt x="2395" y="357"/>
                    <a:pt x="2395" y="357"/>
                  </a:cubicBezTo>
                  <a:moveTo>
                    <a:pt x="2407" y="374"/>
                  </a:moveTo>
                  <a:cubicBezTo>
                    <a:pt x="2405" y="370"/>
                    <a:pt x="2403" y="367"/>
                    <a:pt x="2400" y="364"/>
                  </a:cubicBezTo>
                  <a:cubicBezTo>
                    <a:pt x="2397" y="366"/>
                    <a:pt x="2397" y="366"/>
                    <a:pt x="2397" y="366"/>
                  </a:cubicBezTo>
                  <a:cubicBezTo>
                    <a:pt x="2399" y="369"/>
                    <a:pt x="2402" y="373"/>
                    <a:pt x="2404" y="376"/>
                  </a:cubicBezTo>
                  <a:cubicBezTo>
                    <a:pt x="2407" y="374"/>
                    <a:pt x="2407" y="374"/>
                    <a:pt x="2407" y="374"/>
                  </a:cubicBezTo>
                  <a:moveTo>
                    <a:pt x="2416" y="392"/>
                  </a:moveTo>
                  <a:cubicBezTo>
                    <a:pt x="2415" y="388"/>
                    <a:pt x="2413" y="384"/>
                    <a:pt x="2411" y="381"/>
                  </a:cubicBezTo>
                  <a:cubicBezTo>
                    <a:pt x="2408" y="383"/>
                    <a:pt x="2408" y="383"/>
                    <a:pt x="2408" y="383"/>
                  </a:cubicBezTo>
                  <a:cubicBezTo>
                    <a:pt x="2410" y="386"/>
                    <a:pt x="2411" y="390"/>
                    <a:pt x="2413" y="393"/>
                  </a:cubicBezTo>
                  <a:cubicBezTo>
                    <a:pt x="2416" y="392"/>
                    <a:pt x="2416" y="392"/>
                    <a:pt x="2416" y="392"/>
                  </a:cubicBezTo>
                  <a:moveTo>
                    <a:pt x="2423" y="411"/>
                  </a:moveTo>
                  <a:cubicBezTo>
                    <a:pt x="2422" y="407"/>
                    <a:pt x="2421" y="403"/>
                    <a:pt x="2419" y="399"/>
                  </a:cubicBezTo>
                  <a:cubicBezTo>
                    <a:pt x="2416" y="401"/>
                    <a:pt x="2416" y="401"/>
                    <a:pt x="2416" y="401"/>
                  </a:cubicBezTo>
                  <a:cubicBezTo>
                    <a:pt x="2417" y="405"/>
                    <a:pt x="2418" y="408"/>
                    <a:pt x="2419" y="412"/>
                  </a:cubicBezTo>
                  <a:cubicBezTo>
                    <a:pt x="2423" y="411"/>
                    <a:pt x="2423" y="411"/>
                    <a:pt x="2423" y="411"/>
                  </a:cubicBezTo>
                  <a:cubicBezTo>
                    <a:pt x="2423" y="411"/>
                    <a:pt x="2423" y="411"/>
                    <a:pt x="2423" y="411"/>
                  </a:cubicBezTo>
                  <a:moveTo>
                    <a:pt x="2426" y="431"/>
                  </a:moveTo>
                  <a:cubicBezTo>
                    <a:pt x="2426" y="427"/>
                    <a:pt x="2425" y="423"/>
                    <a:pt x="2425" y="419"/>
                  </a:cubicBezTo>
                  <a:cubicBezTo>
                    <a:pt x="2421" y="420"/>
                    <a:pt x="2421" y="420"/>
                    <a:pt x="2421" y="420"/>
                  </a:cubicBezTo>
                  <a:cubicBezTo>
                    <a:pt x="2421" y="424"/>
                    <a:pt x="2422" y="428"/>
                    <a:pt x="2422" y="432"/>
                  </a:cubicBezTo>
                  <a:cubicBezTo>
                    <a:pt x="2426" y="431"/>
                    <a:pt x="2426" y="431"/>
                    <a:pt x="2426" y="431"/>
                  </a:cubicBezTo>
                  <a:moveTo>
                    <a:pt x="2426" y="451"/>
                  </a:moveTo>
                  <a:cubicBezTo>
                    <a:pt x="2426" y="448"/>
                    <a:pt x="2427" y="445"/>
                    <a:pt x="2427" y="442"/>
                  </a:cubicBezTo>
                  <a:cubicBezTo>
                    <a:pt x="2427" y="441"/>
                    <a:pt x="2427" y="440"/>
                    <a:pt x="2427" y="439"/>
                  </a:cubicBezTo>
                  <a:cubicBezTo>
                    <a:pt x="2423" y="439"/>
                    <a:pt x="2423" y="439"/>
                    <a:pt x="2423" y="439"/>
                  </a:cubicBezTo>
                  <a:cubicBezTo>
                    <a:pt x="2423" y="440"/>
                    <a:pt x="2423" y="441"/>
                    <a:pt x="2423" y="442"/>
                  </a:cubicBezTo>
                  <a:cubicBezTo>
                    <a:pt x="2423" y="445"/>
                    <a:pt x="2422" y="448"/>
                    <a:pt x="2422" y="451"/>
                  </a:cubicBezTo>
                  <a:cubicBezTo>
                    <a:pt x="2426" y="451"/>
                    <a:pt x="2426" y="451"/>
                    <a:pt x="2426" y="451"/>
                  </a:cubicBezTo>
                  <a:moveTo>
                    <a:pt x="2423" y="472"/>
                  </a:moveTo>
                  <a:cubicBezTo>
                    <a:pt x="2424" y="468"/>
                    <a:pt x="2425" y="464"/>
                    <a:pt x="2425" y="460"/>
                  </a:cubicBezTo>
                  <a:cubicBezTo>
                    <a:pt x="2421" y="459"/>
                    <a:pt x="2421" y="459"/>
                    <a:pt x="2421" y="459"/>
                  </a:cubicBezTo>
                  <a:cubicBezTo>
                    <a:pt x="2421" y="463"/>
                    <a:pt x="2420" y="467"/>
                    <a:pt x="2419" y="471"/>
                  </a:cubicBezTo>
                  <a:cubicBezTo>
                    <a:pt x="2423" y="472"/>
                    <a:pt x="2423" y="472"/>
                    <a:pt x="2423" y="472"/>
                  </a:cubicBezTo>
                  <a:cubicBezTo>
                    <a:pt x="2423" y="472"/>
                    <a:pt x="2423" y="472"/>
                    <a:pt x="2423" y="472"/>
                  </a:cubicBezTo>
                  <a:moveTo>
                    <a:pt x="2417" y="491"/>
                  </a:moveTo>
                  <a:cubicBezTo>
                    <a:pt x="2419" y="487"/>
                    <a:pt x="2420" y="483"/>
                    <a:pt x="2421" y="479"/>
                  </a:cubicBezTo>
                  <a:cubicBezTo>
                    <a:pt x="2417" y="478"/>
                    <a:pt x="2417" y="478"/>
                    <a:pt x="2417" y="478"/>
                  </a:cubicBezTo>
                  <a:cubicBezTo>
                    <a:pt x="2416" y="482"/>
                    <a:pt x="2415" y="486"/>
                    <a:pt x="2413" y="489"/>
                  </a:cubicBezTo>
                  <a:cubicBezTo>
                    <a:pt x="2417" y="491"/>
                    <a:pt x="2417" y="491"/>
                    <a:pt x="2417" y="491"/>
                  </a:cubicBezTo>
                  <a:moveTo>
                    <a:pt x="2408" y="509"/>
                  </a:moveTo>
                  <a:cubicBezTo>
                    <a:pt x="2410" y="506"/>
                    <a:pt x="2412" y="502"/>
                    <a:pt x="2414" y="498"/>
                  </a:cubicBezTo>
                  <a:cubicBezTo>
                    <a:pt x="2410" y="497"/>
                    <a:pt x="2410" y="497"/>
                    <a:pt x="2410" y="497"/>
                  </a:cubicBezTo>
                  <a:cubicBezTo>
                    <a:pt x="2409" y="500"/>
                    <a:pt x="2407" y="504"/>
                    <a:pt x="2405" y="507"/>
                  </a:cubicBezTo>
                  <a:cubicBezTo>
                    <a:pt x="2408" y="509"/>
                    <a:pt x="2408" y="509"/>
                    <a:pt x="2408" y="509"/>
                  </a:cubicBezTo>
                  <a:moveTo>
                    <a:pt x="2396" y="526"/>
                  </a:moveTo>
                  <a:cubicBezTo>
                    <a:pt x="2399" y="522"/>
                    <a:pt x="2401" y="519"/>
                    <a:pt x="2404" y="516"/>
                  </a:cubicBezTo>
                  <a:cubicBezTo>
                    <a:pt x="2400" y="514"/>
                    <a:pt x="2400" y="514"/>
                    <a:pt x="2400" y="514"/>
                  </a:cubicBezTo>
                  <a:cubicBezTo>
                    <a:pt x="2398" y="517"/>
                    <a:pt x="2396" y="520"/>
                    <a:pt x="2393" y="523"/>
                  </a:cubicBezTo>
                  <a:cubicBezTo>
                    <a:pt x="2396" y="526"/>
                    <a:pt x="2396" y="526"/>
                    <a:pt x="2396" y="526"/>
                  </a:cubicBezTo>
                  <a:moveTo>
                    <a:pt x="2382" y="540"/>
                  </a:moveTo>
                  <a:cubicBezTo>
                    <a:pt x="2385" y="537"/>
                    <a:pt x="2388" y="535"/>
                    <a:pt x="2391" y="532"/>
                  </a:cubicBezTo>
                  <a:cubicBezTo>
                    <a:pt x="2388" y="529"/>
                    <a:pt x="2388" y="529"/>
                    <a:pt x="2388" y="529"/>
                  </a:cubicBezTo>
                  <a:cubicBezTo>
                    <a:pt x="2385" y="532"/>
                    <a:pt x="2383" y="534"/>
                    <a:pt x="2380" y="537"/>
                  </a:cubicBezTo>
                  <a:cubicBezTo>
                    <a:pt x="2382" y="540"/>
                    <a:pt x="2382" y="540"/>
                    <a:pt x="2382" y="540"/>
                  </a:cubicBezTo>
                  <a:moveTo>
                    <a:pt x="2366" y="552"/>
                  </a:moveTo>
                  <a:cubicBezTo>
                    <a:pt x="2369" y="550"/>
                    <a:pt x="2373" y="548"/>
                    <a:pt x="2376" y="545"/>
                  </a:cubicBezTo>
                  <a:cubicBezTo>
                    <a:pt x="2374" y="542"/>
                    <a:pt x="2374" y="542"/>
                    <a:pt x="2374" y="542"/>
                  </a:cubicBezTo>
                  <a:cubicBezTo>
                    <a:pt x="2370" y="545"/>
                    <a:pt x="2367" y="547"/>
                    <a:pt x="2364" y="549"/>
                  </a:cubicBezTo>
                  <a:cubicBezTo>
                    <a:pt x="2366" y="552"/>
                    <a:pt x="2366" y="552"/>
                    <a:pt x="2366" y="552"/>
                  </a:cubicBezTo>
                  <a:moveTo>
                    <a:pt x="2348" y="562"/>
                  </a:moveTo>
                  <a:cubicBezTo>
                    <a:pt x="2352" y="560"/>
                    <a:pt x="2355" y="558"/>
                    <a:pt x="2359" y="556"/>
                  </a:cubicBezTo>
                  <a:cubicBezTo>
                    <a:pt x="2357" y="553"/>
                    <a:pt x="2357" y="553"/>
                    <a:pt x="2357" y="553"/>
                  </a:cubicBezTo>
                  <a:cubicBezTo>
                    <a:pt x="2354" y="555"/>
                    <a:pt x="2350" y="557"/>
                    <a:pt x="2346" y="558"/>
                  </a:cubicBezTo>
                  <a:cubicBezTo>
                    <a:pt x="2348" y="562"/>
                    <a:pt x="2348" y="562"/>
                    <a:pt x="2348" y="562"/>
                  </a:cubicBezTo>
                  <a:cubicBezTo>
                    <a:pt x="2348" y="562"/>
                    <a:pt x="2348" y="562"/>
                    <a:pt x="2348" y="562"/>
                  </a:cubicBezTo>
                  <a:moveTo>
                    <a:pt x="2329" y="568"/>
                  </a:moveTo>
                  <a:cubicBezTo>
                    <a:pt x="2333" y="567"/>
                    <a:pt x="2337" y="566"/>
                    <a:pt x="2340" y="565"/>
                  </a:cubicBezTo>
                  <a:cubicBezTo>
                    <a:pt x="2339" y="561"/>
                    <a:pt x="2339" y="561"/>
                    <a:pt x="2339" y="561"/>
                  </a:cubicBezTo>
                  <a:cubicBezTo>
                    <a:pt x="2335" y="562"/>
                    <a:pt x="2332" y="563"/>
                    <a:pt x="2328" y="564"/>
                  </a:cubicBezTo>
                  <a:cubicBezTo>
                    <a:pt x="2329" y="568"/>
                    <a:pt x="2329" y="568"/>
                    <a:pt x="2329" y="568"/>
                  </a:cubicBezTo>
                  <a:moveTo>
                    <a:pt x="2309" y="572"/>
                  </a:moveTo>
                  <a:cubicBezTo>
                    <a:pt x="2313" y="571"/>
                    <a:pt x="2317" y="571"/>
                    <a:pt x="2321" y="570"/>
                  </a:cubicBezTo>
                  <a:cubicBezTo>
                    <a:pt x="2320" y="566"/>
                    <a:pt x="2320" y="566"/>
                    <a:pt x="2320" y="566"/>
                  </a:cubicBezTo>
                  <a:cubicBezTo>
                    <a:pt x="2316" y="567"/>
                    <a:pt x="2312" y="567"/>
                    <a:pt x="2308" y="568"/>
                  </a:cubicBezTo>
                  <a:cubicBezTo>
                    <a:pt x="2309" y="572"/>
                    <a:pt x="2309" y="572"/>
                    <a:pt x="2309" y="572"/>
                  </a:cubicBezTo>
                  <a:cubicBezTo>
                    <a:pt x="2309" y="572"/>
                    <a:pt x="2309" y="572"/>
                    <a:pt x="2309" y="572"/>
                  </a:cubicBezTo>
                  <a:moveTo>
                    <a:pt x="2289" y="572"/>
                  </a:moveTo>
                  <a:cubicBezTo>
                    <a:pt x="2296" y="572"/>
                    <a:pt x="2296" y="572"/>
                    <a:pt x="2296" y="572"/>
                  </a:cubicBezTo>
                  <a:cubicBezTo>
                    <a:pt x="2298" y="572"/>
                    <a:pt x="2299" y="572"/>
                    <a:pt x="2301" y="572"/>
                  </a:cubicBezTo>
                  <a:cubicBezTo>
                    <a:pt x="2301" y="568"/>
                    <a:pt x="2301" y="568"/>
                    <a:pt x="2301" y="568"/>
                  </a:cubicBezTo>
                  <a:cubicBezTo>
                    <a:pt x="2299" y="568"/>
                    <a:pt x="2298" y="568"/>
                    <a:pt x="2296" y="568"/>
                  </a:cubicBezTo>
                  <a:cubicBezTo>
                    <a:pt x="2289" y="568"/>
                    <a:pt x="2289" y="568"/>
                    <a:pt x="2289" y="568"/>
                  </a:cubicBezTo>
                  <a:cubicBezTo>
                    <a:pt x="2289" y="572"/>
                    <a:pt x="2289" y="572"/>
                    <a:pt x="2289" y="572"/>
                  </a:cubicBezTo>
                  <a:moveTo>
                    <a:pt x="2269" y="572"/>
                  </a:moveTo>
                  <a:cubicBezTo>
                    <a:pt x="2281" y="572"/>
                    <a:pt x="2281" y="572"/>
                    <a:pt x="2281" y="572"/>
                  </a:cubicBezTo>
                  <a:cubicBezTo>
                    <a:pt x="2281" y="568"/>
                    <a:pt x="2281" y="568"/>
                    <a:pt x="2281" y="568"/>
                  </a:cubicBezTo>
                  <a:cubicBezTo>
                    <a:pt x="2269" y="568"/>
                    <a:pt x="2269" y="568"/>
                    <a:pt x="2269" y="568"/>
                  </a:cubicBezTo>
                  <a:cubicBezTo>
                    <a:pt x="2269" y="572"/>
                    <a:pt x="2269" y="572"/>
                    <a:pt x="2269" y="572"/>
                  </a:cubicBezTo>
                  <a:moveTo>
                    <a:pt x="2249" y="572"/>
                  </a:moveTo>
                  <a:cubicBezTo>
                    <a:pt x="2261" y="572"/>
                    <a:pt x="2261" y="572"/>
                    <a:pt x="2261" y="572"/>
                  </a:cubicBezTo>
                  <a:cubicBezTo>
                    <a:pt x="2261" y="568"/>
                    <a:pt x="2261" y="568"/>
                    <a:pt x="2261" y="568"/>
                  </a:cubicBezTo>
                  <a:cubicBezTo>
                    <a:pt x="2249" y="568"/>
                    <a:pt x="2249" y="568"/>
                    <a:pt x="2249" y="568"/>
                  </a:cubicBezTo>
                  <a:cubicBezTo>
                    <a:pt x="2249" y="572"/>
                    <a:pt x="2249" y="572"/>
                    <a:pt x="2249" y="572"/>
                  </a:cubicBezTo>
                  <a:moveTo>
                    <a:pt x="2229" y="572"/>
                  </a:moveTo>
                  <a:cubicBezTo>
                    <a:pt x="2241" y="572"/>
                    <a:pt x="2241" y="572"/>
                    <a:pt x="2241" y="572"/>
                  </a:cubicBezTo>
                  <a:cubicBezTo>
                    <a:pt x="2241" y="568"/>
                    <a:pt x="2241" y="568"/>
                    <a:pt x="2241" y="568"/>
                  </a:cubicBezTo>
                  <a:cubicBezTo>
                    <a:pt x="2229" y="568"/>
                    <a:pt x="2229" y="568"/>
                    <a:pt x="2229" y="568"/>
                  </a:cubicBezTo>
                  <a:cubicBezTo>
                    <a:pt x="2229" y="572"/>
                    <a:pt x="2229" y="572"/>
                    <a:pt x="2229" y="572"/>
                  </a:cubicBezTo>
                  <a:moveTo>
                    <a:pt x="2209" y="572"/>
                  </a:moveTo>
                  <a:cubicBezTo>
                    <a:pt x="2221" y="572"/>
                    <a:pt x="2221" y="572"/>
                    <a:pt x="2221" y="572"/>
                  </a:cubicBezTo>
                  <a:cubicBezTo>
                    <a:pt x="2221" y="568"/>
                    <a:pt x="2221" y="568"/>
                    <a:pt x="2221" y="568"/>
                  </a:cubicBezTo>
                  <a:cubicBezTo>
                    <a:pt x="2209" y="568"/>
                    <a:pt x="2209" y="568"/>
                    <a:pt x="2209" y="568"/>
                  </a:cubicBezTo>
                  <a:cubicBezTo>
                    <a:pt x="2209" y="572"/>
                    <a:pt x="2209" y="572"/>
                    <a:pt x="2209" y="572"/>
                  </a:cubicBezTo>
                  <a:moveTo>
                    <a:pt x="2189" y="572"/>
                  </a:moveTo>
                  <a:cubicBezTo>
                    <a:pt x="2201" y="572"/>
                    <a:pt x="2201" y="572"/>
                    <a:pt x="2201" y="572"/>
                  </a:cubicBezTo>
                  <a:cubicBezTo>
                    <a:pt x="2201" y="568"/>
                    <a:pt x="2201" y="568"/>
                    <a:pt x="2201" y="568"/>
                  </a:cubicBezTo>
                  <a:cubicBezTo>
                    <a:pt x="2189" y="568"/>
                    <a:pt x="2189" y="568"/>
                    <a:pt x="2189" y="568"/>
                  </a:cubicBezTo>
                  <a:cubicBezTo>
                    <a:pt x="2189" y="572"/>
                    <a:pt x="2189" y="572"/>
                    <a:pt x="2189" y="572"/>
                  </a:cubicBezTo>
                  <a:moveTo>
                    <a:pt x="2169" y="572"/>
                  </a:moveTo>
                  <a:cubicBezTo>
                    <a:pt x="2181" y="572"/>
                    <a:pt x="2181" y="572"/>
                    <a:pt x="2181" y="572"/>
                  </a:cubicBezTo>
                  <a:cubicBezTo>
                    <a:pt x="2181" y="568"/>
                    <a:pt x="2181" y="568"/>
                    <a:pt x="2181" y="568"/>
                  </a:cubicBezTo>
                  <a:cubicBezTo>
                    <a:pt x="2169" y="568"/>
                    <a:pt x="2169" y="568"/>
                    <a:pt x="2169" y="568"/>
                  </a:cubicBezTo>
                  <a:cubicBezTo>
                    <a:pt x="2169" y="572"/>
                    <a:pt x="2169" y="572"/>
                    <a:pt x="2169" y="572"/>
                  </a:cubicBezTo>
                  <a:moveTo>
                    <a:pt x="2149" y="572"/>
                  </a:moveTo>
                  <a:cubicBezTo>
                    <a:pt x="2161" y="572"/>
                    <a:pt x="2161" y="572"/>
                    <a:pt x="2161" y="572"/>
                  </a:cubicBezTo>
                  <a:cubicBezTo>
                    <a:pt x="2161" y="568"/>
                    <a:pt x="2161" y="568"/>
                    <a:pt x="2161" y="568"/>
                  </a:cubicBezTo>
                  <a:cubicBezTo>
                    <a:pt x="2149" y="568"/>
                    <a:pt x="2149" y="568"/>
                    <a:pt x="2149" y="568"/>
                  </a:cubicBezTo>
                  <a:cubicBezTo>
                    <a:pt x="2149" y="572"/>
                    <a:pt x="2149" y="572"/>
                    <a:pt x="2149" y="572"/>
                  </a:cubicBezTo>
                  <a:moveTo>
                    <a:pt x="2129" y="572"/>
                  </a:moveTo>
                  <a:cubicBezTo>
                    <a:pt x="2141" y="572"/>
                    <a:pt x="2141" y="572"/>
                    <a:pt x="2141" y="572"/>
                  </a:cubicBezTo>
                  <a:cubicBezTo>
                    <a:pt x="2141" y="568"/>
                    <a:pt x="2141" y="568"/>
                    <a:pt x="2141" y="568"/>
                  </a:cubicBezTo>
                  <a:cubicBezTo>
                    <a:pt x="2129" y="568"/>
                    <a:pt x="2129" y="568"/>
                    <a:pt x="2129" y="568"/>
                  </a:cubicBezTo>
                  <a:cubicBezTo>
                    <a:pt x="2129" y="572"/>
                    <a:pt x="2129" y="572"/>
                    <a:pt x="2129" y="572"/>
                  </a:cubicBezTo>
                  <a:moveTo>
                    <a:pt x="2109" y="572"/>
                  </a:moveTo>
                  <a:cubicBezTo>
                    <a:pt x="2121" y="572"/>
                    <a:pt x="2121" y="572"/>
                    <a:pt x="2121" y="572"/>
                  </a:cubicBezTo>
                  <a:cubicBezTo>
                    <a:pt x="2121" y="568"/>
                    <a:pt x="2121" y="568"/>
                    <a:pt x="2121" y="568"/>
                  </a:cubicBezTo>
                  <a:cubicBezTo>
                    <a:pt x="2109" y="568"/>
                    <a:pt x="2109" y="568"/>
                    <a:pt x="2109" y="568"/>
                  </a:cubicBezTo>
                  <a:cubicBezTo>
                    <a:pt x="2109" y="572"/>
                    <a:pt x="2109" y="572"/>
                    <a:pt x="2109" y="572"/>
                  </a:cubicBezTo>
                  <a:moveTo>
                    <a:pt x="2089" y="572"/>
                  </a:moveTo>
                  <a:cubicBezTo>
                    <a:pt x="2101" y="572"/>
                    <a:pt x="2101" y="572"/>
                    <a:pt x="2101" y="572"/>
                  </a:cubicBezTo>
                  <a:cubicBezTo>
                    <a:pt x="2101" y="568"/>
                    <a:pt x="2101" y="568"/>
                    <a:pt x="2101" y="568"/>
                  </a:cubicBezTo>
                  <a:cubicBezTo>
                    <a:pt x="2089" y="568"/>
                    <a:pt x="2089" y="568"/>
                    <a:pt x="2089" y="568"/>
                  </a:cubicBezTo>
                  <a:cubicBezTo>
                    <a:pt x="2089" y="572"/>
                    <a:pt x="2089" y="572"/>
                    <a:pt x="2089" y="572"/>
                  </a:cubicBezTo>
                  <a:moveTo>
                    <a:pt x="2069" y="572"/>
                  </a:moveTo>
                  <a:cubicBezTo>
                    <a:pt x="2081" y="572"/>
                    <a:pt x="2081" y="572"/>
                    <a:pt x="2081" y="572"/>
                  </a:cubicBezTo>
                  <a:cubicBezTo>
                    <a:pt x="2081" y="568"/>
                    <a:pt x="2081" y="568"/>
                    <a:pt x="2081" y="568"/>
                  </a:cubicBezTo>
                  <a:cubicBezTo>
                    <a:pt x="2069" y="568"/>
                    <a:pt x="2069" y="568"/>
                    <a:pt x="2069" y="568"/>
                  </a:cubicBezTo>
                  <a:cubicBezTo>
                    <a:pt x="2069" y="572"/>
                    <a:pt x="2069" y="572"/>
                    <a:pt x="2069" y="572"/>
                  </a:cubicBezTo>
                  <a:moveTo>
                    <a:pt x="2049" y="572"/>
                  </a:moveTo>
                  <a:cubicBezTo>
                    <a:pt x="2061" y="572"/>
                    <a:pt x="2061" y="572"/>
                    <a:pt x="2061" y="572"/>
                  </a:cubicBezTo>
                  <a:cubicBezTo>
                    <a:pt x="2061" y="568"/>
                    <a:pt x="2061" y="568"/>
                    <a:pt x="2061" y="568"/>
                  </a:cubicBezTo>
                  <a:cubicBezTo>
                    <a:pt x="2049" y="568"/>
                    <a:pt x="2049" y="568"/>
                    <a:pt x="2049" y="568"/>
                  </a:cubicBezTo>
                  <a:cubicBezTo>
                    <a:pt x="2049" y="572"/>
                    <a:pt x="2049" y="572"/>
                    <a:pt x="2049" y="572"/>
                  </a:cubicBezTo>
                  <a:moveTo>
                    <a:pt x="2029" y="572"/>
                  </a:moveTo>
                  <a:cubicBezTo>
                    <a:pt x="2041" y="572"/>
                    <a:pt x="2041" y="572"/>
                    <a:pt x="2041" y="572"/>
                  </a:cubicBezTo>
                  <a:cubicBezTo>
                    <a:pt x="2041" y="568"/>
                    <a:pt x="2041" y="568"/>
                    <a:pt x="2041" y="568"/>
                  </a:cubicBezTo>
                  <a:cubicBezTo>
                    <a:pt x="2029" y="568"/>
                    <a:pt x="2029" y="568"/>
                    <a:pt x="2029" y="568"/>
                  </a:cubicBezTo>
                  <a:cubicBezTo>
                    <a:pt x="2029" y="572"/>
                    <a:pt x="2029" y="572"/>
                    <a:pt x="2029" y="572"/>
                  </a:cubicBezTo>
                  <a:moveTo>
                    <a:pt x="2009" y="572"/>
                  </a:moveTo>
                  <a:cubicBezTo>
                    <a:pt x="2021" y="572"/>
                    <a:pt x="2021" y="572"/>
                    <a:pt x="2021" y="572"/>
                  </a:cubicBezTo>
                  <a:cubicBezTo>
                    <a:pt x="2021" y="568"/>
                    <a:pt x="2021" y="568"/>
                    <a:pt x="2021" y="568"/>
                  </a:cubicBezTo>
                  <a:cubicBezTo>
                    <a:pt x="2009" y="568"/>
                    <a:pt x="2009" y="568"/>
                    <a:pt x="2009" y="568"/>
                  </a:cubicBezTo>
                  <a:cubicBezTo>
                    <a:pt x="2009" y="572"/>
                    <a:pt x="2009" y="572"/>
                    <a:pt x="2009" y="572"/>
                  </a:cubicBezTo>
                  <a:moveTo>
                    <a:pt x="1989" y="572"/>
                  </a:moveTo>
                  <a:cubicBezTo>
                    <a:pt x="2001" y="572"/>
                    <a:pt x="2001" y="572"/>
                    <a:pt x="2001" y="572"/>
                  </a:cubicBezTo>
                  <a:cubicBezTo>
                    <a:pt x="2001" y="568"/>
                    <a:pt x="2001" y="568"/>
                    <a:pt x="2001" y="568"/>
                  </a:cubicBezTo>
                  <a:cubicBezTo>
                    <a:pt x="1989" y="568"/>
                    <a:pt x="1989" y="568"/>
                    <a:pt x="1989" y="568"/>
                  </a:cubicBezTo>
                  <a:cubicBezTo>
                    <a:pt x="1989" y="572"/>
                    <a:pt x="1989" y="572"/>
                    <a:pt x="1989" y="572"/>
                  </a:cubicBezTo>
                  <a:moveTo>
                    <a:pt x="1969" y="572"/>
                  </a:moveTo>
                  <a:cubicBezTo>
                    <a:pt x="1981" y="572"/>
                    <a:pt x="1981" y="572"/>
                    <a:pt x="1981" y="572"/>
                  </a:cubicBezTo>
                  <a:cubicBezTo>
                    <a:pt x="1981" y="568"/>
                    <a:pt x="1981" y="568"/>
                    <a:pt x="1981" y="568"/>
                  </a:cubicBezTo>
                  <a:cubicBezTo>
                    <a:pt x="1969" y="568"/>
                    <a:pt x="1969" y="568"/>
                    <a:pt x="1969" y="568"/>
                  </a:cubicBezTo>
                  <a:cubicBezTo>
                    <a:pt x="1969" y="572"/>
                    <a:pt x="1969" y="572"/>
                    <a:pt x="1969" y="572"/>
                  </a:cubicBezTo>
                  <a:moveTo>
                    <a:pt x="1949" y="572"/>
                  </a:moveTo>
                  <a:cubicBezTo>
                    <a:pt x="1961" y="572"/>
                    <a:pt x="1961" y="572"/>
                    <a:pt x="1961" y="572"/>
                  </a:cubicBezTo>
                  <a:cubicBezTo>
                    <a:pt x="1961" y="568"/>
                    <a:pt x="1961" y="568"/>
                    <a:pt x="1961" y="568"/>
                  </a:cubicBezTo>
                  <a:cubicBezTo>
                    <a:pt x="1949" y="568"/>
                    <a:pt x="1949" y="568"/>
                    <a:pt x="1949" y="568"/>
                  </a:cubicBezTo>
                  <a:cubicBezTo>
                    <a:pt x="1949" y="572"/>
                    <a:pt x="1949" y="572"/>
                    <a:pt x="1949" y="572"/>
                  </a:cubicBezTo>
                  <a:moveTo>
                    <a:pt x="1929" y="572"/>
                  </a:moveTo>
                  <a:cubicBezTo>
                    <a:pt x="1941" y="572"/>
                    <a:pt x="1941" y="572"/>
                    <a:pt x="1941" y="572"/>
                  </a:cubicBezTo>
                  <a:cubicBezTo>
                    <a:pt x="1941" y="568"/>
                    <a:pt x="1941" y="568"/>
                    <a:pt x="1941" y="568"/>
                  </a:cubicBezTo>
                  <a:cubicBezTo>
                    <a:pt x="1929" y="568"/>
                    <a:pt x="1929" y="568"/>
                    <a:pt x="1929" y="568"/>
                  </a:cubicBezTo>
                  <a:cubicBezTo>
                    <a:pt x="1929" y="572"/>
                    <a:pt x="1929" y="572"/>
                    <a:pt x="1929" y="572"/>
                  </a:cubicBezTo>
                  <a:moveTo>
                    <a:pt x="1909" y="572"/>
                  </a:moveTo>
                  <a:cubicBezTo>
                    <a:pt x="1921" y="572"/>
                    <a:pt x="1921" y="572"/>
                    <a:pt x="1921" y="572"/>
                  </a:cubicBezTo>
                  <a:cubicBezTo>
                    <a:pt x="1921" y="568"/>
                    <a:pt x="1921" y="568"/>
                    <a:pt x="1921" y="568"/>
                  </a:cubicBezTo>
                  <a:cubicBezTo>
                    <a:pt x="1909" y="568"/>
                    <a:pt x="1909" y="568"/>
                    <a:pt x="1909" y="568"/>
                  </a:cubicBezTo>
                  <a:cubicBezTo>
                    <a:pt x="1909" y="572"/>
                    <a:pt x="1909" y="572"/>
                    <a:pt x="1909" y="572"/>
                  </a:cubicBezTo>
                  <a:moveTo>
                    <a:pt x="1889" y="572"/>
                  </a:moveTo>
                  <a:cubicBezTo>
                    <a:pt x="1901" y="572"/>
                    <a:pt x="1901" y="572"/>
                    <a:pt x="1901" y="572"/>
                  </a:cubicBezTo>
                  <a:cubicBezTo>
                    <a:pt x="1901" y="568"/>
                    <a:pt x="1901" y="568"/>
                    <a:pt x="1901" y="568"/>
                  </a:cubicBezTo>
                  <a:cubicBezTo>
                    <a:pt x="1889" y="568"/>
                    <a:pt x="1889" y="568"/>
                    <a:pt x="1889" y="568"/>
                  </a:cubicBezTo>
                  <a:cubicBezTo>
                    <a:pt x="1889" y="572"/>
                    <a:pt x="1889" y="572"/>
                    <a:pt x="1889" y="572"/>
                  </a:cubicBezTo>
                  <a:moveTo>
                    <a:pt x="1869" y="572"/>
                  </a:moveTo>
                  <a:cubicBezTo>
                    <a:pt x="1881" y="572"/>
                    <a:pt x="1881" y="572"/>
                    <a:pt x="1881" y="572"/>
                  </a:cubicBezTo>
                  <a:cubicBezTo>
                    <a:pt x="1881" y="568"/>
                    <a:pt x="1881" y="568"/>
                    <a:pt x="1881" y="568"/>
                  </a:cubicBezTo>
                  <a:cubicBezTo>
                    <a:pt x="1869" y="568"/>
                    <a:pt x="1869" y="568"/>
                    <a:pt x="1869" y="568"/>
                  </a:cubicBezTo>
                  <a:cubicBezTo>
                    <a:pt x="1869" y="572"/>
                    <a:pt x="1869" y="572"/>
                    <a:pt x="1869" y="572"/>
                  </a:cubicBezTo>
                  <a:moveTo>
                    <a:pt x="1849" y="572"/>
                  </a:moveTo>
                  <a:cubicBezTo>
                    <a:pt x="1861" y="572"/>
                    <a:pt x="1861" y="572"/>
                    <a:pt x="1861" y="572"/>
                  </a:cubicBezTo>
                  <a:cubicBezTo>
                    <a:pt x="1861" y="568"/>
                    <a:pt x="1861" y="568"/>
                    <a:pt x="1861" y="568"/>
                  </a:cubicBezTo>
                  <a:cubicBezTo>
                    <a:pt x="1849" y="568"/>
                    <a:pt x="1849" y="568"/>
                    <a:pt x="1849" y="568"/>
                  </a:cubicBezTo>
                  <a:cubicBezTo>
                    <a:pt x="1849" y="572"/>
                    <a:pt x="1849" y="572"/>
                    <a:pt x="1849" y="572"/>
                  </a:cubicBezTo>
                  <a:moveTo>
                    <a:pt x="1829" y="572"/>
                  </a:moveTo>
                  <a:cubicBezTo>
                    <a:pt x="1841" y="572"/>
                    <a:pt x="1841" y="572"/>
                    <a:pt x="1841" y="572"/>
                  </a:cubicBezTo>
                  <a:cubicBezTo>
                    <a:pt x="1841" y="568"/>
                    <a:pt x="1841" y="568"/>
                    <a:pt x="1841" y="568"/>
                  </a:cubicBezTo>
                  <a:cubicBezTo>
                    <a:pt x="1829" y="568"/>
                    <a:pt x="1829" y="568"/>
                    <a:pt x="1829" y="568"/>
                  </a:cubicBezTo>
                  <a:cubicBezTo>
                    <a:pt x="1829" y="572"/>
                    <a:pt x="1829" y="572"/>
                    <a:pt x="1829" y="572"/>
                  </a:cubicBezTo>
                  <a:moveTo>
                    <a:pt x="1809" y="572"/>
                  </a:moveTo>
                  <a:cubicBezTo>
                    <a:pt x="1821" y="572"/>
                    <a:pt x="1821" y="572"/>
                    <a:pt x="1821" y="572"/>
                  </a:cubicBezTo>
                  <a:cubicBezTo>
                    <a:pt x="1821" y="568"/>
                    <a:pt x="1821" y="568"/>
                    <a:pt x="1821" y="568"/>
                  </a:cubicBezTo>
                  <a:cubicBezTo>
                    <a:pt x="1809" y="568"/>
                    <a:pt x="1809" y="568"/>
                    <a:pt x="1809" y="568"/>
                  </a:cubicBezTo>
                  <a:cubicBezTo>
                    <a:pt x="1809" y="572"/>
                    <a:pt x="1809" y="572"/>
                    <a:pt x="1809" y="572"/>
                  </a:cubicBezTo>
                  <a:moveTo>
                    <a:pt x="1789" y="572"/>
                  </a:moveTo>
                  <a:cubicBezTo>
                    <a:pt x="1801" y="572"/>
                    <a:pt x="1801" y="572"/>
                    <a:pt x="1801" y="572"/>
                  </a:cubicBezTo>
                  <a:cubicBezTo>
                    <a:pt x="1801" y="568"/>
                    <a:pt x="1801" y="568"/>
                    <a:pt x="1801" y="568"/>
                  </a:cubicBezTo>
                  <a:cubicBezTo>
                    <a:pt x="1789" y="568"/>
                    <a:pt x="1789" y="568"/>
                    <a:pt x="1789" y="568"/>
                  </a:cubicBezTo>
                  <a:cubicBezTo>
                    <a:pt x="1789" y="572"/>
                    <a:pt x="1789" y="572"/>
                    <a:pt x="1789" y="572"/>
                  </a:cubicBezTo>
                  <a:moveTo>
                    <a:pt x="1769" y="572"/>
                  </a:moveTo>
                  <a:cubicBezTo>
                    <a:pt x="1781" y="572"/>
                    <a:pt x="1781" y="572"/>
                    <a:pt x="1781" y="572"/>
                  </a:cubicBezTo>
                  <a:cubicBezTo>
                    <a:pt x="1781" y="568"/>
                    <a:pt x="1781" y="568"/>
                    <a:pt x="1781" y="568"/>
                  </a:cubicBezTo>
                  <a:cubicBezTo>
                    <a:pt x="1769" y="568"/>
                    <a:pt x="1769" y="568"/>
                    <a:pt x="1769" y="568"/>
                  </a:cubicBezTo>
                  <a:cubicBezTo>
                    <a:pt x="1769" y="572"/>
                    <a:pt x="1769" y="572"/>
                    <a:pt x="1769" y="572"/>
                  </a:cubicBezTo>
                  <a:moveTo>
                    <a:pt x="1749" y="572"/>
                  </a:moveTo>
                  <a:cubicBezTo>
                    <a:pt x="1761" y="572"/>
                    <a:pt x="1761" y="572"/>
                    <a:pt x="1761" y="572"/>
                  </a:cubicBezTo>
                  <a:cubicBezTo>
                    <a:pt x="1761" y="568"/>
                    <a:pt x="1761" y="568"/>
                    <a:pt x="1761" y="568"/>
                  </a:cubicBezTo>
                  <a:cubicBezTo>
                    <a:pt x="1749" y="568"/>
                    <a:pt x="1749" y="568"/>
                    <a:pt x="1749" y="568"/>
                  </a:cubicBezTo>
                  <a:cubicBezTo>
                    <a:pt x="1749" y="572"/>
                    <a:pt x="1749" y="572"/>
                    <a:pt x="1749" y="572"/>
                  </a:cubicBezTo>
                  <a:moveTo>
                    <a:pt x="1729" y="572"/>
                  </a:moveTo>
                  <a:cubicBezTo>
                    <a:pt x="1741" y="572"/>
                    <a:pt x="1741" y="572"/>
                    <a:pt x="1741" y="572"/>
                  </a:cubicBezTo>
                  <a:cubicBezTo>
                    <a:pt x="1741" y="568"/>
                    <a:pt x="1741" y="568"/>
                    <a:pt x="1741" y="568"/>
                  </a:cubicBezTo>
                  <a:cubicBezTo>
                    <a:pt x="1729" y="568"/>
                    <a:pt x="1729" y="568"/>
                    <a:pt x="1729" y="568"/>
                  </a:cubicBezTo>
                  <a:cubicBezTo>
                    <a:pt x="1729" y="572"/>
                    <a:pt x="1729" y="572"/>
                    <a:pt x="1729" y="572"/>
                  </a:cubicBezTo>
                  <a:moveTo>
                    <a:pt x="1709" y="572"/>
                  </a:moveTo>
                  <a:cubicBezTo>
                    <a:pt x="1721" y="572"/>
                    <a:pt x="1721" y="572"/>
                    <a:pt x="1721" y="572"/>
                  </a:cubicBezTo>
                  <a:cubicBezTo>
                    <a:pt x="1721" y="568"/>
                    <a:pt x="1721" y="568"/>
                    <a:pt x="1721" y="568"/>
                  </a:cubicBezTo>
                  <a:cubicBezTo>
                    <a:pt x="1709" y="568"/>
                    <a:pt x="1709" y="568"/>
                    <a:pt x="1709" y="568"/>
                  </a:cubicBezTo>
                  <a:cubicBezTo>
                    <a:pt x="1709" y="572"/>
                    <a:pt x="1709" y="572"/>
                    <a:pt x="1709" y="572"/>
                  </a:cubicBezTo>
                  <a:moveTo>
                    <a:pt x="1689" y="572"/>
                  </a:moveTo>
                  <a:cubicBezTo>
                    <a:pt x="1701" y="572"/>
                    <a:pt x="1701" y="572"/>
                    <a:pt x="1701" y="572"/>
                  </a:cubicBezTo>
                  <a:cubicBezTo>
                    <a:pt x="1701" y="568"/>
                    <a:pt x="1701" y="568"/>
                    <a:pt x="1701" y="568"/>
                  </a:cubicBezTo>
                  <a:cubicBezTo>
                    <a:pt x="1689" y="568"/>
                    <a:pt x="1689" y="568"/>
                    <a:pt x="1689" y="568"/>
                  </a:cubicBezTo>
                  <a:cubicBezTo>
                    <a:pt x="1689" y="572"/>
                    <a:pt x="1689" y="572"/>
                    <a:pt x="1689" y="572"/>
                  </a:cubicBezTo>
                  <a:moveTo>
                    <a:pt x="1669" y="572"/>
                  </a:moveTo>
                  <a:cubicBezTo>
                    <a:pt x="1681" y="572"/>
                    <a:pt x="1681" y="572"/>
                    <a:pt x="1681" y="572"/>
                  </a:cubicBezTo>
                  <a:cubicBezTo>
                    <a:pt x="1681" y="568"/>
                    <a:pt x="1681" y="568"/>
                    <a:pt x="1681" y="568"/>
                  </a:cubicBezTo>
                  <a:cubicBezTo>
                    <a:pt x="1669" y="568"/>
                    <a:pt x="1669" y="568"/>
                    <a:pt x="1669" y="568"/>
                  </a:cubicBezTo>
                  <a:cubicBezTo>
                    <a:pt x="1669" y="572"/>
                    <a:pt x="1669" y="572"/>
                    <a:pt x="1669" y="572"/>
                  </a:cubicBezTo>
                  <a:moveTo>
                    <a:pt x="1649" y="572"/>
                  </a:moveTo>
                  <a:cubicBezTo>
                    <a:pt x="1661" y="572"/>
                    <a:pt x="1661" y="572"/>
                    <a:pt x="1661" y="572"/>
                  </a:cubicBezTo>
                  <a:cubicBezTo>
                    <a:pt x="1661" y="568"/>
                    <a:pt x="1661" y="568"/>
                    <a:pt x="1661" y="568"/>
                  </a:cubicBezTo>
                  <a:cubicBezTo>
                    <a:pt x="1649" y="568"/>
                    <a:pt x="1649" y="568"/>
                    <a:pt x="1649" y="568"/>
                  </a:cubicBezTo>
                  <a:cubicBezTo>
                    <a:pt x="1649" y="572"/>
                    <a:pt x="1649" y="572"/>
                    <a:pt x="1649" y="572"/>
                  </a:cubicBezTo>
                  <a:moveTo>
                    <a:pt x="1629" y="572"/>
                  </a:moveTo>
                  <a:cubicBezTo>
                    <a:pt x="1641" y="572"/>
                    <a:pt x="1641" y="572"/>
                    <a:pt x="1641" y="572"/>
                  </a:cubicBezTo>
                  <a:cubicBezTo>
                    <a:pt x="1641" y="568"/>
                    <a:pt x="1641" y="568"/>
                    <a:pt x="1641" y="568"/>
                  </a:cubicBezTo>
                  <a:cubicBezTo>
                    <a:pt x="1629" y="568"/>
                    <a:pt x="1629" y="568"/>
                    <a:pt x="1629" y="568"/>
                  </a:cubicBezTo>
                  <a:cubicBezTo>
                    <a:pt x="1629" y="572"/>
                    <a:pt x="1629" y="572"/>
                    <a:pt x="1629" y="572"/>
                  </a:cubicBezTo>
                  <a:moveTo>
                    <a:pt x="1609" y="572"/>
                  </a:moveTo>
                  <a:cubicBezTo>
                    <a:pt x="1621" y="572"/>
                    <a:pt x="1621" y="572"/>
                    <a:pt x="1621" y="572"/>
                  </a:cubicBezTo>
                  <a:cubicBezTo>
                    <a:pt x="1621" y="568"/>
                    <a:pt x="1621" y="568"/>
                    <a:pt x="1621" y="568"/>
                  </a:cubicBezTo>
                  <a:cubicBezTo>
                    <a:pt x="1609" y="568"/>
                    <a:pt x="1609" y="568"/>
                    <a:pt x="1609" y="568"/>
                  </a:cubicBezTo>
                  <a:cubicBezTo>
                    <a:pt x="1609" y="572"/>
                    <a:pt x="1609" y="572"/>
                    <a:pt x="1609" y="572"/>
                  </a:cubicBezTo>
                  <a:moveTo>
                    <a:pt x="1589" y="572"/>
                  </a:moveTo>
                  <a:cubicBezTo>
                    <a:pt x="1601" y="572"/>
                    <a:pt x="1601" y="572"/>
                    <a:pt x="1601" y="572"/>
                  </a:cubicBezTo>
                  <a:cubicBezTo>
                    <a:pt x="1601" y="568"/>
                    <a:pt x="1601" y="568"/>
                    <a:pt x="1601" y="568"/>
                  </a:cubicBezTo>
                  <a:cubicBezTo>
                    <a:pt x="1589" y="568"/>
                    <a:pt x="1589" y="568"/>
                    <a:pt x="1589" y="568"/>
                  </a:cubicBezTo>
                  <a:cubicBezTo>
                    <a:pt x="1589" y="572"/>
                    <a:pt x="1589" y="572"/>
                    <a:pt x="1589" y="572"/>
                  </a:cubicBezTo>
                  <a:moveTo>
                    <a:pt x="1569" y="572"/>
                  </a:moveTo>
                  <a:cubicBezTo>
                    <a:pt x="1581" y="572"/>
                    <a:pt x="1581" y="572"/>
                    <a:pt x="1581" y="572"/>
                  </a:cubicBezTo>
                  <a:cubicBezTo>
                    <a:pt x="1581" y="568"/>
                    <a:pt x="1581" y="568"/>
                    <a:pt x="1581" y="568"/>
                  </a:cubicBezTo>
                  <a:cubicBezTo>
                    <a:pt x="1569" y="568"/>
                    <a:pt x="1569" y="568"/>
                    <a:pt x="1569" y="568"/>
                  </a:cubicBezTo>
                  <a:cubicBezTo>
                    <a:pt x="1569" y="572"/>
                    <a:pt x="1569" y="572"/>
                    <a:pt x="1569" y="572"/>
                  </a:cubicBezTo>
                  <a:moveTo>
                    <a:pt x="1549" y="572"/>
                  </a:moveTo>
                  <a:cubicBezTo>
                    <a:pt x="1561" y="572"/>
                    <a:pt x="1561" y="572"/>
                    <a:pt x="1561" y="572"/>
                  </a:cubicBezTo>
                  <a:cubicBezTo>
                    <a:pt x="1561" y="568"/>
                    <a:pt x="1561" y="568"/>
                    <a:pt x="1561" y="568"/>
                  </a:cubicBezTo>
                  <a:cubicBezTo>
                    <a:pt x="1549" y="568"/>
                    <a:pt x="1549" y="568"/>
                    <a:pt x="1549" y="568"/>
                  </a:cubicBezTo>
                  <a:cubicBezTo>
                    <a:pt x="1549" y="572"/>
                    <a:pt x="1549" y="572"/>
                    <a:pt x="1549" y="572"/>
                  </a:cubicBezTo>
                  <a:moveTo>
                    <a:pt x="1529" y="572"/>
                  </a:moveTo>
                  <a:cubicBezTo>
                    <a:pt x="1541" y="572"/>
                    <a:pt x="1541" y="572"/>
                    <a:pt x="1541" y="572"/>
                  </a:cubicBezTo>
                  <a:cubicBezTo>
                    <a:pt x="1541" y="568"/>
                    <a:pt x="1541" y="568"/>
                    <a:pt x="1541" y="568"/>
                  </a:cubicBezTo>
                  <a:cubicBezTo>
                    <a:pt x="1529" y="568"/>
                    <a:pt x="1529" y="568"/>
                    <a:pt x="1529" y="568"/>
                  </a:cubicBezTo>
                  <a:cubicBezTo>
                    <a:pt x="1529" y="572"/>
                    <a:pt x="1529" y="572"/>
                    <a:pt x="1529" y="572"/>
                  </a:cubicBezTo>
                  <a:moveTo>
                    <a:pt x="1509" y="572"/>
                  </a:moveTo>
                  <a:cubicBezTo>
                    <a:pt x="1521" y="572"/>
                    <a:pt x="1521" y="572"/>
                    <a:pt x="1521" y="572"/>
                  </a:cubicBezTo>
                  <a:cubicBezTo>
                    <a:pt x="1521" y="568"/>
                    <a:pt x="1521" y="568"/>
                    <a:pt x="1521" y="568"/>
                  </a:cubicBezTo>
                  <a:cubicBezTo>
                    <a:pt x="1509" y="568"/>
                    <a:pt x="1509" y="568"/>
                    <a:pt x="1509" y="568"/>
                  </a:cubicBezTo>
                  <a:cubicBezTo>
                    <a:pt x="1509" y="572"/>
                    <a:pt x="1509" y="572"/>
                    <a:pt x="1509" y="572"/>
                  </a:cubicBezTo>
                  <a:moveTo>
                    <a:pt x="1489" y="572"/>
                  </a:moveTo>
                  <a:cubicBezTo>
                    <a:pt x="1501" y="572"/>
                    <a:pt x="1501" y="572"/>
                    <a:pt x="1501" y="572"/>
                  </a:cubicBezTo>
                  <a:cubicBezTo>
                    <a:pt x="1501" y="568"/>
                    <a:pt x="1501" y="568"/>
                    <a:pt x="1501" y="568"/>
                  </a:cubicBezTo>
                  <a:cubicBezTo>
                    <a:pt x="1489" y="568"/>
                    <a:pt x="1489" y="568"/>
                    <a:pt x="1489" y="568"/>
                  </a:cubicBezTo>
                  <a:cubicBezTo>
                    <a:pt x="1489" y="572"/>
                    <a:pt x="1489" y="572"/>
                    <a:pt x="1489" y="572"/>
                  </a:cubicBezTo>
                  <a:moveTo>
                    <a:pt x="1469" y="572"/>
                  </a:moveTo>
                  <a:cubicBezTo>
                    <a:pt x="1481" y="572"/>
                    <a:pt x="1481" y="572"/>
                    <a:pt x="1481" y="572"/>
                  </a:cubicBezTo>
                  <a:cubicBezTo>
                    <a:pt x="1481" y="568"/>
                    <a:pt x="1481" y="568"/>
                    <a:pt x="1481" y="568"/>
                  </a:cubicBezTo>
                  <a:cubicBezTo>
                    <a:pt x="1469" y="568"/>
                    <a:pt x="1469" y="568"/>
                    <a:pt x="1469" y="568"/>
                  </a:cubicBezTo>
                  <a:cubicBezTo>
                    <a:pt x="1469" y="572"/>
                    <a:pt x="1469" y="572"/>
                    <a:pt x="1469" y="572"/>
                  </a:cubicBezTo>
                  <a:moveTo>
                    <a:pt x="1449" y="572"/>
                  </a:moveTo>
                  <a:cubicBezTo>
                    <a:pt x="1461" y="572"/>
                    <a:pt x="1461" y="572"/>
                    <a:pt x="1461" y="572"/>
                  </a:cubicBezTo>
                  <a:cubicBezTo>
                    <a:pt x="1461" y="568"/>
                    <a:pt x="1461" y="568"/>
                    <a:pt x="1461" y="568"/>
                  </a:cubicBezTo>
                  <a:cubicBezTo>
                    <a:pt x="1449" y="568"/>
                    <a:pt x="1449" y="568"/>
                    <a:pt x="1449" y="568"/>
                  </a:cubicBezTo>
                  <a:cubicBezTo>
                    <a:pt x="1449" y="572"/>
                    <a:pt x="1449" y="572"/>
                    <a:pt x="1449" y="572"/>
                  </a:cubicBezTo>
                  <a:moveTo>
                    <a:pt x="1429" y="572"/>
                  </a:moveTo>
                  <a:cubicBezTo>
                    <a:pt x="1441" y="572"/>
                    <a:pt x="1441" y="572"/>
                    <a:pt x="1441" y="572"/>
                  </a:cubicBezTo>
                  <a:cubicBezTo>
                    <a:pt x="1441" y="568"/>
                    <a:pt x="1441" y="568"/>
                    <a:pt x="1441" y="568"/>
                  </a:cubicBezTo>
                  <a:cubicBezTo>
                    <a:pt x="1429" y="568"/>
                    <a:pt x="1429" y="568"/>
                    <a:pt x="1429" y="568"/>
                  </a:cubicBezTo>
                  <a:cubicBezTo>
                    <a:pt x="1429" y="572"/>
                    <a:pt x="1429" y="572"/>
                    <a:pt x="1429" y="572"/>
                  </a:cubicBezTo>
                  <a:moveTo>
                    <a:pt x="1409" y="572"/>
                  </a:moveTo>
                  <a:cubicBezTo>
                    <a:pt x="1421" y="572"/>
                    <a:pt x="1421" y="572"/>
                    <a:pt x="1421" y="572"/>
                  </a:cubicBezTo>
                  <a:cubicBezTo>
                    <a:pt x="1421" y="568"/>
                    <a:pt x="1421" y="568"/>
                    <a:pt x="1421" y="568"/>
                  </a:cubicBezTo>
                  <a:cubicBezTo>
                    <a:pt x="1409" y="568"/>
                    <a:pt x="1409" y="568"/>
                    <a:pt x="1409" y="568"/>
                  </a:cubicBezTo>
                  <a:cubicBezTo>
                    <a:pt x="1409" y="572"/>
                    <a:pt x="1409" y="572"/>
                    <a:pt x="1409" y="572"/>
                  </a:cubicBezTo>
                  <a:moveTo>
                    <a:pt x="1389" y="572"/>
                  </a:moveTo>
                  <a:cubicBezTo>
                    <a:pt x="1401" y="572"/>
                    <a:pt x="1401" y="572"/>
                    <a:pt x="1401" y="572"/>
                  </a:cubicBezTo>
                  <a:cubicBezTo>
                    <a:pt x="1401" y="568"/>
                    <a:pt x="1401" y="568"/>
                    <a:pt x="1401" y="568"/>
                  </a:cubicBezTo>
                  <a:cubicBezTo>
                    <a:pt x="1389" y="568"/>
                    <a:pt x="1389" y="568"/>
                    <a:pt x="1389" y="568"/>
                  </a:cubicBezTo>
                  <a:cubicBezTo>
                    <a:pt x="1389" y="572"/>
                    <a:pt x="1389" y="572"/>
                    <a:pt x="1389" y="572"/>
                  </a:cubicBezTo>
                  <a:moveTo>
                    <a:pt x="1369" y="572"/>
                  </a:moveTo>
                  <a:cubicBezTo>
                    <a:pt x="1381" y="572"/>
                    <a:pt x="1381" y="572"/>
                    <a:pt x="1381" y="572"/>
                  </a:cubicBezTo>
                  <a:cubicBezTo>
                    <a:pt x="1381" y="568"/>
                    <a:pt x="1381" y="568"/>
                    <a:pt x="1381" y="568"/>
                  </a:cubicBezTo>
                  <a:cubicBezTo>
                    <a:pt x="1369" y="568"/>
                    <a:pt x="1369" y="568"/>
                    <a:pt x="1369" y="568"/>
                  </a:cubicBezTo>
                  <a:cubicBezTo>
                    <a:pt x="1369" y="572"/>
                    <a:pt x="1369" y="572"/>
                    <a:pt x="1369" y="572"/>
                  </a:cubicBezTo>
                  <a:moveTo>
                    <a:pt x="1349" y="572"/>
                  </a:moveTo>
                  <a:cubicBezTo>
                    <a:pt x="1361" y="572"/>
                    <a:pt x="1361" y="572"/>
                    <a:pt x="1361" y="572"/>
                  </a:cubicBezTo>
                  <a:cubicBezTo>
                    <a:pt x="1361" y="568"/>
                    <a:pt x="1361" y="568"/>
                    <a:pt x="1361" y="568"/>
                  </a:cubicBezTo>
                  <a:cubicBezTo>
                    <a:pt x="1349" y="568"/>
                    <a:pt x="1349" y="568"/>
                    <a:pt x="1349" y="568"/>
                  </a:cubicBezTo>
                  <a:cubicBezTo>
                    <a:pt x="1349" y="572"/>
                    <a:pt x="1349" y="572"/>
                    <a:pt x="1349" y="572"/>
                  </a:cubicBezTo>
                  <a:moveTo>
                    <a:pt x="1329" y="572"/>
                  </a:moveTo>
                  <a:cubicBezTo>
                    <a:pt x="1341" y="572"/>
                    <a:pt x="1341" y="572"/>
                    <a:pt x="1341" y="572"/>
                  </a:cubicBezTo>
                  <a:cubicBezTo>
                    <a:pt x="1341" y="568"/>
                    <a:pt x="1341" y="568"/>
                    <a:pt x="1341" y="568"/>
                  </a:cubicBezTo>
                  <a:cubicBezTo>
                    <a:pt x="1329" y="568"/>
                    <a:pt x="1329" y="568"/>
                    <a:pt x="1329" y="568"/>
                  </a:cubicBezTo>
                  <a:cubicBezTo>
                    <a:pt x="1329" y="572"/>
                    <a:pt x="1329" y="572"/>
                    <a:pt x="1329" y="572"/>
                  </a:cubicBezTo>
                  <a:moveTo>
                    <a:pt x="1309" y="572"/>
                  </a:moveTo>
                  <a:cubicBezTo>
                    <a:pt x="1321" y="572"/>
                    <a:pt x="1321" y="572"/>
                    <a:pt x="1321" y="572"/>
                  </a:cubicBezTo>
                  <a:cubicBezTo>
                    <a:pt x="1321" y="568"/>
                    <a:pt x="1321" y="568"/>
                    <a:pt x="1321" y="568"/>
                  </a:cubicBezTo>
                  <a:cubicBezTo>
                    <a:pt x="1309" y="568"/>
                    <a:pt x="1309" y="568"/>
                    <a:pt x="1309" y="568"/>
                  </a:cubicBezTo>
                  <a:cubicBezTo>
                    <a:pt x="1309" y="572"/>
                    <a:pt x="1309" y="572"/>
                    <a:pt x="1309" y="572"/>
                  </a:cubicBezTo>
                  <a:moveTo>
                    <a:pt x="1289" y="572"/>
                  </a:moveTo>
                  <a:cubicBezTo>
                    <a:pt x="1301" y="572"/>
                    <a:pt x="1301" y="572"/>
                    <a:pt x="1301" y="572"/>
                  </a:cubicBezTo>
                  <a:cubicBezTo>
                    <a:pt x="1301" y="568"/>
                    <a:pt x="1301" y="568"/>
                    <a:pt x="1301" y="568"/>
                  </a:cubicBezTo>
                  <a:cubicBezTo>
                    <a:pt x="1289" y="568"/>
                    <a:pt x="1289" y="568"/>
                    <a:pt x="1289" y="568"/>
                  </a:cubicBezTo>
                  <a:cubicBezTo>
                    <a:pt x="1289" y="572"/>
                    <a:pt x="1289" y="572"/>
                    <a:pt x="1289" y="572"/>
                  </a:cubicBezTo>
                  <a:moveTo>
                    <a:pt x="1269" y="572"/>
                  </a:moveTo>
                  <a:cubicBezTo>
                    <a:pt x="1281" y="572"/>
                    <a:pt x="1281" y="572"/>
                    <a:pt x="1281" y="572"/>
                  </a:cubicBezTo>
                  <a:cubicBezTo>
                    <a:pt x="1281" y="568"/>
                    <a:pt x="1281" y="568"/>
                    <a:pt x="1281" y="568"/>
                  </a:cubicBezTo>
                  <a:cubicBezTo>
                    <a:pt x="1269" y="568"/>
                    <a:pt x="1269" y="568"/>
                    <a:pt x="1269" y="568"/>
                  </a:cubicBezTo>
                  <a:cubicBezTo>
                    <a:pt x="1269" y="572"/>
                    <a:pt x="1269" y="572"/>
                    <a:pt x="1269" y="572"/>
                  </a:cubicBezTo>
                  <a:moveTo>
                    <a:pt x="1249" y="572"/>
                  </a:moveTo>
                  <a:cubicBezTo>
                    <a:pt x="1261" y="572"/>
                    <a:pt x="1261" y="572"/>
                    <a:pt x="1261" y="572"/>
                  </a:cubicBezTo>
                  <a:cubicBezTo>
                    <a:pt x="1261" y="568"/>
                    <a:pt x="1261" y="568"/>
                    <a:pt x="1261" y="568"/>
                  </a:cubicBezTo>
                  <a:cubicBezTo>
                    <a:pt x="1249" y="568"/>
                    <a:pt x="1249" y="568"/>
                    <a:pt x="1249" y="568"/>
                  </a:cubicBezTo>
                  <a:cubicBezTo>
                    <a:pt x="1249" y="572"/>
                    <a:pt x="1249" y="572"/>
                    <a:pt x="1249" y="572"/>
                  </a:cubicBezTo>
                  <a:moveTo>
                    <a:pt x="1229" y="572"/>
                  </a:moveTo>
                  <a:cubicBezTo>
                    <a:pt x="1241" y="572"/>
                    <a:pt x="1241" y="572"/>
                    <a:pt x="1241" y="572"/>
                  </a:cubicBezTo>
                  <a:cubicBezTo>
                    <a:pt x="1241" y="568"/>
                    <a:pt x="1241" y="568"/>
                    <a:pt x="1241" y="568"/>
                  </a:cubicBezTo>
                  <a:cubicBezTo>
                    <a:pt x="1229" y="568"/>
                    <a:pt x="1229" y="568"/>
                    <a:pt x="1229" y="568"/>
                  </a:cubicBezTo>
                  <a:cubicBezTo>
                    <a:pt x="1229" y="572"/>
                    <a:pt x="1229" y="572"/>
                    <a:pt x="1229" y="572"/>
                  </a:cubicBezTo>
                  <a:moveTo>
                    <a:pt x="1209" y="572"/>
                  </a:moveTo>
                  <a:cubicBezTo>
                    <a:pt x="1221" y="572"/>
                    <a:pt x="1221" y="572"/>
                    <a:pt x="1221" y="572"/>
                  </a:cubicBezTo>
                  <a:cubicBezTo>
                    <a:pt x="1221" y="568"/>
                    <a:pt x="1221" y="568"/>
                    <a:pt x="1221" y="568"/>
                  </a:cubicBezTo>
                  <a:cubicBezTo>
                    <a:pt x="1209" y="568"/>
                    <a:pt x="1209" y="568"/>
                    <a:pt x="1209" y="568"/>
                  </a:cubicBezTo>
                  <a:cubicBezTo>
                    <a:pt x="1209" y="572"/>
                    <a:pt x="1209" y="572"/>
                    <a:pt x="1209" y="572"/>
                  </a:cubicBezTo>
                  <a:moveTo>
                    <a:pt x="1189" y="572"/>
                  </a:moveTo>
                  <a:cubicBezTo>
                    <a:pt x="1201" y="572"/>
                    <a:pt x="1201" y="572"/>
                    <a:pt x="1201" y="572"/>
                  </a:cubicBezTo>
                  <a:cubicBezTo>
                    <a:pt x="1201" y="568"/>
                    <a:pt x="1201" y="568"/>
                    <a:pt x="1201" y="568"/>
                  </a:cubicBezTo>
                  <a:cubicBezTo>
                    <a:pt x="1189" y="568"/>
                    <a:pt x="1189" y="568"/>
                    <a:pt x="1189" y="568"/>
                  </a:cubicBezTo>
                  <a:cubicBezTo>
                    <a:pt x="1189" y="572"/>
                    <a:pt x="1189" y="572"/>
                    <a:pt x="1189" y="572"/>
                  </a:cubicBezTo>
                  <a:moveTo>
                    <a:pt x="1169" y="572"/>
                  </a:moveTo>
                  <a:cubicBezTo>
                    <a:pt x="1181" y="572"/>
                    <a:pt x="1181" y="572"/>
                    <a:pt x="1181" y="572"/>
                  </a:cubicBezTo>
                  <a:cubicBezTo>
                    <a:pt x="1181" y="568"/>
                    <a:pt x="1181" y="568"/>
                    <a:pt x="1181" y="568"/>
                  </a:cubicBezTo>
                  <a:cubicBezTo>
                    <a:pt x="1169" y="568"/>
                    <a:pt x="1169" y="568"/>
                    <a:pt x="1169" y="568"/>
                  </a:cubicBezTo>
                  <a:cubicBezTo>
                    <a:pt x="1169" y="572"/>
                    <a:pt x="1169" y="572"/>
                    <a:pt x="1169" y="572"/>
                  </a:cubicBezTo>
                  <a:moveTo>
                    <a:pt x="1149" y="572"/>
                  </a:moveTo>
                  <a:cubicBezTo>
                    <a:pt x="1161" y="572"/>
                    <a:pt x="1161" y="572"/>
                    <a:pt x="1161" y="572"/>
                  </a:cubicBezTo>
                  <a:cubicBezTo>
                    <a:pt x="1161" y="568"/>
                    <a:pt x="1161" y="568"/>
                    <a:pt x="1161" y="568"/>
                  </a:cubicBezTo>
                  <a:cubicBezTo>
                    <a:pt x="1149" y="568"/>
                    <a:pt x="1149" y="568"/>
                    <a:pt x="1149" y="568"/>
                  </a:cubicBezTo>
                  <a:cubicBezTo>
                    <a:pt x="1149" y="572"/>
                    <a:pt x="1149" y="572"/>
                    <a:pt x="1149" y="572"/>
                  </a:cubicBezTo>
                  <a:moveTo>
                    <a:pt x="1129" y="572"/>
                  </a:moveTo>
                  <a:cubicBezTo>
                    <a:pt x="1141" y="572"/>
                    <a:pt x="1141" y="572"/>
                    <a:pt x="1141" y="572"/>
                  </a:cubicBezTo>
                  <a:cubicBezTo>
                    <a:pt x="1141" y="568"/>
                    <a:pt x="1141" y="568"/>
                    <a:pt x="1141" y="568"/>
                  </a:cubicBezTo>
                  <a:cubicBezTo>
                    <a:pt x="1129" y="568"/>
                    <a:pt x="1129" y="568"/>
                    <a:pt x="1129" y="568"/>
                  </a:cubicBezTo>
                  <a:cubicBezTo>
                    <a:pt x="1129" y="572"/>
                    <a:pt x="1129" y="572"/>
                    <a:pt x="1129" y="572"/>
                  </a:cubicBezTo>
                  <a:moveTo>
                    <a:pt x="1109" y="572"/>
                  </a:moveTo>
                  <a:cubicBezTo>
                    <a:pt x="1121" y="572"/>
                    <a:pt x="1121" y="572"/>
                    <a:pt x="1121" y="572"/>
                  </a:cubicBezTo>
                  <a:cubicBezTo>
                    <a:pt x="1121" y="568"/>
                    <a:pt x="1121" y="568"/>
                    <a:pt x="1121" y="568"/>
                  </a:cubicBezTo>
                  <a:cubicBezTo>
                    <a:pt x="1109" y="568"/>
                    <a:pt x="1109" y="568"/>
                    <a:pt x="1109" y="568"/>
                  </a:cubicBezTo>
                  <a:cubicBezTo>
                    <a:pt x="1109" y="572"/>
                    <a:pt x="1109" y="572"/>
                    <a:pt x="1109" y="572"/>
                  </a:cubicBezTo>
                  <a:moveTo>
                    <a:pt x="1089" y="572"/>
                  </a:moveTo>
                  <a:cubicBezTo>
                    <a:pt x="1101" y="572"/>
                    <a:pt x="1101" y="572"/>
                    <a:pt x="1101" y="572"/>
                  </a:cubicBezTo>
                  <a:cubicBezTo>
                    <a:pt x="1101" y="568"/>
                    <a:pt x="1101" y="568"/>
                    <a:pt x="1101" y="568"/>
                  </a:cubicBezTo>
                  <a:cubicBezTo>
                    <a:pt x="1089" y="568"/>
                    <a:pt x="1089" y="568"/>
                    <a:pt x="1089" y="568"/>
                  </a:cubicBezTo>
                  <a:cubicBezTo>
                    <a:pt x="1089" y="572"/>
                    <a:pt x="1089" y="572"/>
                    <a:pt x="1089" y="572"/>
                  </a:cubicBezTo>
                  <a:moveTo>
                    <a:pt x="1069" y="572"/>
                  </a:moveTo>
                  <a:cubicBezTo>
                    <a:pt x="1081" y="572"/>
                    <a:pt x="1081" y="572"/>
                    <a:pt x="1081" y="572"/>
                  </a:cubicBezTo>
                  <a:cubicBezTo>
                    <a:pt x="1081" y="568"/>
                    <a:pt x="1081" y="568"/>
                    <a:pt x="1081" y="568"/>
                  </a:cubicBezTo>
                  <a:cubicBezTo>
                    <a:pt x="1069" y="568"/>
                    <a:pt x="1069" y="568"/>
                    <a:pt x="1069" y="568"/>
                  </a:cubicBezTo>
                  <a:cubicBezTo>
                    <a:pt x="1069" y="572"/>
                    <a:pt x="1069" y="572"/>
                    <a:pt x="1069" y="572"/>
                  </a:cubicBezTo>
                  <a:moveTo>
                    <a:pt x="1049" y="572"/>
                  </a:moveTo>
                  <a:cubicBezTo>
                    <a:pt x="1061" y="572"/>
                    <a:pt x="1061" y="572"/>
                    <a:pt x="1061" y="572"/>
                  </a:cubicBezTo>
                  <a:cubicBezTo>
                    <a:pt x="1061" y="568"/>
                    <a:pt x="1061" y="568"/>
                    <a:pt x="1061" y="568"/>
                  </a:cubicBezTo>
                  <a:cubicBezTo>
                    <a:pt x="1049" y="568"/>
                    <a:pt x="1049" y="568"/>
                    <a:pt x="1049" y="568"/>
                  </a:cubicBezTo>
                  <a:cubicBezTo>
                    <a:pt x="1049" y="572"/>
                    <a:pt x="1049" y="572"/>
                    <a:pt x="1049" y="572"/>
                  </a:cubicBezTo>
                  <a:moveTo>
                    <a:pt x="1029" y="572"/>
                  </a:moveTo>
                  <a:cubicBezTo>
                    <a:pt x="1041" y="572"/>
                    <a:pt x="1041" y="572"/>
                    <a:pt x="1041" y="572"/>
                  </a:cubicBezTo>
                  <a:cubicBezTo>
                    <a:pt x="1041" y="568"/>
                    <a:pt x="1041" y="568"/>
                    <a:pt x="1041" y="568"/>
                  </a:cubicBezTo>
                  <a:cubicBezTo>
                    <a:pt x="1029" y="568"/>
                    <a:pt x="1029" y="568"/>
                    <a:pt x="1029" y="568"/>
                  </a:cubicBezTo>
                  <a:cubicBezTo>
                    <a:pt x="1029" y="572"/>
                    <a:pt x="1029" y="572"/>
                    <a:pt x="1029" y="572"/>
                  </a:cubicBezTo>
                  <a:moveTo>
                    <a:pt x="1009" y="572"/>
                  </a:moveTo>
                  <a:cubicBezTo>
                    <a:pt x="1021" y="572"/>
                    <a:pt x="1021" y="572"/>
                    <a:pt x="1021" y="572"/>
                  </a:cubicBezTo>
                  <a:cubicBezTo>
                    <a:pt x="1021" y="568"/>
                    <a:pt x="1021" y="568"/>
                    <a:pt x="1021" y="568"/>
                  </a:cubicBezTo>
                  <a:cubicBezTo>
                    <a:pt x="1009" y="568"/>
                    <a:pt x="1009" y="568"/>
                    <a:pt x="1009" y="568"/>
                  </a:cubicBezTo>
                  <a:cubicBezTo>
                    <a:pt x="1009" y="572"/>
                    <a:pt x="1009" y="572"/>
                    <a:pt x="1009" y="572"/>
                  </a:cubicBezTo>
                  <a:moveTo>
                    <a:pt x="989" y="572"/>
                  </a:moveTo>
                  <a:cubicBezTo>
                    <a:pt x="1001" y="572"/>
                    <a:pt x="1001" y="572"/>
                    <a:pt x="1001" y="572"/>
                  </a:cubicBezTo>
                  <a:cubicBezTo>
                    <a:pt x="1001" y="568"/>
                    <a:pt x="1001" y="568"/>
                    <a:pt x="1001" y="568"/>
                  </a:cubicBezTo>
                  <a:cubicBezTo>
                    <a:pt x="989" y="568"/>
                    <a:pt x="989" y="568"/>
                    <a:pt x="989" y="568"/>
                  </a:cubicBezTo>
                  <a:cubicBezTo>
                    <a:pt x="989" y="572"/>
                    <a:pt x="989" y="572"/>
                    <a:pt x="989" y="572"/>
                  </a:cubicBezTo>
                  <a:moveTo>
                    <a:pt x="969" y="572"/>
                  </a:moveTo>
                  <a:cubicBezTo>
                    <a:pt x="981" y="572"/>
                    <a:pt x="981" y="572"/>
                    <a:pt x="981" y="572"/>
                  </a:cubicBezTo>
                  <a:cubicBezTo>
                    <a:pt x="981" y="568"/>
                    <a:pt x="981" y="568"/>
                    <a:pt x="981" y="568"/>
                  </a:cubicBezTo>
                  <a:cubicBezTo>
                    <a:pt x="969" y="568"/>
                    <a:pt x="969" y="568"/>
                    <a:pt x="969" y="568"/>
                  </a:cubicBezTo>
                  <a:cubicBezTo>
                    <a:pt x="969" y="572"/>
                    <a:pt x="969" y="572"/>
                    <a:pt x="969" y="572"/>
                  </a:cubicBezTo>
                  <a:moveTo>
                    <a:pt x="949" y="572"/>
                  </a:moveTo>
                  <a:cubicBezTo>
                    <a:pt x="961" y="572"/>
                    <a:pt x="961" y="572"/>
                    <a:pt x="961" y="572"/>
                  </a:cubicBezTo>
                  <a:cubicBezTo>
                    <a:pt x="961" y="568"/>
                    <a:pt x="961" y="568"/>
                    <a:pt x="961" y="568"/>
                  </a:cubicBezTo>
                  <a:cubicBezTo>
                    <a:pt x="949" y="568"/>
                    <a:pt x="949" y="568"/>
                    <a:pt x="949" y="568"/>
                  </a:cubicBezTo>
                  <a:cubicBezTo>
                    <a:pt x="949" y="572"/>
                    <a:pt x="949" y="572"/>
                    <a:pt x="949" y="572"/>
                  </a:cubicBezTo>
                  <a:moveTo>
                    <a:pt x="929" y="572"/>
                  </a:moveTo>
                  <a:cubicBezTo>
                    <a:pt x="941" y="572"/>
                    <a:pt x="941" y="572"/>
                    <a:pt x="941" y="572"/>
                  </a:cubicBezTo>
                  <a:cubicBezTo>
                    <a:pt x="941" y="568"/>
                    <a:pt x="941" y="568"/>
                    <a:pt x="941" y="568"/>
                  </a:cubicBezTo>
                  <a:cubicBezTo>
                    <a:pt x="929" y="568"/>
                    <a:pt x="929" y="568"/>
                    <a:pt x="929" y="568"/>
                  </a:cubicBezTo>
                  <a:cubicBezTo>
                    <a:pt x="929" y="572"/>
                    <a:pt x="929" y="572"/>
                    <a:pt x="929" y="572"/>
                  </a:cubicBezTo>
                  <a:moveTo>
                    <a:pt x="909" y="572"/>
                  </a:moveTo>
                  <a:cubicBezTo>
                    <a:pt x="921" y="572"/>
                    <a:pt x="921" y="572"/>
                    <a:pt x="921" y="572"/>
                  </a:cubicBezTo>
                  <a:cubicBezTo>
                    <a:pt x="921" y="568"/>
                    <a:pt x="921" y="568"/>
                    <a:pt x="921" y="568"/>
                  </a:cubicBezTo>
                  <a:cubicBezTo>
                    <a:pt x="909" y="568"/>
                    <a:pt x="909" y="568"/>
                    <a:pt x="909" y="568"/>
                  </a:cubicBezTo>
                  <a:cubicBezTo>
                    <a:pt x="909" y="572"/>
                    <a:pt x="909" y="572"/>
                    <a:pt x="909" y="572"/>
                  </a:cubicBezTo>
                  <a:moveTo>
                    <a:pt x="889" y="572"/>
                  </a:moveTo>
                  <a:cubicBezTo>
                    <a:pt x="901" y="572"/>
                    <a:pt x="901" y="572"/>
                    <a:pt x="901" y="572"/>
                  </a:cubicBezTo>
                  <a:cubicBezTo>
                    <a:pt x="901" y="568"/>
                    <a:pt x="901" y="568"/>
                    <a:pt x="901" y="568"/>
                  </a:cubicBezTo>
                  <a:cubicBezTo>
                    <a:pt x="889" y="568"/>
                    <a:pt x="889" y="568"/>
                    <a:pt x="889" y="568"/>
                  </a:cubicBezTo>
                  <a:cubicBezTo>
                    <a:pt x="889" y="572"/>
                    <a:pt x="889" y="572"/>
                    <a:pt x="889" y="572"/>
                  </a:cubicBezTo>
                  <a:moveTo>
                    <a:pt x="869" y="572"/>
                  </a:moveTo>
                  <a:cubicBezTo>
                    <a:pt x="881" y="572"/>
                    <a:pt x="881" y="572"/>
                    <a:pt x="881" y="572"/>
                  </a:cubicBezTo>
                  <a:cubicBezTo>
                    <a:pt x="881" y="568"/>
                    <a:pt x="881" y="568"/>
                    <a:pt x="881" y="568"/>
                  </a:cubicBezTo>
                  <a:cubicBezTo>
                    <a:pt x="869" y="568"/>
                    <a:pt x="869" y="568"/>
                    <a:pt x="869" y="568"/>
                  </a:cubicBezTo>
                  <a:cubicBezTo>
                    <a:pt x="869" y="572"/>
                    <a:pt x="869" y="572"/>
                    <a:pt x="869" y="572"/>
                  </a:cubicBezTo>
                  <a:moveTo>
                    <a:pt x="849" y="572"/>
                  </a:moveTo>
                  <a:cubicBezTo>
                    <a:pt x="861" y="572"/>
                    <a:pt x="861" y="572"/>
                    <a:pt x="861" y="572"/>
                  </a:cubicBezTo>
                  <a:cubicBezTo>
                    <a:pt x="861" y="568"/>
                    <a:pt x="861" y="568"/>
                    <a:pt x="861" y="568"/>
                  </a:cubicBezTo>
                  <a:cubicBezTo>
                    <a:pt x="849" y="568"/>
                    <a:pt x="849" y="568"/>
                    <a:pt x="849" y="568"/>
                  </a:cubicBezTo>
                  <a:cubicBezTo>
                    <a:pt x="849" y="572"/>
                    <a:pt x="849" y="572"/>
                    <a:pt x="849" y="572"/>
                  </a:cubicBezTo>
                  <a:moveTo>
                    <a:pt x="829" y="572"/>
                  </a:moveTo>
                  <a:cubicBezTo>
                    <a:pt x="841" y="572"/>
                    <a:pt x="841" y="572"/>
                    <a:pt x="841" y="572"/>
                  </a:cubicBezTo>
                  <a:cubicBezTo>
                    <a:pt x="841" y="568"/>
                    <a:pt x="841" y="568"/>
                    <a:pt x="841" y="568"/>
                  </a:cubicBezTo>
                  <a:cubicBezTo>
                    <a:pt x="829" y="568"/>
                    <a:pt x="829" y="568"/>
                    <a:pt x="829" y="568"/>
                  </a:cubicBezTo>
                  <a:cubicBezTo>
                    <a:pt x="829" y="572"/>
                    <a:pt x="829" y="572"/>
                    <a:pt x="829" y="572"/>
                  </a:cubicBezTo>
                  <a:moveTo>
                    <a:pt x="809" y="572"/>
                  </a:moveTo>
                  <a:cubicBezTo>
                    <a:pt x="821" y="572"/>
                    <a:pt x="821" y="572"/>
                    <a:pt x="821" y="572"/>
                  </a:cubicBezTo>
                  <a:cubicBezTo>
                    <a:pt x="821" y="568"/>
                    <a:pt x="821" y="568"/>
                    <a:pt x="821" y="568"/>
                  </a:cubicBezTo>
                  <a:cubicBezTo>
                    <a:pt x="809" y="568"/>
                    <a:pt x="809" y="568"/>
                    <a:pt x="809" y="568"/>
                  </a:cubicBezTo>
                  <a:cubicBezTo>
                    <a:pt x="809" y="572"/>
                    <a:pt x="809" y="572"/>
                    <a:pt x="809" y="572"/>
                  </a:cubicBezTo>
                  <a:moveTo>
                    <a:pt x="789" y="572"/>
                  </a:moveTo>
                  <a:cubicBezTo>
                    <a:pt x="801" y="572"/>
                    <a:pt x="801" y="572"/>
                    <a:pt x="801" y="572"/>
                  </a:cubicBezTo>
                  <a:cubicBezTo>
                    <a:pt x="801" y="568"/>
                    <a:pt x="801" y="568"/>
                    <a:pt x="801" y="568"/>
                  </a:cubicBezTo>
                  <a:cubicBezTo>
                    <a:pt x="789" y="568"/>
                    <a:pt x="789" y="568"/>
                    <a:pt x="789" y="568"/>
                  </a:cubicBezTo>
                  <a:cubicBezTo>
                    <a:pt x="789" y="572"/>
                    <a:pt x="789" y="572"/>
                    <a:pt x="789" y="572"/>
                  </a:cubicBezTo>
                  <a:moveTo>
                    <a:pt x="769" y="572"/>
                  </a:moveTo>
                  <a:cubicBezTo>
                    <a:pt x="781" y="572"/>
                    <a:pt x="781" y="572"/>
                    <a:pt x="781" y="572"/>
                  </a:cubicBezTo>
                  <a:cubicBezTo>
                    <a:pt x="781" y="568"/>
                    <a:pt x="781" y="568"/>
                    <a:pt x="781" y="568"/>
                  </a:cubicBezTo>
                  <a:cubicBezTo>
                    <a:pt x="769" y="568"/>
                    <a:pt x="769" y="568"/>
                    <a:pt x="769" y="568"/>
                  </a:cubicBezTo>
                  <a:cubicBezTo>
                    <a:pt x="769" y="572"/>
                    <a:pt x="769" y="572"/>
                    <a:pt x="769" y="572"/>
                  </a:cubicBezTo>
                  <a:moveTo>
                    <a:pt x="749" y="572"/>
                  </a:moveTo>
                  <a:cubicBezTo>
                    <a:pt x="761" y="572"/>
                    <a:pt x="761" y="572"/>
                    <a:pt x="761" y="572"/>
                  </a:cubicBezTo>
                  <a:cubicBezTo>
                    <a:pt x="761" y="568"/>
                    <a:pt x="761" y="568"/>
                    <a:pt x="761" y="568"/>
                  </a:cubicBezTo>
                  <a:cubicBezTo>
                    <a:pt x="749" y="568"/>
                    <a:pt x="749" y="568"/>
                    <a:pt x="749" y="568"/>
                  </a:cubicBezTo>
                  <a:cubicBezTo>
                    <a:pt x="749" y="572"/>
                    <a:pt x="749" y="572"/>
                    <a:pt x="749" y="572"/>
                  </a:cubicBezTo>
                  <a:moveTo>
                    <a:pt x="729" y="572"/>
                  </a:moveTo>
                  <a:cubicBezTo>
                    <a:pt x="741" y="572"/>
                    <a:pt x="741" y="572"/>
                    <a:pt x="741" y="572"/>
                  </a:cubicBezTo>
                  <a:cubicBezTo>
                    <a:pt x="741" y="568"/>
                    <a:pt x="741" y="568"/>
                    <a:pt x="741" y="568"/>
                  </a:cubicBezTo>
                  <a:cubicBezTo>
                    <a:pt x="729" y="568"/>
                    <a:pt x="729" y="568"/>
                    <a:pt x="729" y="568"/>
                  </a:cubicBezTo>
                  <a:cubicBezTo>
                    <a:pt x="729" y="572"/>
                    <a:pt x="729" y="572"/>
                    <a:pt x="729" y="572"/>
                  </a:cubicBezTo>
                  <a:moveTo>
                    <a:pt x="709" y="572"/>
                  </a:moveTo>
                  <a:cubicBezTo>
                    <a:pt x="721" y="572"/>
                    <a:pt x="721" y="572"/>
                    <a:pt x="721" y="572"/>
                  </a:cubicBezTo>
                  <a:cubicBezTo>
                    <a:pt x="721" y="568"/>
                    <a:pt x="721" y="568"/>
                    <a:pt x="721" y="568"/>
                  </a:cubicBezTo>
                  <a:cubicBezTo>
                    <a:pt x="709" y="568"/>
                    <a:pt x="709" y="568"/>
                    <a:pt x="709" y="568"/>
                  </a:cubicBezTo>
                  <a:cubicBezTo>
                    <a:pt x="709" y="572"/>
                    <a:pt x="709" y="572"/>
                    <a:pt x="709" y="572"/>
                  </a:cubicBezTo>
                  <a:moveTo>
                    <a:pt x="689" y="572"/>
                  </a:moveTo>
                  <a:cubicBezTo>
                    <a:pt x="701" y="572"/>
                    <a:pt x="701" y="572"/>
                    <a:pt x="701" y="572"/>
                  </a:cubicBezTo>
                  <a:cubicBezTo>
                    <a:pt x="701" y="568"/>
                    <a:pt x="701" y="568"/>
                    <a:pt x="701" y="568"/>
                  </a:cubicBezTo>
                  <a:cubicBezTo>
                    <a:pt x="689" y="568"/>
                    <a:pt x="689" y="568"/>
                    <a:pt x="689" y="568"/>
                  </a:cubicBezTo>
                  <a:cubicBezTo>
                    <a:pt x="689" y="572"/>
                    <a:pt x="689" y="572"/>
                    <a:pt x="689" y="572"/>
                  </a:cubicBezTo>
                  <a:moveTo>
                    <a:pt x="669" y="572"/>
                  </a:moveTo>
                  <a:cubicBezTo>
                    <a:pt x="681" y="572"/>
                    <a:pt x="681" y="572"/>
                    <a:pt x="681" y="572"/>
                  </a:cubicBezTo>
                  <a:cubicBezTo>
                    <a:pt x="681" y="568"/>
                    <a:pt x="681" y="568"/>
                    <a:pt x="681" y="568"/>
                  </a:cubicBezTo>
                  <a:cubicBezTo>
                    <a:pt x="669" y="568"/>
                    <a:pt x="669" y="568"/>
                    <a:pt x="669" y="568"/>
                  </a:cubicBezTo>
                  <a:cubicBezTo>
                    <a:pt x="669" y="572"/>
                    <a:pt x="669" y="572"/>
                    <a:pt x="669" y="572"/>
                  </a:cubicBezTo>
                  <a:moveTo>
                    <a:pt x="649" y="572"/>
                  </a:moveTo>
                  <a:cubicBezTo>
                    <a:pt x="661" y="572"/>
                    <a:pt x="661" y="572"/>
                    <a:pt x="661" y="572"/>
                  </a:cubicBezTo>
                  <a:cubicBezTo>
                    <a:pt x="661" y="568"/>
                    <a:pt x="661" y="568"/>
                    <a:pt x="661" y="568"/>
                  </a:cubicBezTo>
                  <a:cubicBezTo>
                    <a:pt x="649" y="568"/>
                    <a:pt x="649" y="568"/>
                    <a:pt x="649" y="568"/>
                  </a:cubicBezTo>
                  <a:cubicBezTo>
                    <a:pt x="649" y="572"/>
                    <a:pt x="649" y="572"/>
                    <a:pt x="649" y="572"/>
                  </a:cubicBezTo>
                  <a:moveTo>
                    <a:pt x="629" y="572"/>
                  </a:moveTo>
                  <a:cubicBezTo>
                    <a:pt x="641" y="572"/>
                    <a:pt x="641" y="572"/>
                    <a:pt x="641" y="572"/>
                  </a:cubicBezTo>
                  <a:cubicBezTo>
                    <a:pt x="641" y="568"/>
                    <a:pt x="641" y="568"/>
                    <a:pt x="641" y="568"/>
                  </a:cubicBezTo>
                  <a:cubicBezTo>
                    <a:pt x="629" y="568"/>
                    <a:pt x="629" y="568"/>
                    <a:pt x="629" y="568"/>
                  </a:cubicBezTo>
                  <a:cubicBezTo>
                    <a:pt x="629" y="572"/>
                    <a:pt x="629" y="572"/>
                    <a:pt x="629" y="572"/>
                  </a:cubicBezTo>
                  <a:moveTo>
                    <a:pt x="609" y="572"/>
                  </a:moveTo>
                  <a:cubicBezTo>
                    <a:pt x="621" y="572"/>
                    <a:pt x="621" y="572"/>
                    <a:pt x="621" y="572"/>
                  </a:cubicBezTo>
                  <a:cubicBezTo>
                    <a:pt x="621" y="568"/>
                    <a:pt x="621" y="568"/>
                    <a:pt x="621" y="568"/>
                  </a:cubicBezTo>
                  <a:cubicBezTo>
                    <a:pt x="609" y="568"/>
                    <a:pt x="609" y="568"/>
                    <a:pt x="609" y="568"/>
                  </a:cubicBezTo>
                  <a:cubicBezTo>
                    <a:pt x="609" y="572"/>
                    <a:pt x="609" y="572"/>
                    <a:pt x="609" y="572"/>
                  </a:cubicBezTo>
                  <a:moveTo>
                    <a:pt x="589" y="572"/>
                  </a:moveTo>
                  <a:cubicBezTo>
                    <a:pt x="601" y="572"/>
                    <a:pt x="601" y="572"/>
                    <a:pt x="601" y="572"/>
                  </a:cubicBezTo>
                  <a:cubicBezTo>
                    <a:pt x="601" y="568"/>
                    <a:pt x="601" y="568"/>
                    <a:pt x="601" y="568"/>
                  </a:cubicBezTo>
                  <a:cubicBezTo>
                    <a:pt x="589" y="568"/>
                    <a:pt x="589" y="568"/>
                    <a:pt x="589" y="568"/>
                  </a:cubicBezTo>
                  <a:cubicBezTo>
                    <a:pt x="589" y="572"/>
                    <a:pt x="589" y="572"/>
                    <a:pt x="589" y="572"/>
                  </a:cubicBezTo>
                  <a:moveTo>
                    <a:pt x="569" y="572"/>
                  </a:moveTo>
                  <a:cubicBezTo>
                    <a:pt x="581" y="572"/>
                    <a:pt x="581" y="572"/>
                    <a:pt x="581" y="572"/>
                  </a:cubicBezTo>
                  <a:cubicBezTo>
                    <a:pt x="581" y="568"/>
                    <a:pt x="581" y="568"/>
                    <a:pt x="581" y="568"/>
                  </a:cubicBezTo>
                  <a:cubicBezTo>
                    <a:pt x="569" y="568"/>
                    <a:pt x="569" y="568"/>
                    <a:pt x="569" y="568"/>
                  </a:cubicBezTo>
                  <a:cubicBezTo>
                    <a:pt x="569" y="572"/>
                    <a:pt x="569" y="572"/>
                    <a:pt x="569" y="572"/>
                  </a:cubicBezTo>
                  <a:moveTo>
                    <a:pt x="549" y="572"/>
                  </a:moveTo>
                  <a:cubicBezTo>
                    <a:pt x="561" y="572"/>
                    <a:pt x="561" y="572"/>
                    <a:pt x="561" y="572"/>
                  </a:cubicBezTo>
                  <a:cubicBezTo>
                    <a:pt x="561" y="568"/>
                    <a:pt x="561" y="568"/>
                    <a:pt x="561" y="568"/>
                  </a:cubicBezTo>
                  <a:cubicBezTo>
                    <a:pt x="549" y="568"/>
                    <a:pt x="549" y="568"/>
                    <a:pt x="549" y="568"/>
                  </a:cubicBezTo>
                  <a:cubicBezTo>
                    <a:pt x="549" y="572"/>
                    <a:pt x="549" y="572"/>
                    <a:pt x="549" y="572"/>
                  </a:cubicBezTo>
                  <a:moveTo>
                    <a:pt x="529" y="572"/>
                  </a:moveTo>
                  <a:cubicBezTo>
                    <a:pt x="541" y="572"/>
                    <a:pt x="541" y="572"/>
                    <a:pt x="541" y="572"/>
                  </a:cubicBezTo>
                  <a:cubicBezTo>
                    <a:pt x="541" y="568"/>
                    <a:pt x="541" y="568"/>
                    <a:pt x="541" y="568"/>
                  </a:cubicBezTo>
                  <a:cubicBezTo>
                    <a:pt x="529" y="568"/>
                    <a:pt x="529" y="568"/>
                    <a:pt x="529" y="568"/>
                  </a:cubicBezTo>
                  <a:cubicBezTo>
                    <a:pt x="529" y="572"/>
                    <a:pt x="529" y="572"/>
                    <a:pt x="529" y="572"/>
                  </a:cubicBezTo>
                  <a:moveTo>
                    <a:pt x="509" y="572"/>
                  </a:moveTo>
                  <a:cubicBezTo>
                    <a:pt x="521" y="572"/>
                    <a:pt x="521" y="572"/>
                    <a:pt x="521" y="572"/>
                  </a:cubicBezTo>
                  <a:cubicBezTo>
                    <a:pt x="521" y="568"/>
                    <a:pt x="521" y="568"/>
                    <a:pt x="521" y="568"/>
                  </a:cubicBezTo>
                  <a:cubicBezTo>
                    <a:pt x="509" y="568"/>
                    <a:pt x="509" y="568"/>
                    <a:pt x="509" y="568"/>
                  </a:cubicBezTo>
                  <a:cubicBezTo>
                    <a:pt x="509" y="572"/>
                    <a:pt x="509" y="572"/>
                    <a:pt x="509" y="572"/>
                  </a:cubicBezTo>
                  <a:moveTo>
                    <a:pt x="489" y="572"/>
                  </a:moveTo>
                  <a:cubicBezTo>
                    <a:pt x="501" y="572"/>
                    <a:pt x="501" y="572"/>
                    <a:pt x="501" y="572"/>
                  </a:cubicBezTo>
                  <a:cubicBezTo>
                    <a:pt x="501" y="568"/>
                    <a:pt x="501" y="568"/>
                    <a:pt x="501" y="568"/>
                  </a:cubicBezTo>
                  <a:cubicBezTo>
                    <a:pt x="489" y="568"/>
                    <a:pt x="489" y="568"/>
                    <a:pt x="489" y="568"/>
                  </a:cubicBezTo>
                  <a:cubicBezTo>
                    <a:pt x="489" y="572"/>
                    <a:pt x="489" y="572"/>
                    <a:pt x="489" y="572"/>
                  </a:cubicBezTo>
                  <a:moveTo>
                    <a:pt x="469" y="572"/>
                  </a:moveTo>
                  <a:cubicBezTo>
                    <a:pt x="481" y="572"/>
                    <a:pt x="481" y="572"/>
                    <a:pt x="481" y="572"/>
                  </a:cubicBezTo>
                  <a:cubicBezTo>
                    <a:pt x="481" y="568"/>
                    <a:pt x="481" y="568"/>
                    <a:pt x="481" y="568"/>
                  </a:cubicBezTo>
                  <a:cubicBezTo>
                    <a:pt x="469" y="568"/>
                    <a:pt x="469" y="568"/>
                    <a:pt x="469" y="568"/>
                  </a:cubicBezTo>
                  <a:cubicBezTo>
                    <a:pt x="469" y="572"/>
                    <a:pt x="469" y="572"/>
                    <a:pt x="469" y="572"/>
                  </a:cubicBezTo>
                  <a:moveTo>
                    <a:pt x="449" y="572"/>
                  </a:moveTo>
                  <a:cubicBezTo>
                    <a:pt x="461" y="572"/>
                    <a:pt x="461" y="572"/>
                    <a:pt x="461" y="572"/>
                  </a:cubicBezTo>
                  <a:cubicBezTo>
                    <a:pt x="461" y="568"/>
                    <a:pt x="461" y="568"/>
                    <a:pt x="461" y="568"/>
                  </a:cubicBezTo>
                  <a:cubicBezTo>
                    <a:pt x="449" y="568"/>
                    <a:pt x="449" y="568"/>
                    <a:pt x="449" y="568"/>
                  </a:cubicBezTo>
                  <a:cubicBezTo>
                    <a:pt x="449" y="572"/>
                    <a:pt x="449" y="572"/>
                    <a:pt x="449" y="572"/>
                  </a:cubicBezTo>
                  <a:moveTo>
                    <a:pt x="429" y="572"/>
                  </a:moveTo>
                  <a:cubicBezTo>
                    <a:pt x="441" y="572"/>
                    <a:pt x="441" y="572"/>
                    <a:pt x="441" y="572"/>
                  </a:cubicBezTo>
                  <a:cubicBezTo>
                    <a:pt x="441" y="568"/>
                    <a:pt x="441" y="568"/>
                    <a:pt x="441" y="568"/>
                  </a:cubicBezTo>
                  <a:cubicBezTo>
                    <a:pt x="429" y="568"/>
                    <a:pt x="429" y="568"/>
                    <a:pt x="429" y="568"/>
                  </a:cubicBezTo>
                  <a:cubicBezTo>
                    <a:pt x="429" y="572"/>
                    <a:pt x="429" y="572"/>
                    <a:pt x="429" y="572"/>
                  </a:cubicBezTo>
                  <a:moveTo>
                    <a:pt x="409" y="572"/>
                  </a:moveTo>
                  <a:cubicBezTo>
                    <a:pt x="421" y="572"/>
                    <a:pt x="421" y="572"/>
                    <a:pt x="421" y="572"/>
                  </a:cubicBezTo>
                  <a:cubicBezTo>
                    <a:pt x="421" y="568"/>
                    <a:pt x="421" y="568"/>
                    <a:pt x="421" y="568"/>
                  </a:cubicBezTo>
                  <a:cubicBezTo>
                    <a:pt x="409" y="568"/>
                    <a:pt x="409" y="568"/>
                    <a:pt x="409" y="568"/>
                  </a:cubicBezTo>
                  <a:cubicBezTo>
                    <a:pt x="409" y="572"/>
                    <a:pt x="409" y="572"/>
                    <a:pt x="409" y="572"/>
                  </a:cubicBezTo>
                  <a:moveTo>
                    <a:pt x="389" y="572"/>
                  </a:moveTo>
                  <a:cubicBezTo>
                    <a:pt x="401" y="572"/>
                    <a:pt x="401" y="572"/>
                    <a:pt x="401" y="572"/>
                  </a:cubicBezTo>
                  <a:cubicBezTo>
                    <a:pt x="401" y="568"/>
                    <a:pt x="401" y="568"/>
                    <a:pt x="401" y="568"/>
                  </a:cubicBezTo>
                  <a:cubicBezTo>
                    <a:pt x="389" y="568"/>
                    <a:pt x="389" y="568"/>
                    <a:pt x="389" y="568"/>
                  </a:cubicBezTo>
                  <a:cubicBezTo>
                    <a:pt x="389" y="572"/>
                    <a:pt x="389" y="572"/>
                    <a:pt x="389" y="572"/>
                  </a:cubicBezTo>
                  <a:moveTo>
                    <a:pt x="369" y="572"/>
                  </a:moveTo>
                  <a:cubicBezTo>
                    <a:pt x="381" y="572"/>
                    <a:pt x="381" y="572"/>
                    <a:pt x="381" y="572"/>
                  </a:cubicBezTo>
                  <a:cubicBezTo>
                    <a:pt x="381" y="568"/>
                    <a:pt x="381" y="568"/>
                    <a:pt x="381" y="568"/>
                  </a:cubicBezTo>
                  <a:cubicBezTo>
                    <a:pt x="369" y="568"/>
                    <a:pt x="369" y="568"/>
                    <a:pt x="369" y="568"/>
                  </a:cubicBezTo>
                  <a:cubicBezTo>
                    <a:pt x="369" y="572"/>
                    <a:pt x="369" y="572"/>
                    <a:pt x="369" y="572"/>
                  </a:cubicBezTo>
                  <a:moveTo>
                    <a:pt x="349" y="572"/>
                  </a:moveTo>
                  <a:cubicBezTo>
                    <a:pt x="361" y="572"/>
                    <a:pt x="361" y="572"/>
                    <a:pt x="361" y="572"/>
                  </a:cubicBezTo>
                  <a:cubicBezTo>
                    <a:pt x="361" y="568"/>
                    <a:pt x="361" y="568"/>
                    <a:pt x="361" y="568"/>
                  </a:cubicBezTo>
                  <a:cubicBezTo>
                    <a:pt x="349" y="568"/>
                    <a:pt x="349" y="568"/>
                    <a:pt x="349" y="568"/>
                  </a:cubicBezTo>
                  <a:cubicBezTo>
                    <a:pt x="349" y="572"/>
                    <a:pt x="349" y="572"/>
                    <a:pt x="349" y="572"/>
                  </a:cubicBezTo>
                  <a:moveTo>
                    <a:pt x="329" y="572"/>
                  </a:moveTo>
                  <a:cubicBezTo>
                    <a:pt x="341" y="572"/>
                    <a:pt x="341" y="572"/>
                    <a:pt x="341" y="572"/>
                  </a:cubicBezTo>
                  <a:cubicBezTo>
                    <a:pt x="341" y="568"/>
                    <a:pt x="341" y="568"/>
                    <a:pt x="341" y="568"/>
                  </a:cubicBezTo>
                  <a:cubicBezTo>
                    <a:pt x="329" y="568"/>
                    <a:pt x="329" y="568"/>
                    <a:pt x="329" y="568"/>
                  </a:cubicBezTo>
                  <a:cubicBezTo>
                    <a:pt x="329" y="572"/>
                    <a:pt x="329" y="572"/>
                    <a:pt x="329" y="572"/>
                  </a:cubicBezTo>
                  <a:moveTo>
                    <a:pt x="309" y="572"/>
                  </a:moveTo>
                  <a:cubicBezTo>
                    <a:pt x="321" y="572"/>
                    <a:pt x="321" y="572"/>
                    <a:pt x="321" y="572"/>
                  </a:cubicBezTo>
                  <a:cubicBezTo>
                    <a:pt x="321" y="568"/>
                    <a:pt x="321" y="568"/>
                    <a:pt x="321" y="568"/>
                  </a:cubicBezTo>
                  <a:cubicBezTo>
                    <a:pt x="309" y="568"/>
                    <a:pt x="309" y="568"/>
                    <a:pt x="309" y="568"/>
                  </a:cubicBezTo>
                  <a:cubicBezTo>
                    <a:pt x="309" y="572"/>
                    <a:pt x="309" y="572"/>
                    <a:pt x="309" y="572"/>
                  </a:cubicBezTo>
                  <a:moveTo>
                    <a:pt x="289" y="572"/>
                  </a:moveTo>
                  <a:cubicBezTo>
                    <a:pt x="301" y="572"/>
                    <a:pt x="301" y="572"/>
                    <a:pt x="301" y="572"/>
                  </a:cubicBezTo>
                  <a:cubicBezTo>
                    <a:pt x="301" y="568"/>
                    <a:pt x="301" y="568"/>
                    <a:pt x="301" y="568"/>
                  </a:cubicBezTo>
                  <a:cubicBezTo>
                    <a:pt x="289" y="568"/>
                    <a:pt x="289" y="568"/>
                    <a:pt x="289" y="568"/>
                  </a:cubicBezTo>
                  <a:cubicBezTo>
                    <a:pt x="289" y="572"/>
                    <a:pt x="289" y="572"/>
                    <a:pt x="289" y="572"/>
                  </a:cubicBezTo>
                  <a:moveTo>
                    <a:pt x="269" y="572"/>
                  </a:moveTo>
                  <a:cubicBezTo>
                    <a:pt x="281" y="572"/>
                    <a:pt x="281" y="572"/>
                    <a:pt x="281" y="572"/>
                  </a:cubicBezTo>
                  <a:cubicBezTo>
                    <a:pt x="281" y="568"/>
                    <a:pt x="281" y="568"/>
                    <a:pt x="281" y="568"/>
                  </a:cubicBezTo>
                  <a:cubicBezTo>
                    <a:pt x="269" y="568"/>
                    <a:pt x="269" y="568"/>
                    <a:pt x="269" y="568"/>
                  </a:cubicBezTo>
                  <a:cubicBezTo>
                    <a:pt x="269" y="572"/>
                    <a:pt x="269" y="572"/>
                    <a:pt x="269" y="572"/>
                  </a:cubicBezTo>
                  <a:moveTo>
                    <a:pt x="249" y="572"/>
                  </a:moveTo>
                  <a:cubicBezTo>
                    <a:pt x="261" y="572"/>
                    <a:pt x="261" y="572"/>
                    <a:pt x="261" y="572"/>
                  </a:cubicBezTo>
                  <a:cubicBezTo>
                    <a:pt x="261" y="568"/>
                    <a:pt x="261" y="568"/>
                    <a:pt x="261" y="568"/>
                  </a:cubicBezTo>
                  <a:cubicBezTo>
                    <a:pt x="249" y="568"/>
                    <a:pt x="249" y="568"/>
                    <a:pt x="249" y="568"/>
                  </a:cubicBezTo>
                  <a:cubicBezTo>
                    <a:pt x="249" y="572"/>
                    <a:pt x="249" y="572"/>
                    <a:pt x="249" y="572"/>
                  </a:cubicBezTo>
                  <a:moveTo>
                    <a:pt x="229" y="572"/>
                  </a:moveTo>
                  <a:cubicBezTo>
                    <a:pt x="241" y="572"/>
                    <a:pt x="241" y="572"/>
                    <a:pt x="241" y="572"/>
                  </a:cubicBezTo>
                  <a:cubicBezTo>
                    <a:pt x="241" y="568"/>
                    <a:pt x="241" y="568"/>
                    <a:pt x="241" y="568"/>
                  </a:cubicBezTo>
                  <a:cubicBezTo>
                    <a:pt x="229" y="568"/>
                    <a:pt x="229" y="568"/>
                    <a:pt x="229" y="568"/>
                  </a:cubicBezTo>
                  <a:cubicBezTo>
                    <a:pt x="229" y="572"/>
                    <a:pt x="229" y="572"/>
                    <a:pt x="229" y="572"/>
                  </a:cubicBezTo>
                  <a:moveTo>
                    <a:pt x="209" y="572"/>
                  </a:moveTo>
                  <a:cubicBezTo>
                    <a:pt x="221" y="572"/>
                    <a:pt x="221" y="572"/>
                    <a:pt x="221" y="572"/>
                  </a:cubicBezTo>
                  <a:cubicBezTo>
                    <a:pt x="221" y="568"/>
                    <a:pt x="221" y="568"/>
                    <a:pt x="221" y="568"/>
                  </a:cubicBezTo>
                  <a:cubicBezTo>
                    <a:pt x="209" y="568"/>
                    <a:pt x="209" y="568"/>
                    <a:pt x="209" y="568"/>
                  </a:cubicBezTo>
                  <a:cubicBezTo>
                    <a:pt x="209" y="572"/>
                    <a:pt x="209" y="572"/>
                    <a:pt x="209" y="572"/>
                  </a:cubicBezTo>
                  <a:moveTo>
                    <a:pt x="189" y="572"/>
                  </a:moveTo>
                  <a:cubicBezTo>
                    <a:pt x="201" y="572"/>
                    <a:pt x="201" y="572"/>
                    <a:pt x="201" y="572"/>
                  </a:cubicBezTo>
                  <a:cubicBezTo>
                    <a:pt x="201" y="568"/>
                    <a:pt x="201" y="568"/>
                    <a:pt x="201" y="568"/>
                  </a:cubicBezTo>
                  <a:cubicBezTo>
                    <a:pt x="189" y="568"/>
                    <a:pt x="189" y="568"/>
                    <a:pt x="189" y="568"/>
                  </a:cubicBezTo>
                  <a:cubicBezTo>
                    <a:pt x="189" y="572"/>
                    <a:pt x="189" y="572"/>
                    <a:pt x="189" y="572"/>
                  </a:cubicBezTo>
                  <a:moveTo>
                    <a:pt x="169" y="573"/>
                  </a:moveTo>
                  <a:cubicBezTo>
                    <a:pt x="173" y="573"/>
                    <a:pt x="177" y="572"/>
                    <a:pt x="181" y="572"/>
                  </a:cubicBezTo>
                  <a:cubicBezTo>
                    <a:pt x="181" y="568"/>
                    <a:pt x="181" y="568"/>
                    <a:pt x="181" y="568"/>
                  </a:cubicBezTo>
                  <a:cubicBezTo>
                    <a:pt x="177" y="568"/>
                    <a:pt x="173" y="569"/>
                    <a:pt x="169" y="569"/>
                  </a:cubicBezTo>
                  <a:cubicBezTo>
                    <a:pt x="169" y="573"/>
                    <a:pt x="169" y="573"/>
                    <a:pt x="169" y="573"/>
                  </a:cubicBezTo>
                  <a:moveTo>
                    <a:pt x="149" y="576"/>
                  </a:moveTo>
                  <a:cubicBezTo>
                    <a:pt x="153" y="575"/>
                    <a:pt x="157" y="574"/>
                    <a:pt x="161" y="574"/>
                  </a:cubicBezTo>
                  <a:cubicBezTo>
                    <a:pt x="161" y="570"/>
                    <a:pt x="161" y="570"/>
                    <a:pt x="161" y="570"/>
                  </a:cubicBezTo>
                  <a:cubicBezTo>
                    <a:pt x="156" y="570"/>
                    <a:pt x="152" y="571"/>
                    <a:pt x="149" y="572"/>
                  </a:cubicBezTo>
                  <a:cubicBezTo>
                    <a:pt x="149" y="576"/>
                    <a:pt x="149" y="576"/>
                    <a:pt x="149" y="576"/>
                  </a:cubicBezTo>
                  <a:moveTo>
                    <a:pt x="130" y="580"/>
                  </a:moveTo>
                  <a:cubicBezTo>
                    <a:pt x="134" y="579"/>
                    <a:pt x="138" y="578"/>
                    <a:pt x="142" y="577"/>
                  </a:cubicBezTo>
                  <a:cubicBezTo>
                    <a:pt x="141" y="573"/>
                    <a:pt x="141" y="573"/>
                    <a:pt x="141" y="573"/>
                  </a:cubicBezTo>
                  <a:cubicBezTo>
                    <a:pt x="137" y="574"/>
                    <a:pt x="133" y="575"/>
                    <a:pt x="129" y="576"/>
                  </a:cubicBezTo>
                  <a:cubicBezTo>
                    <a:pt x="130" y="580"/>
                    <a:pt x="130" y="580"/>
                    <a:pt x="130" y="580"/>
                  </a:cubicBezTo>
                  <a:moveTo>
                    <a:pt x="112" y="587"/>
                  </a:moveTo>
                  <a:cubicBezTo>
                    <a:pt x="115" y="586"/>
                    <a:pt x="119" y="584"/>
                    <a:pt x="123" y="583"/>
                  </a:cubicBezTo>
                  <a:cubicBezTo>
                    <a:pt x="121" y="579"/>
                    <a:pt x="121" y="579"/>
                    <a:pt x="121" y="579"/>
                  </a:cubicBezTo>
                  <a:cubicBezTo>
                    <a:pt x="117" y="580"/>
                    <a:pt x="114" y="582"/>
                    <a:pt x="110" y="584"/>
                  </a:cubicBezTo>
                  <a:cubicBezTo>
                    <a:pt x="112" y="587"/>
                    <a:pt x="112" y="587"/>
                    <a:pt x="112" y="587"/>
                  </a:cubicBezTo>
                  <a:moveTo>
                    <a:pt x="94" y="596"/>
                  </a:moveTo>
                  <a:cubicBezTo>
                    <a:pt x="97" y="594"/>
                    <a:pt x="101" y="592"/>
                    <a:pt x="104" y="590"/>
                  </a:cubicBezTo>
                  <a:cubicBezTo>
                    <a:pt x="103" y="587"/>
                    <a:pt x="103" y="587"/>
                    <a:pt x="103" y="587"/>
                  </a:cubicBezTo>
                  <a:cubicBezTo>
                    <a:pt x="99" y="589"/>
                    <a:pt x="95" y="591"/>
                    <a:pt x="92" y="593"/>
                  </a:cubicBezTo>
                  <a:cubicBezTo>
                    <a:pt x="94" y="596"/>
                    <a:pt x="94" y="596"/>
                    <a:pt x="94" y="596"/>
                  </a:cubicBezTo>
                  <a:moveTo>
                    <a:pt x="77" y="607"/>
                  </a:moveTo>
                  <a:cubicBezTo>
                    <a:pt x="81" y="604"/>
                    <a:pt x="84" y="602"/>
                    <a:pt x="87" y="600"/>
                  </a:cubicBezTo>
                  <a:cubicBezTo>
                    <a:pt x="85" y="597"/>
                    <a:pt x="85" y="597"/>
                    <a:pt x="85" y="597"/>
                  </a:cubicBezTo>
                  <a:cubicBezTo>
                    <a:pt x="82" y="599"/>
                    <a:pt x="78" y="601"/>
                    <a:pt x="75" y="604"/>
                  </a:cubicBezTo>
                  <a:cubicBezTo>
                    <a:pt x="77" y="607"/>
                    <a:pt x="77" y="607"/>
                    <a:pt x="77" y="607"/>
                  </a:cubicBezTo>
                  <a:moveTo>
                    <a:pt x="62" y="619"/>
                  </a:moveTo>
                  <a:cubicBezTo>
                    <a:pt x="65" y="617"/>
                    <a:pt x="68" y="614"/>
                    <a:pt x="71" y="612"/>
                  </a:cubicBezTo>
                  <a:cubicBezTo>
                    <a:pt x="69" y="609"/>
                    <a:pt x="69" y="609"/>
                    <a:pt x="69" y="609"/>
                  </a:cubicBezTo>
                  <a:cubicBezTo>
                    <a:pt x="66" y="611"/>
                    <a:pt x="62" y="614"/>
                    <a:pt x="59" y="616"/>
                  </a:cubicBezTo>
                  <a:cubicBezTo>
                    <a:pt x="62" y="619"/>
                    <a:pt x="62" y="619"/>
                    <a:pt x="62" y="619"/>
                  </a:cubicBezTo>
                  <a:moveTo>
                    <a:pt x="48" y="634"/>
                  </a:moveTo>
                  <a:cubicBezTo>
                    <a:pt x="51" y="631"/>
                    <a:pt x="54" y="628"/>
                    <a:pt x="56" y="625"/>
                  </a:cubicBezTo>
                  <a:cubicBezTo>
                    <a:pt x="54" y="622"/>
                    <a:pt x="54" y="622"/>
                    <a:pt x="54" y="622"/>
                  </a:cubicBezTo>
                  <a:cubicBezTo>
                    <a:pt x="51" y="625"/>
                    <a:pt x="48" y="628"/>
                    <a:pt x="45" y="631"/>
                  </a:cubicBezTo>
                  <a:cubicBezTo>
                    <a:pt x="48" y="634"/>
                    <a:pt x="48" y="634"/>
                    <a:pt x="48" y="634"/>
                  </a:cubicBezTo>
                  <a:cubicBezTo>
                    <a:pt x="48" y="634"/>
                    <a:pt x="48" y="634"/>
                    <a:pt x="48" y="634"/>
                  </a:cubicBezTo>
                  <a:moveTo>
                    <a:pt x="36" y="649"/>
                  </a:moveTo>
                  <a:cubicBezTo>
                    <a:pt x="38" y="646"/>
                    <a:pt x="41" y="643"/>
                    <a:pt x="43" y="640"/>
                  </a:cubicBezTo>
                  <a:cubicBezTo>
                    <a:pt x="40" y="637"/>
                    <a:pt x="40" y="637"/>
                    <a:pt x="40" y="637"/>
                  </a:cubicBezTo>
                  <a:cubicBezTo>
                    <a:pt x="38" y="640"/>
                    <a:pt x="35" y="643"/>
                    <a:pt x="33" y="647"/>
                  </a:cubicBezTo>
                  <a:cubicBezTo>
                    <a:pt x="36" y="649"/>
                    <a:pt x="36" y="649"/>
                    <a:pt x="36" y="649"/>
                  </a:cubicBezTo>
                  <a:moveTo>
                    <a:pt x="26" y="666"/>
                  </a:moveTo>
                  <a:cubicBezTo>
                    <a:pt x="28" y="662"/>
                    <a:pt x="30" y="659"/>
                    <a:pt x="32" y="656"/>
                  </a:cubicBezTo>
                  <a:cubicBezTo>
                    <a:pt x="28" y="654"/>
                    <a:pt x="28" y="654"/>
                    <a:pt x="28" y="654"/>
                  </a:cubicBezTo>
                  <a:cubicBezTo>
                    <a:pt x="26" y="657"/>
                    <a:pt x="24" y="660"/>
                    <a:pt x="22" y="664"/>
                  </a:cubicBezTo>
                  <a:cubicBezTo>
                    <a:pt x="26" y="666"/>
                    <a:pt x="26" y="666"/>
                    <a:pt x="26" y="666"/>
                  </a:cubicBezTo>
                  <a:cubicBezTo>
                    <a:pt x="26" y="666"/>
                    <a:pt x="26" y="666"/>
                    <a:pt x="26" y="666"/>
                  </a:cubicBezTo>
                  <a:moveTo>
                    <a:pt x="17" y="684"/>
                  </a:moveTo>
                  <a:cubicBezTo>
                    <a:pt x="19" y="680"/>
                    <a:pt x="20" y="677"/>
                    <a:pt x="22" y="673"/>
                  </a:cubicBezTo>
                  <a:cubicBezTo>
                    <a:pt x="19" y="671"/>
                    <a:pt x="19" y="671"/>
                    <a:pt x="19" y="671"/>
                  </a:cubicBezTo>
                  <a:cubicBezTo>
                    <a:pt x="17" y="675"/>
                    <a:pt x="15" y="679"/>
                    <a:pt x="14" y="682"/>
                  </a:cubicBezTo>
                  <a:cubicBezTo>
                    <a:pt x="17" y="684"/>
                    <a:pt x="17" y="684"/>
                    <a:pt x="17" y="684"/>
                  </a:cubicBezTo>
                  <a:moveTo>
                    <a:pt x="11" y="703"/>
                  </a:moveTo>
                  <a:cubicBezTo>
                    <a:pt x="12" y="699"/>
                    <a:pt x="13" y="695"/>
                    <a:pt x="15" y="691"/>
                  </a:cubicBezTo>
                  <a:cubicBezTo>
                    <a:pt x="11" y="690"/>
                    <a:pt x="11" y="690"/>
                    <a:pt x="11" y="690"/>
                  </a:cubicBezTo>
                  <a:cubicBezTo>
                    <a:pt x="9" y="694"/>
                    <a:pt x="8" y="698"/>
                    <a:pt x="7" y="701"/>
                  </a:cubicBezTo>
                  <a:cubicBezTo>
                    <a:pt x="11" y="703"/>
                    <a:pt x="11" y="703"/>
                    <a:pt x="11" y="703"/>
                  </a:cubicBezTo>
                  <a:moveTo>
                    <a:pt x="7" y="722"/>
                  </a:moveTo>
                  <a:cubicBezTo>
                    <a:pt x="7" y="718"/>
                    <a:pt x="8" y="714"/>
                    <a:pt x="9" y="710"/>
                  </a:cubicBezTo>
                  <a:cubicBezTo>
                    <a:pt x="5" y="709"/>
                    <a:pt x="5" y="709"/>
                    <a:pt x="5" y="709"/>
                  </a:cubicBezTo>
                  <a:cubicBezTo>
                    <a:pt x="4" y="713"/>
                    <a:pt x="3" y="717"/>
                    <a:pt x="3" y="721"/>
                  </a:cubicBezTo>
                  <a:cubicBezTo>
                    <a:pt x="7" y="722"/>
                    <a:pt x="7" y="722"/>
                    <a:pt x="7" y="722"/>
                  </a:cubicBezTo>
                  <a:moveTo>
                    <a:pt x="5" y="741"/>
                  </a:moveTo>
                  <a:cubicBezTo>
                    <a:pt x="5" y="738"/>
                    <a:pt x="5" y="734"/>
                    <a:pt x="6" y="730"/>
                  </a:cubicBezTo>
                  <a:cubicBezTo>
                    <a:pt x="2" y="729"/>
                    <a:pt x="2" y="729"/>
                    <a:pt x="2" y="729"/>
                  </a:cubicBezTo>
                  <a:cubicBezTo>
                    <a:pt x="1" y="733"/>
                    <a:pt x="1" y="737"/>
                    <a:pt x="1" y="741"/>
                  </a:cubicBezTo>
                  <a:cubicBezTo>
                    <a:pt x="5" y="741"/>
                    <a:pt x="5" y="741"/>
                    <a:pt x="5" y="741"/>
                  </a:cubicBezTo>
                  <a:moveTo>
                    <a:pt x="5" y="761"/>
                  </a:moveTo>
                  <a:cubicBezTo>
                    <a:pt x="4" y="758"/>
                    <a:pt x="4" y="754"/>
                    <a:pt x="4" y="751"/>
                  </a:cubicBezTo>
                  <a:cubicBezTo>
                    <a:pt x="4" y="750"/>
                    <a:pt x="4" y="750"/>
                    <a:pt x="4" y="749"/>
                  </a:cubicBezTo>
                  <a:cubicBezTo>
                    <a:pt x="0" y="749"/>
                    <a:pt x="0" y="749"/>
                    <a:pt x="0" y="749"/>
                  </a:cubicBezTo>
                  <a:cubicBezTo>
                    <a:pt x="0" y="750"/>
                    <a:pt x="0" y="750"/>
                    <a:pt x="0" y="751"/>
                  </a:cubicBezTo>
                  <a:cubicBezTo>
                    <a:pt x="0" y="755"/>
                    <a:pt x="0" y="758"/>
                    <a:pt x="1" y="761"/>
                  </a:cubicBezTo>
                  <a:cubicBezTo>
                    <a:pt x="5" y="761"/>
                    <a:pt x="5" y="761"/>
                    <a:pt x="5" y="761"/>
                  </a:cubicBezTo>
                  <a:moveTo>
                    <a:pt x="7" y="781"/>
                  </a:moveTo>
                  <a:cubicBezTo>
                    <a:pt x="6" y="777"/>
                    <a:pt x="6" y="773"/>
                    <a:pt x="5" y="769"/>
                  </a:cubicBezTo>
                  <a:cubicBezTo>
                    <a:pt x="1" y="770"/>
                    <a:pt x="1" y="770"/>
                    <a:pt x="1" y="770"/>
                  </a:cubicBezTo>
                  <a:cubicBezTo>
                    <a:pt x="2" y="774"/>
                    <a:pt x="2" y="778"/>
                    <a:pt x="3" y="782"/>
                  </a:cubicBezTo>
                  <a:cubicBezTo>
                    <a:pt x="7" y="781"/>
                    <a:pt x="7" y="781"/>
                    <a:pt x="7" y="781"/>
                  </a:cubicBezTo>
                  <a:cubicBezTo>
                    <a:pt x="7" y="781"/>
                    <a:pt x="7" y="781"/>
                    <a:pt x="7" y="781"/>
                  </a:cubicBezTo>
                  <a:moveTo>
                    <a:pt x="11" y="800"/>
                  </a:moveTo>
                  <a:cubicBezTo>
                    <a:pt x="10" y="796"/>
                    <a:pt x="9" y="793"/>
                    <a:pt x="8" y="789"/>
                  </a:cubicBezTo>
                  <a:cubicBezTo>
                    <a:pt x="4" y="789"/>
                    <a:pt x="4" y="789"/>
                    <a:pt x="4" y="789"/>
                  </a:cubicBezTo>
                  <a:cubicBezTo>
                    <a:pt x="5" y="793"/>
                    <a:pt x="6" y="797"/>
                    <a:pt x="7" y="801"/>
                  </a:cubicBezTo>
                  <a:cubicBezTo>
                    <a:pt x="11" y="800"/>
                    <a:pt x="11" y="800"/>
                    <a:pt x="11" y="800"/>
                  </a:cubicBezTo>
                  <a:moveTo>
                    <a:pt x="18" y="819"/>
                  </a:moveTo>
                  <a:cubicBezTo>
                    <a:pt x="16" y="815"/>
                    <a:pt x="15" y="811"/>
                    <a:pt x="13" y="808"/>
                  </a:cubicBezTo>
                  <a:cubicBezTo>
                    <a:pt x="10" y="809"/>
                    <a:pt x="10" y="809"/>
                    <a:pt x="10" y="809"/>
                  </a:cubicBezTo>
                  <a:cubicBezTo>
                    <a:pt x="11" y="813"/>
                    <a:pt x="12" y="817"/>
                    <a:pt x="14" y="820"/>
                  </a:cubicBezTo>
                  <a:cubicBezTo>
                    <a:pt x="18" y="819"/>
                    <a:pt x="18" y="819"/>
                    <a:pt x="18" y="819"/>
                  </a:cubicBezTo>
                  <a:moveTo>
                    <a:pt x="26" y="837"/>
                  </a:moveTo>
                  <a:cubicBezTo>
                    <a:pt x="24" y="833"/>
                    <a:pt x="22" y="830"/>
                    <a:pt x="21" y="826"/>
                  </a:cubicBezTo>
                  <a:cubicBezTo>
                    <a:pt x="17" y="828"/>
                    <a:pt x="17" y="828"/>
                    <a:pt x="17" y="828"/>
                  </a:cubicBezTo>
                  <a:cubicBezTo>
                    <a:pt x="19" y="831"/>
                    <a:pt x="21" y="835"/>
                    <a:pt x="23" y="839"/>
                  </a:cubicBezTo>
                  <a:cubicBezTo>
                    <a:pt x="26" y="837"/>
                    <a:pt x="26" y="837"/>
                    <a:pt x="26" y="837"/>
                  </a:cubicBezTo>
                  <a:moveTo>
                    <a:pt x="37" y="853"/>
                  </a:moveTo>
                  <a:cubicBezTo>
                    <a:pt x="34" y="850"/>
                    <a:pt x="32" y="847"/>
                    <a:pt x="30" y="843"/>
                  </a:cubicBezTo>
                  <a:cubicBezTo>
                    <a:pt x="27" y="846"/>
                    <a:pt x="27" y="846"/>
                    <a:pt x="27" y="846"/>
                  </a:cubicBezTo>
                  <a:cubicBezTo>
                    <a:pt x="29" y="849"/>
                    <a:pt x="31" y="852"/>
                    <a:pt x="33" y="856"/>
                  </a:cubicBezTo>
                  <a:cubicBezTo>
                    <a:pt x="37" y="853"/>
                    <a:pt x="37" y="853"/>
                    <a:pt x="37" y="853"/>
                  </a:cubicBezTo>
                  <a:moveTo>
                    <a:pt x="49" y="869"/>
                  </a:moveTo>
                  <a:cubicBezTo>
                    <a:pt x="46" y="866"/>
                    <a:pt x="44" y="863"/>
                    <a:pt x="41" y="860"/>
                  </a:cubicBezTo>
                  <a:cubicBezTo>
                    <a:pt x="38" y="862"/>
                    <a:pt x="38" y="862"/>
                    <a:pt x="38" y="862"/>
                  </a:cubicBezTo>
                  <a:cubicBezTo>
                    <a:pt x="41" y="865"/>
                    <a:pt x="43" y="869"/>
                    <a:pt x="46" y="872"/>
                  </a:cubicBezTo>
                  <a:cubicBezTo>
                    <a:pt x="49" y="869"/>
                    <a:pt x="49" y="869"/>
                    <a:pt x="49" y="869"/>
                  </a:cubicBezTo>
                  <a:moveTo>
                    <a:pt x="63" y="883"/>
                  </a:moveTo>
                  <a:cubicBezTo>
                    <a:pt x="60" y="880"/>
                    <a:pt x="57" y="878"/>
                    <a:pt x="54" y="875"/>
                  </a:cubicBezTo>
                  <a:cubicBezTo>
                    <a:pt x="51" y="878"/>
                    <a:pt x="51" y="878"/>
                    <a:pt x="51" y="878"/>
                  </a:cubicBezTo>
                  <a:cubicBezTo>
                    <a:pt x="54" y="880"/>
                    <a:pt x="57" y="883"/>
                    <a:pt x="60" y="886"/>
                  </a:cubicBezTo>
                  <a:cubicBezTo>
                    <a:pt x="63" y="883"/>
                    <a:pt x="63" y="883"/>
                    <a:pt x="63" y="883"/>
                  </a:cubicBezTo>
                  <a:moveTo>
                    <a:pt x="78" y="896"/>
                  </a:moveTo>
                  <a:cubicBezTo>
                    <a:pt x="75" y="893"/>
                    <a:pt x="72" y="891"/>
                    <a:pt x="69" y="888"/>
                  </a:cubicBezTo>
                  <a:cubicBezTo>
                    <a:pt x="66" y="891"/>
                    <a:pt x="66" y="891"/>
                    <a:pt x="66" y="891"/>
                  </a:cubicBezTo>
                  <a:cubicBezTo>
                    <a:pt x="69" y="894"/>
                    <a:pt x="72" y="896"/>
                    <a:pt x="76" y="899"/>
                  </a:cubicBezTo>
                  <a:cubicBezTo>
                    <a:pt x="78" y="896"/>
                    <a:pt x="78" y="896"/>
                    <a:pt x="78" y="896"/>
                  </a:cubicBezTo>
                  <a:moveTo>
                    <a:pt x="95" y="906"/>
                  </a:moveTo>
                  <a:cubicBezTo>
                    <a:pt x="91" y="904"/>
                    <a:pt x="88" y="902"/>
                    <a:pt x="84" y="900"/>
                  </a:cubicBezTo>
                  <a:cubicBezTo>
                    <a:pt x="82" y="903"/>
                    <a:pt x="82" y="903"/>
                    <a:pt x="82" y="903"/>
                  </a:cubicBezTo>
                  <a:cubicBezTo>
                    <a:pt x="86" y="906"/>
                    <a:pt x="89" y="908"/>
                    <a:pt x="93" y="910"/>
                  </a:cubicBezTo>
                  <a:cubicBezTo>
                    <a:pt x="95" y="906"/>
                    <a:pt x="95" y="906"/>
                    <a:pt x="95" y="906"/>
                  </a:cubicBezTo>
                  <a:moveTo>
                    <a:pt x="112" y="915"/>
                  </a:moveTo>
                  <a:cubicBezTo>
                    <a:pt x="109" y="914"/>
                    <a:pt x="105" y="912"/>
                    <a:pt x="102" y="910"/>
                  </a:cubicBezTo>
                  <a:cubicBezTo>
                    <a:pt x="100" y="914"/>
                    <a:pt x="100" y="914"/>
                    <a:pt x="100" y="914"/>
                  </a:cubicBezTo>
                  <a:cubicBezTo>
                    <a:pt x="103" y="915"/>
                    <a:pt x="107" y="917"/>
                    <a:pt x="111" y="919"/>
                  </a:cubicBezTo>
                  <a:cubicBezTo>
                    <a:pt x="112" y="915"/>
                    <a:pt x="112" y="915"/>
                    <a:pt x="112" y="915"/>
                  </a:cubicBezTo>
                  <a:moveTo>
                    <a:pt x="131" y="922"/>
                  </a:moveTo>
                  <a:cubicBezTo>
                    <a:pt x="127" y="921"/>
                    <a:pt x="123" y="919"/>
                    <a:pt x="120" y="918"/>
                  </a:cubicBezTo>
                  <a:cubicBezTo>
                    <a:pt x="118" y="922"/>
                    <a:pt x="118" y="922"/>
                    <a:pt x="118" y="922"/>
                  </a:cubicBezTo>
                  <a:cubicBezTo>
                    <a:pt x="122" y="923"/>
                    <a:pt x="126" y="925"/>
                    <a:pt x="130" y="926"/>
                  </a:cubicBezTo>
                  <a:cubicBezTo>
                    <a:pt x="131" y="922"/>
                    <a:pt x="131" y="922"/>
                    <a:pt x="131" y="922"/>
                  </a:cubicBezTo>
                  <a:moveTo>
                    <a:pt x="150" y="927"/>
                  </a:moveTo>
                  <a:cubicBezTo>
                    <a:pt x="146" y="926"/>
                    <a:pt x="142" y="925"/>
                    <a:pt x="138" y="924"/>
                  </a:cubicBezTo>
                  <a:cubicBezTo>
                    <a:pt x="137" y="928"/>
                    <a:pt x="137" y="928"/>
                    <a:pt x="137" y="928"/>
                  </a:cubicBezTo>
                  <a:cubicBezTo>
                    <a:pt x="141" y="929"/>
                    <a:pt x="145" y="930"/>
                    <a:pt x="149" y="931"/>
                  </a:cubicBezTo>
                  <a:cubicBezTo>
                    <a:pt x="150" y="927"/>
                    <a:pt x="150" y="927"/>
                    <a:pt x="150" y="927"/>
                  </a:cubicBezTo>
                  <a:moveTo>
                    <a:pt x="170" y="929"/>
                  </a:moveTo>
                  <a:cubicBezTo>
                    <a:pt x="166" y="929"/>
                    <a:pt x="162" y="928"/>
                    <a:pt x="158" y="928"/>
                  </a:cubicBezTo>
                  <a:cubicBezTo>
                    <a:pt x="157" y="932"/>
                    <a:pt x="157" y="932"/>
                    <a:pt x="157" y="932"/>
                  </a:cubicBezTo>
                  <a:cubicBezTo>
                    <a:pt x="161" y="932"/>
                    <a:pt x="165" y="933"/>
                    <a:pt x="169" y="933"/>
                  </a:cubicBezTo>
                  <a:cubicBezTo>
                    <a:pt x="170" y="929"/>
                    <a:pt x="170" y="929"/>
                    <a:pt x="170" y="929"/>
                  </a:cubicBezTo>
                  <a:moveTo>
                    <a:pt x="189" y="930"/>
                  </a:moveTo>
                  <a:cubicBezTo>
                    <a:pt x="183" y="930"/>
                    <a:pt x="183" y="930"/>
                    <a:pt x="183" y="930"/>
                  </a:cubicBezTo>
                  <a:cubicBezTo>
                    <a:pt x="181" y="930"/>
                    <a:pt x="179" y="930"/>
                    <a:pt x="178" y="930"/>
                  </a:cubicBezTo>
                  <a:cubicBezTo>
                    <a:pt x="177" y="934"/>
                    <a:pt x="177" y="934"/>
                    <a:pt x="177" y="934"/>
                  </a:cubicBezTo>
                  <a:cubicBezTo>
                    <a:pt x="179" y="934"/>
                    <a:pt x="181" y="934"/>
                    <a:pt x="183" y="934"/>
                  </a:cubicBezTo>
                  <a:cubicBezTo>
                    <a:pt x="189" y="934"/>
                    <a:pt x="189" y="934"/>
                    <a:pt x="189" y="934"/>
                  </a:cubicBezTo>
                  <a:cubicBezTo>
                    <a:pt x="189" y="930"/>
                    <a:pt x="189" y="930"/>
                    <a:pt x="189" y="930"/>
                  </a:cubicBezTo>
                  <a:cubicBezTo>
                    <a:pt x="189" y="930"/>
                    <a:pt x="189" y="930"/>
                    <a:pt x="189" y="930"/>
                  </a:cubicBezTo>
                  <a:moveTo>
                    <a:pt x="209" y="930"/>
                  </a:moveTo>
                  <a:cubicBezTo>
                    <a:pt x="197" y="930"/>
                    <a:pt x="197" y="930"/>
                    <a:pt x="197" y="930"/>
                  </a:cubicBezTo>
                  <a:cubicBezTo>
                    <a:pt x="197" y="934"/>
                    <a:pt x="197" y="934"/>
                    <a:pt x="197" y="934"/>
                  </a:cubicBezTo>
                  <a:cubicBezTo>
                    <a:pt x="209" y="934"/>
                    <a:pt x="209" y="934"/>
                    <a:pt x="209" y="934"/>
                  </a:cubicBezTo>
                  <a:cubicBezTo>
                    <a:pt x="209" y="930"/>
                    <a:pt x="209" y="930"/>
                    <a:pt x="209" y="930"/>
                  </a:cubicBezTo>
                  <a:moveTo>
                    <a:pt x="229" y="930"/>
                  </a:moveTo>
                  <a:cubicBezTo>
                    <a:pt x="217" y="930"/>
                    <a:pt x="217" y="930"/>
                    <a:pt x="217" y="930"/>
                  </a:cubicBezTo>
                  <a:cubicBezTo>
                    <a:pt x="217" y="934"/>
                    <a:pt x="217" y="934"/>
                    <a:pt x="217" y="934"/>
                  </a:cubicBezTo>
                  <a:cubicBezTo>
                    <a:pt x="229" y="934"/>
                    <a:pt x="229" y="934"/>
                    <a:pt x="229" y="934"/>
                  </a:cubicBezTo>
                  <a:cubicBezTo>
                    <a:pt x="229" y="930"/>
                    <a:pt x="229" y="930"/>
                    <a:pt x="229" y="930"/>
                  </a:cubicBezTo>
                  <a:moveTo>
                    <a:pt x="249" y="930"/>
                  </a:moveTo>
                  <a:cubicBezTo>
                    <a:pt x="237" y="930"/>
                    <a:pt x="237" y="930"/>
                    <a:pt x="237" y="930"/>
                  </a:cubicBezTo>
                  <a:cubicBezTo>
                    <a:pt x="237" y="934"/>
                    <a:pt x="237" y="934"/>
                    <a:pt x="237" y="934"/>
                  </a:cubicBezTo>
                  <a:cubicBezTo>
                    <a:pt x="249" y="934"/>
                    <a:pt x="249" y="934"/>
                    <a:pt x="249" y="934"/>
                  </a:cubicBezTo>
                  <a:cubicBezTo>
                    <a:pt x="249" y="930"/>
                    <a:pt x="249" y="930"/>
                    <a:pt x="249" y="930"/>
                  </a:cubicBezTo>
                  <a:moveTo>
                    <a:pt x="269" y="930"/>
                  </a:moveTo>
                  <a:cubicBezTo>
                    <a:pt x="257" y="930"/>
                    <a:pt x="257" y="930"/>
                    <a:pt x="257" y="930"/>
                  </a:cubicBezTo>
                  <a:cubicBezTo>
                    <a:pt x="257" y="934"/>
                    <a:pt x="257" y="934"/>
                    <a:pt x="257" y="934"/>
                  </a:cubicBezTo>
                  <a:cubicBezTo>
                    <a:pt x="269" y="934"/>
                    <a:pt x="269" y="934"/>
                    <a:pt x="269" y="934"/>
                  </a:cubicBezTo>
                  <a:cubicBezTo>
                    <a:pt x="269" y="930"/>
                    <a:pt x="269" y="930"/>
                    <a:pt x="269" y="930"/>
                  </a:cubicBezTo>
                  <a:moveTo>
                    <a:pt x="289" y="930"/>
                  </a:moveTo>
                  <a:cubicBezTo>
                    <a:pt x="277" y="930"/>
                    <a:pt x="277" y="930"/>
                    <a:pt x="277" y="930"/>
                  </a:cubicBezTo>
                  <a:cubicBezTo>
                    <a:pt x="277" y="934"/>
                    <a:pt x="277" y="934"/>
                    <a:pt x="277" y="934"/>
                  </a:cubicBezTo>
                  <a:cubicBezTo>
                    <a:pt x="289" y="934"/>
                    <a:pt x="289" y="934"/>
                    <a:pt x="289" y="934"/>
                  </a:cubicBezTo>
                  <a:cubicBezTo>
                    <a:pt x="289" y="930"/>
                    <a:pt x="289" y="930"/>
                    <a:pt x="289" y="930"/>
                  </a:cubicBezTo>
                  <a:moveTo>
                    <a:pt x="309" y="930"/>
                  </a:moveTo>
                  <a:cubicBezTo>
                    <a:pt x="297" y="930"/>
                    <a:pt x="297" y="930"/>
                    <a:pt x="297" y="930"/>
                  </a:cubicBezTo>
                  <a:cubicBezTo>
                    <a:pt x="297" y="934"/>
                    <a:pt x="297" y="934"/>
                    <a:pt x="297" y="934"/>
                  </a:cubicBezTo>
                  <a:cubicBezTo>
                    <a:pt x="309" y="934"/>
                    <a:pt x="309" y="934"/>
                    <a:pt x="309" y="934"/>
                  </a:cubicBezTo>
                  <a:cubicBezTo>
                    <a:pt x="309" y="930"/>
                    <a:pt x="309" y="930"/>
                    <a:pt x="309" y="930"/>
                  </a:cubicBezTo>
                  <a:moveTo>
                    <a:pt x="329" y="930"/>
                  </a:moveTo>
                  <a:cubicBezTo>
                    <a:pt x="317" y="930"/>
                    <a:pt x="317" y="930"/>
                    <a:pt x="317" y="930"/>
                  </a:cubicBezTo>
                  <a:cubicBezTo>
                    <a:pt x="317" y="934"/>
                    <a:pt x="317" y="934"/>
                    <a:pt x="317" y="934"/>
                  </a:cubicBezTo>
                  <a:cubicBezTo>
                    <a:pt x="329" y="934"/>
                    <a:pt x="329" y="934"/>
                    <a:pt x="329" y="934"/>
                  </a:cubicBezTo>
                  <a:cubicBezTo>
                    <a:pt x="329" y="930"/>
                    <a:pt x="329" y="930"/>
                    <a:pt x="329" y="930"/>
                  </a:cubicBezTo>
                  <a:moveTo>
                    <a:pt x="349" y="930"/>
                  </a:moveTo>
                  <a:cubicBezTo>
                    <a:pt x="337" y="930"/>
                    <a:pt x="337" y="930"/>
                    <a:pt x="337" y="930"/>
                  </a:cubicBezTo>
                  <a:cubicBezTo>
                    <a:pt x="337" y="934"/>
                    <a:pt x="337" y="934"/>
                    <a:pt x="337" y="934"/>
                  </a:cubicBezTo>
                  <a:cubicBezTo>
                    <a:pt x="349" y="934"/>
                    <a:pt x="349" y="934"/>
                    <a:pt x="349" y="934"/>
                  </a:cubicBezTo>
                  <a:cubicBezTo>
                    <a:pt x="349" y="930"/>
                    <a:pt x="349" y="930"/>
                    <a:pt x="349" y="930"/>
                  </a:cubicBezTo>
                  <a:moveTo>
                    <a:pt x="369" y="930"/>
                  </a:moveTo>
                  <a:cubicBezTo>
                    <a:pt x="357" y="930"/>
                    <a:pt x="357" y="930"/>
                    <a:pt x="357" y="930"/>
                  </a:cubicBezTo>
                  <a:cubicBezTo>
                    <a:pt x="357" y="934"/>
                    <a:pt x="357" y="934"/>
                    <a:pt x="357" y="934"/>
                  </a:cubicBezTo>
                  <a:cubicBezTo>
                    <a:pt x="369" y="934"/>
                    <a:pt x="369" y="934"/>
                    <a:pt x="369" y="934"/>
                  </a:cubicBezTo>
                  <a:cubicBezTo>
                    <a:pt x="369" y="930"/>
                    <a:pt x="369" y="930"/>
                    <a:pt x="369" y="930"/>
                  </a:cubicBezTo>
                  <a:moveTo>
                    <a:pt x="389" y="930"/>
                  </a:moveTo>
                  <a:cubicBezTo>
                    <a:pt x="377" y="930"/>
                    <a:pt x="377" y="930"/>
                    <a:pt x="377" y="930"/>
                  </a:cubicBezTo>
                  <a:cubicBezTo>
                    <a:pt x="377" y="934"/>
                    <a:pt x="377" y="934"/>
                    <a:pt x="377" y="934"/>
                  </a:cubicBezTo>
                  <a:cubicBezTo>
                    <a:pt x="389" y="934"/>
                    <a:pt x="389" y="934"/>
                    <a:pt x="389" y="934"/>
                  </a:cubicBezTo>
                  <a:cubicBezTo>
                    <a:pt x="389" y="930"/>
                    <a:pt x="389" y="930"/>
                    <a:pt x="389" y="930"/>
                  </a:cubicBezTo>
                  <a:moveTo>
                    <a:pt x="409" y="930"/>
                  </a:moveTo>
                  <a:cubicBezTo>
                    <a:pt x="397" y="930"/>
                    <a:pt x="397" y="930"/>
                    <a:pt x="397" y="930"/>
                  </a:cubicBezTo>
                  <a:cubicBezTo>
                    <a:pt x="397" y="934"/>
                    <a:pt x="397" y="934"/>
                    <a:pt x="397" y="934"/>
                  </a:cubicBezTo>
                  <a:cubicBezTo>
                    <a:pt x="409" y="934"/>
                    <a:pt x="409" y="934"/>
                    <a:pt x="409" y="934"/>
                  </a:cubicBezTo>
                  <a:cubicBezTo>
                    <a:pt x="409" y="930"/>
                    <a:pt x="409" y="930"/>
                    <a:pt x="409" y="930"/>
                  </a:cubicBezTo>
                  <a:moveTo>
                    <a:pt x="429" y="930"/>
                  </a:moveTo>
                  <a:cubicBezTo>
                    <a:pt x="417" y="930"/>
                    <a:pt x="417" y="930"/>
                    <a:pt x="417" y="930"/>
                  </a:cubicBezTo>
                  <a:cubicBezTo>
                    <a:pt x="417" y="934"/>
                    <a:pt x="417" y="934"/>
                    <a:pt x="417" y="934"/>
                  </a:cubicBezTo>
                  <a:cubicBezTo>
                    <a:pt x="429" y="934"/>
                    <a:pt x="429" y="934"/>
                    <a:pt x="429" y="934"/>
                  </a:cubicBezTo>
                  <a:cubicBezTo>
                    <a:pt x="429" y="930"/>
                    <a:pt x="429" y="930"/>
                    <a:pt x="429" y="930"/>
                  </a:cubicBezTo>
                  <a:moveTo>
                    <a:pt x="449" y="930"/>
                  </a:moveTo>
                  <a:cubicBezTo>
                    <a:pt x="437" y="930"/>
                    <a:pt x="437" y="930"/>
                    <a:pt x="437" y="930"/>
                  </a:cubicBezTo>
                  <a:cubicBezTo>
                    <a:pt x="437" y="934"/>
                    <a:pt x="437" y="934"/>
                    <a:pt x="437" y="934"/>
                  </a:cubicBezTo>
                  <a:cubicBezTo>
                    <a:pt x="449" y="934"/>
                    <a:pt x="449" y="934"/>
                    <a:pt x="449" y="934"/>
                  </a:cubicBezTo>
                  <a:cubicBezTo>
                    <a:pt x="449" y="930"/>
                    <a:pt x="449" y="930"/>
                    <a:pt x="449" y="930"/>
                  </a:cubicBezTo>
                  <a:moveTo>
                    <a:pt x="469" y="930"/>
                  </a:moveTo>
                  <a:cubicBezTo>
                    <a:pt x="457" y="930"/>
                    <a:pt x="457" y="930"/>
                    <a:pt x="457" y="930"/>
                  </a:cubicBezTo>
                  <a:cubicBezTo>
                    <a:pt x="457" y="934"/>
                    <a:pt x="457" y="934"/>
                    <a:pt x="457" y="934"/>
                  </a:cubicBezTo>
                  <a:cubicBezTo>
                    <a:pt x="469" y="934"/>
                    <a:pt x="469" y="934"/>
                    <a:pt x="469" y="934"/>
                  </a:cubicBezTo>
                  <a:cubicBezTo>
                    <a:pt x="469" y="930"/>
                    <a:pt x="469" y="930"/>
                    <a:pt x="469" y="930"/>
                  </a:cubicBezTo>
                  <a:moveTo>
                    <a:pt x="489" y="930"/>
                  </a:moveTo>
                  <a:cubicBezTo>
                    <a:pt x="477" y="930"/>
                    <a:pt x="477" y="930"/>
                    <a:pt x="477" y="930"/>
                  </a:cubicBezTo>
                  <a:cubicBezTo>
                    <a:pt x="477" y="934"/>
                    <a:pt x="477" y="934"/>
                    <a:pt x="477" y="934"/>
                  </a:cubicBezTo>
                  <a:cubicBezTo>
                    <a:pt x="489" y="934"/>
                    <a:pt x="489" y="934"/>
                    <a:pt x="489" y="934"/>
                  </a:cubicBezTo>
                  <a:cubicBezTo>
                    <a:pt x="489" y="930"/>
                    <a:pt x="489" y="930"/>
                    <a:pt x="489" y="930"/>
                  </a:cubicBezTo>
                  <a:moveTo>
                    <a:pt x="509" y="930"/>
                  </a:moveTo>
                  <a:cubicBezTo>
                    <a:pt x="497" y="930"/>
                    <a:pt x="497" y="930"/>
                    <a:pt x="497" y="930"/>
                  </a:cubicBezTo>
                  <a:cubicBezTo>
                    <a:pt x="497" y="934"/>
                    <a:pt x="497" y="934"/>
                    <a:pt x="497" y="934"/>
                  </a:cubicBezTo>
                  <a:cubicBezTo>
                    <a:pt x="509" y="934"/>
                    <a:pt x="509" y="934"/>
                    <a:pt x="509" y="934"/>
                  </a:cubicBezTo>
                  <a:cubicBezTo>
                    <a:pt x="509" y="930"/>
                    <a:pt x="509" y="930"/>
                    <a:pt x="509" y="930"/>
                  </a:cubicBezTo>
                  <a:moveTo>
                    <a:pt x="529" y="930"/>
                  </a:moveTo>
                  <a:cubicBezTo>
                    <a:pt x="517" y="930"/>
                    <a:pt x="517" y="930"/>
                    <a:pt x="517" y="930"/>
                  </a:cubicBezTo>
                  <a:cubicBezTo>
                    <a:pt x="517" y="934"/>
                    <a:pt x="517" y="934"/>
                    <a:pt x="517" y="934"/>
                  </a:cubicBezTo>
                  <a:cubicBezTo>
                    <a:pt x="529" y="934"/>
                    <a:pt x="529" y="934"/>
                    <a:pt x="529" y="934"/>
                  </a:cubicBezTo>
                  <a:cubicBezTo>
                    <a:pt x="529" y="930"/>
                    <a:pt x="529" y="930"/>
                    <a:pt x="529" y="930"/>
                  </a:cubicBezTo>
                  <a:moveTo>
                    <a:pt x="549" y="930"/>
                  </a:moveTo>
                  <a:cubicBezTo>
                    <a:pt x="537" y="930"/>
                    <a:pt x="537" y="930"/>
                    <a:pt x="537" y="930"/>
                  </a:cubicBezTo>
                  <a:cubicBezTo>
                    <a:pt x="537" y="934"/>
                    <a:pt x="537" y="934"/>
                    <a:pt x="537" y="934"/>
                  </a:cubicBezTo>
                  <a:cubicBezTo>
                    <a:pt x="549" y="934"/>
                    <a:pt x="549" y="934"/>
                    <a:pt x="549" y="934"/>
                  </a:cubicBezTo>
                  <a:cubicBezTo>
                    <a:pt x="549" y="930"/>
                    <a:pt x="549" y="930"/>
                    <a:pt x="549" y="930"/>
                  </a:cubicBezTo>
                  <a:moveTo>
                    <a:pt x="569" y="930"/>
                  </a:moveTo>
                  <a:cubicBezTo>
                    <a:pt x="557" y="930"/>
                    <a:pt x="557" y="930"/>
                    <a:pt x="557" y="930"/>
                  </a:cubicBezTo>
                  <a:cubicBezTo>
                    <a:pt x="557" y="934"/>
                    <a:pt x="557" y="934"/>
                    <a:pt x="557" y="934"/>
                  </a:cubicBezTo>
                  <a:cubicBezTo>
                    <a:pt x="569" y="934"/>
                    <a:pt x="569" y="934"/>
                    <a:pt x="569" y="934"/>
                  </a:cubicBezTo>
                  <a:cubicBezTo>
                    <a:pt x="569" y="930"/>
                    <a:pt x="569" y="930"/>
                    <a:pt x="569" y="930"/>
                  </a:cubicBezTo>
                  <a:moveTo>
                    <a:pt x="589" y="930"/>
                  </a:moveTo>
                  <a:cubicBezTo>
                    <a:pt x="577" y="930"/>
                    <a:pt x="577" y="930"/>
                    <a:pt x="577" y="930"/>
                  </a:cubicBezTo>
                  <a:cubicBezTo>
                    <a:pt x="577" y="934"/>
                    <a:pt x="577" y="934"/>
                    <a:pt x="577" y="934"/>
                  </a:cubicBezTo>
                  <a:cubicBezTo>
                    <a:pt x="589" y="934"/>
                    <a:pt x="589" y="934"/>
                    <a:pt x="589" y="934"/>
                  </a:cubicBezTo>
                  <a:cubicBezTo>
                    <a:pt x="589" y="930"/>
                    <a:pt x="589" y="930"/>
                    <a:pt x="589" y="930"/>
                  </a:cubicBezTo>
                  <a:moveTo>
                    <a:pt x="609" y="930"/>
                  </a:moveTo>
                  <a:cubicBezTo>
                    <a:pt x="597" y="930"/>
                    <a:pt x="597" y="930"/>
                    <a:pt x="597" y="930"/>
                  </a:cubicBezTo>
                  <a:cubicBezTo>
                    <a:pt x="597" y="934"/>
                    <a:pt x="597" y="934"/>
                    <a:pt x="597" y="934"/>
                  </a:cubicBezTo>
                  <a:cubicBezTo>
                    <a:pt x="609" y="934"/>
                    <a:pt x="609" y="934"/>
                    <a:pt x="609" y="934"/>
                  </a:cubicBezTo>
                  <a:cubicBezTo>
                    <a:pt x="609" y="930"/>
                    <a:pt x="609" y="930"/>
                    <a:pt x="609" y="930"/>
                  </a:cubicBezTo>
                  <a:moveTo>
                    <a:pt x="629" y="930"/>
                  </a:moveTo>
                  <a:cubicBezTo>
                    <a:pt x="617" y="930"/>
                    <a:pt x="617" y="930"/>
                    <a:pt x="617" y="930"/>
                  </a:cubicBezTo>
                  <a:cubicBezTo>
                    <a:pt x="617" y="934"/>
                    <a:pt x="617" y="934"/>
                    <a:pt x="617" y="934"/>
                  </a:cubicBezTo>
                  <a:cubicBezTo>
                    <a:pt x="629" y="934"/>
                    <a:pt x="629" y="934"/>
                    <a:pt x="629" y="934"/>
                  </a:cubicBezTo>
                  <a:cubicBezTo>
                    <a:pt x="629" y="930"/>
                    <a:pt x="629" y="930"/>
                    <a:pt x="629" y="930"/>
                  </a:cubicBezTo>
                  <a:moveTo>
                    <a:pt x="649" y="930"/>
                  </a:moveTo>
                  <a:cubicBezTo>
                    <a:pt x="637" y="930"/>
                    <a:pt x="637" y="930"/>
                    <a:pt x="637" y="930"/>
                  </a:cubicBezTo>
                  <a:cubicBezTo>
                    <a:pt x="637" y="934"/>
                    <a:pt x="637" y="934"/>
                    <a:pt x="637" y="934"/>
                  </a:cubicBezTo>
                  <a:cubicBezTo>
                    <a:pt x="649" y="934"/>
                    <a:pt x="649" y="934"/>
                    <a:pt x="649" y="934"/>
                  </a:cubicBezTo>
                  <a:cubicBezTo>
                    <a:pt x="649" y="930"/>
                    <a:pt x="649" y="930"/>
                    <a:pt x="649" y="930"/>
                  </a:cubicBezTo>
                  <a:moveTo>
                    <a:pt x="669" y="930"/>
                  </a:moveTo>
                  <a:cubicBezTo>
                    <a:pt x="657" y="930"/>
                    <a:pt x="657" y="930"/>
                    <a:pt x="657" y="930"/>
                  </a:cubicBezTo>
                  <a:cubicBezTo>
                    <a:pt x="657" y="934"/>
                    <a:pt x="657" y="934"/>
                    <a:pt x="657" y="934"/>
                  </a:cubicBezTo>
                  <a:cubicBezTo>
                    <a:pt x="669" y="934"/>
                    <a:pt x="669" y="934"/>
                    <a:pt x="669" y="934"/>
                  </a:cubicBezTo>
                  <a:cubicBezTo>
                    <a:pt x="669" y="930"/>
                    <a:pt x="669" y="930"/>
                    <a:pt x="669" y="930"/>
                  </a:cubicBezTo>
                  <a:moveTo>
                    <a:pt x="689" y="930"/>
                  </a:moveTo>
                  <a:cubicBezTo>
                    <a:pt x="677" y="930"/>
                    <a:pt x="677" y="930"/>
                    <a:pt x="677" y="930"/>
                  </a:cubicBezTo>
                  <a:cubicBezTo>
                    <a:pt x="677" y="934"/>
                    <a:pt x="677" y="934"/>
                    <a:pt x="677" y="934"/>
                  </a:cubicBezTo>
                  <a:cubicBezTo>
                    <a:pt x="689" y="934"/>
                    <a:pt x="689" y="934"/>
                    <a:pt x="689" y="934"/>
                  </a:cubicBezTo>
                  <a:cubicBezTo>
                    <a:pt x="689" y="930"/>
                    <a:pt x="689" y="930"/>
                    <a:pt x="689" y="930"/>
                  </a:cubicBezTo>
                  <a:moveTo>
                    <a:pt x="709" y="930"/>
                  </a:moveTo>
                  <a:cubicBezTo>
                    <a:pt x="697" y="930"/>
                    <a:pt x="697" y="930"/>
                    <a:pt x="697" y="930"/>
                  </a:cubicBezTo>
                  <a:cubicBezTo>
                    <a:pt x="697" y="934"/>
                    <a:pt x="697" y="934"/>
                    <a:pt x="697" y="934"/>
                  </a:cubicBezTo>
                  <a:cubicBezTo>
                    <a:pt x="709" y="934"/>
                    <a:pt x="709" y="934"/>
                    <a:pt x="709" y="934"/>
                  </a:cubicBezTo>
                  <a:cubicBezTo>
                    <a:pt x="709" y="930"/>
                    <a:pt x="709" y="930"/>
                    <a:pt x="709" y="930"/>
                  </a:cubicBezTo>
                  <a:moveTo>
                    <a:pt x="729" y="930"/>
                  </a:moveTo>
                  <a:cubicBezTo>
                    <a:pt x="717" y="930"/>
                    <a:pt x="717" y="930"/>
                    <a:pt x="717" y="930"/>
                  </a:cubicBezTo>
                  <a:cubicBezTo>
                    <a:pt x="717" y="934"/>
                    <a:pt x="717" y="934"/>
                    <a:pt x="717" y="934"/>
                  </a:cubicBezTo>
                  <a:cubicBezTo>
                    <a:pt x="729" y="934"/>
                    <a:pt x="729" y="934"/>
                    <a:pt x="729" y="934"/>
                  </a:cubicBezTo>
                  <a:cubicBezTo>
                    <a:pt x="729" y="930"/>
                    <a:pt x="729" y="930"/>
                    <a:pt x="729" y="930"/>
                  </a:cubicBezTo>
                  <a:moveTo>
                    <a:pt x="749" y="930"/>
                  </a:moveTo>
                  <a:cubicBezTo>
                    <a:pt x="737" y="930"/>
                    <a:pt x="737" y="930"/>
                    <a:pt x="737" y="930"/>
                  </a:cubicBezTo>
                  <a:cubicBezTo>
                    <a:pt x="737" y="934"/>
                    <a:pt x="737" y="934"/>
                    <a:pt x="737" y="934"/>
                  </a:cubicBezTo>
                  <a:cubicBezTo>
                    <a:pt x="749" y="934"/>
                    <a:pt x="749" y="934"/>
                    <a:pt x="749" y="934"/>
                  </a:cubicBezTo>
                  <a:cubicBezTo>
                    <a:pt x="749" y="930"/>
                    <a:pt x="749" y="930"/>
                    <a:pt x="749" y="930"/>
                  </a:cubicBezTo>
                  <a:moveTo>
                    <a:pt x="769" y="930"/>
                  </a:moveTo>
                  <a:cubicBezTo>
                    <a:pt x="757" y="930"/>
                    <a:pt x="757" y="930"/>
                    <a:pt x="757" y="930"/>
                  </a:cubicBezTo>
                  <a:cubicBezTo>
                    <a:pt x="757" y="934"/>
                    <a:pt x="757" y="934"/>
                    <a:pt x="757" y="934"/>
                  </a:cubicBezTo>
                  <a:cubicBezTo>
                    <a:pt x="769" y="934"/>
                    <a:pt x="769" y="934"/>
                    <a:pt x="769" y="934"/>
                  </a:cubicBezTo>
                  <a:cubicBezTo>
                    <a:pt x="769" y="930"/>
                    <a:pt x="769" y="930"/>
                    <a:pt x="769" y="930"/>
                  </a:cubicBezTo>
                  <a:moveTo>
                    <a:pt x="789" y="930"/>
                  </a:moveTo>
                  <a:cubicBezTo>
                    <a:pt x="777" y="930"/>
                    <a:pt x="777" y="930"/>
                    <a:pt x="777" y="930"/>
                  </a:cubicBezTo>
                  <a:cubicBezTo>
                    <a:pt x="777" y="934"/>
                    <a:pt x="777" y="934"/>
                    <a:pt x="777" y="934"/>
                  </a:cubicBezTo>
                  <a:cubicBezTo>
                    <a:pt x="789" y="934"/>
                    <a:pt x="789" y="934"/>
                    <a:pt x="789" y="934"/>
                  </a:cubicBezTo>
                  <a:cubicBezTo>
                    <a:pt x="789" y="930"/>
                    <a:pt x="789" y="930"/>
                    <a:pt x="789" y="930"/>
                  </a:cubicBezTo>
                  <a:moveTo>
                    <a:pt x="809" y="930"/>
                  </a:moveTo>
                  <a:cubicBezTo>
                    <a:pt x="797" y="930"/>
                    <a:pt x="797" y="930"/>
                    <a:pt x="797" y="930"/>
                  </a:cubicBezTo>
                  <a:cubicBezTo>
                    <a:pt x="797" y="934"/>
                    <a:pt x="797" y="934"/>
                    <a:pt x="797" y="934"/>
                  </a:cubicBezTo>
                  <a:cubicBezTo>
                    <a:pt x="809" y="934"/>
                    <a:pt x="809" y="934"/>
                    <a:pt x="809" y="934"/>
                  </a:cubicBezTo>
                  <a:cubicBezTo>
                    <a:pt x="809" y="930"/>
                    <a:pt x="809" y="930"/>
                    <a:pt x="809" y="930"/>
                  </a:cubicBezTo>
                  <a:moveTo>
                    <a:pt x="829" y="930"/>
                  </a:moveTo>
                  <a:cubicBezTo>
                    <a:pt x="817" y="930"/>
                    <a:pt x="817" y="930"/>
                    <a:pt x="817" y="930"/>
                  </a:cubicBezTo>
                  <a:cubicBezTo>
                    <a:pt x="817" y="934"/>
                    <a:pt x="817" y="934"/>
                    <a:pt x="817" y="934"/>
                  </a:cubicBezTo>
                  <a:cubicBezTo>
                    <a:pt x="829" y="934"/>
                    <a:pt x="829" y="934"/>
                    <a:pt x="829" y="934"/>
                  </a:cubicBezTo>
                  <a:cubicBezTo>
                    <a:pt x="829" y="930"/>
                    <a:pt x="829" y="930"/>
                    <a:pt x="829" y="930"/>
                  </a:cubicBezTo>
                  <a:moveTo>
                    <a:pt x="849" y="930"/>
                  </a:moveTo>
                  <a:cubicBezTo>
                    <a:pt x="837" y="930"/>
                    <a:pt x="837" y="930"/>
                    <a:pt x="837" y="930"/>
                  </a:cubicBezTo>
                  <a:cubicBezTo>
                    <a:pt x="837" y="934"/>
                    <a:pt x="837" y="934"/>
                    <a:pt x="837" y="934"/>
                  </a:cubicBezTo>
                  <a:cubicBezTo>
                    <a:pt x="849" y="934"/>
                    <a:pt x="849" y="934"/>
                    <a:pt x="849" y="934"/>
                  </a:cubicBezTo>
                  <a:cubicBezTo>
                    <a:pt x="849" y="930"/>
                    <a:pt x="849" y="930"/>
                    <a:pt x="849" y="930"/>
                  </a:cubicBezTo>
                  <a:moveTo>
                    <a:pt x="869" y="930"/>
                  </a:moveTo>
                  <a:cubicBezTo>
                    <a:pt x="857" y="930"/>
                    <a:pt x="857" y="930"/>
                    <a:pt x="857" y="930"/>
                  </a:cubicBezTo>
                  <a:cubicBezTo>
                    <a:pt x="857" y="934"/>
                    <a:pt x="857" y="934"/>
                    <a:pt x="857" y="934"/>
                  </a:cubicBezTo>
                  <a:cubicBezTo>
                    <a:pt x="869" y="934"/>
                    <a:pt x="869" y="934"/>
                    <a:pt x="869" y="934"/>
                  </a:cubicBezTo>
                  <a:cubicBezTo>
                    <a:pt x="869" y="930"/>
                    <a:pt x="869" y="930"/>
                    <a:pt x="869" y="930"/>
                  </a:cubicBezTo>
                  <a:moveTo>
                    <a:pt x="889" y="930"/>
                  </a:moveTo>
                  <a:cubicBezTo>
                    <a:pt x="877" y="930"/>
                    <a:pt x="877" y="930"/>
                    <a:pt x="877" y="930"/>
                  </a:cubicBezTo>
                  <a:cubicBezTo>
                    <a:pt x="877" y="934"/>
                    <a:pt x="877" y="934"/>
                    <a:pt x="877" y="934"/>
                  </a:cubicBezTo>
                  <a:cubicBezTo>
                    <a:pt x="889" y="934"/>
                    <a:pt x="889" y="934"/>
                    <a:pt x="889" y="934"/>
                  </a:cubicBezTo>
                  <a:cubicBezTo>
                    <a:pt x="889" y="930"/>
                    <a:pt x="889" y="930"/>
                    <a:pt x="889" y="930"/>
                  </a:cubicBezTo>
                  <a:moveTo>
                    <a:pt x="909" y="930"/>
                  </a:moveTo>
                  <a:cubicBezTo>
                    <a:pt x="897" y="930"/>
                    <a:pt x="897" y="930"/>
                    <a:pt x="897" y="930"/>
                  </a:cubicBezTo>
                  <a:cubicBezTo>
                    <a:pt x="897" y="934"/>
                    <a:pt x="897" y="934"/>
                    <a:pt x="897" y="934"/>
                  </a:cubicBezTo>
                  <a:cubicBezTo>
                    <a:pt x="909" y="934"/>
                    <a:pt x="909" y="934"/>
                    <a:pt x="909" y="934"/>
                  </a:cubicBezTo>
                  <a:cubicBezTo>
                    <a:pt x="909" y="930"/>
                    <a:pt x="909" y="930"/>
                    <a:pt x="909" y="930"/>
                  </a:cubicBezTo>
                  <a:moveTo>
                    <a:pt x="929" y="930"/>
                  </a:moveTo>
                  <a:cubicBezTo>
                    <a:pt x="917" y="930"/>
                    <a:pt x="917" y="930"/>
                    <a:pt x="917" y="930"/>
                  </a:cubicBezTo>
                  <a:cubicBezTo>
                    <a:pt x="917" y="934"/>
                    <a:pt x="917" y="934"/>
                    <a:pt x="917" y="934"/>
                  </a:cubicBezTo>
                  <a:cubicBezTo>
                    <a:pt x="929" y="934"/>
                    <a:pt x="929" y="934"/>
                    <a:pt x="929" y="934"/>
                  </a:cubicBezTo>
                  <a:cubicBezTo>
                    <a:pt x="929" y="930"/>
                    <a:pt x="929" y="930"/>
                    <a:pt x="929" y="930"/>
                  </a:cubicBezTo>
                  <a:moveTo>
                    <a:pt x="949" y="930"/>
                  </a:moveTo>
                  <a:cubicBezTo>
                    <a:pt x="937" y="930"/>
                    <a:pt x="937" y="930"/>
                    <a:pt x="937" y="930"/>
                  </a:cubicBezTo>
                  <a:cubicBezTo>
                    <a:pt x="937" y="934"/>
                    <a:pt x="937" y="934"/>
                    <a:pt x="937" y="934"/>
                  </a:cubicBezTo>
                  <a:cubicBezTo>
                    <a:pt x="949" y="934"/>
                    <a:pt x="949" y="934"/>
                    <a:pt x="949" y="934"/>
                  </a:cubicBezTo>
                  <a:cubicBezTo>
                    <a:pt x="949" y="930"/>
                    <a:pt x="949" y="930"/>
                    <a:pt x="949" y="930"/>
                  </a:cubicBezTo>
                  <a:moveTo>
                    <a:pt x="969" y="930"/>
                  </a:moveTo>
                  <a:cubicBezTo>
                    <a:pt x="957" y="930"/>
                    <a:pt x="957" y="930"/>
                    <a:pt x="957" y="930"/>
                  </a:cubicBezTo>
                  <a:cubicBezTo>
                    <a:pt x="957" y="934"/>
                    <a:pt x="957" y="934"/>
                    <a:pt x="957" y="934"/>
                  </a:cubicBezTo>
                  <a:cubicBezTo>
                    <a:pt x="969" y="934"/>
                    <a:pt x="969" y="934"/>
                    <a:pt x="969" y="934"/>
                  </a:cubicBezTo>
                  <a:cubicBezTo>
                    <a:pt x="969" y="930"/>
                    <a:pt x="969" y="930"/>
                    <a:pt x="969" y="930"/>
                  </a:cubicBezTo>
                  <a:moveTo>
                    <a:pt x="989" y="930"/>
                  </a:moveTo>
                  <a:cubicBezTo>
                    <a:pt x="977" y="930"/>
                    <a:pt x="977" y="930"/>
                    <a:pt x="977" y="930"/>
                  </a:cubicBezTo>
                  <a:cubicBezTo>
                    <a:pt x="977" y="934"/>
                    <a:pt x="977" y="934"/>
                    <a:pt x="977" y="934"/>
                  </a:cubicBezTo>
                  <a:cubicBezTo>
                    <a:pt x="989" y="934"/>
                    <a:pt x="989" y="934"/>
                    <a:pt x="989" y="934"/>
                  </a:cubicBezTo>
                  <a:cubicBezTo>
                    <a:pt x="989" y="930"/>
                    <a:pt x="989" y="930"/>
                    <a:pt x="989" y="930"/>
                  </a:cubicBezTo>
                  <a:moveTo>
                    <a:pt x="1009" y="930"/>
                  </a:moveTo>
                  <a:cubicBezTo>
                    <a:pt x="997" y="930"/>
                    <a:pt x="997" y="930"/>
                    <a:pt x="997" y="930"/>
                  </a:cubicBezTo>
                  <a:cubicBezTo>
                    <a:pt x="997" y="934"/>
                    <a:pt x="997" y="934"/>
                    <a:pt x="997" y="934"/>
                  </a:cubicBezTo>
                  <a:cubicBezTo>
                    <a:pt x="1009" y="934"/>
                    <a:pt x="1009" y="934"/>
                    <a:pt x="1009" y="934"/>
                  </a:cubicBezTo>
                  <a:cubicBezTo>
                    <a:pt x="1009" y="930"/>
                    <a:pt x="1009" y="930"/>
                    <a:pt x="1009" y="930"/>
                  </a:cubicBezTo>
                  <a:moveTo>
                    <a:pt x="1029" y="930"/>
                  </a:moveTo>
                  <a:cubicBezTo>
                    <a:pt x="1017" y="930"/>
                    <a:pt x="1017" y="930"/>
                    <a:pt x="1017" y="930"/>
                  </a:cubicBezTo>
                  <a:cubicBezTo>
                    <a:pt x="1017" y="934"/>
                    <a:pt x="1017" y="934"/>
                    <a:pt x="1017" y="934"/>
                  </a:cubicBezTo>
                  <a:cubicBezTo>
                    <a:pt x="1029" y="934"/>
                    <a:pt x="1029" y="934"/>
                    <a:pt x="1029" y="934"/>
                  </a:cubicBezTo>
                  <a:cubicBezTo>
                    <a:pt x="1029" y="930"/>
                    <a:pt x="1029" y="930"/>
                    <a:pt x="1029" y="930"/>
                  </a:cubicBezTo>
                  <a:moveTo>
                    <a:pt x="1049" y="930"/>
                  </a:moveTo>
                  <a:cubicBezTo>
                    <a:pt x="1037" y="930"/>
                    <a:pt x="1037" y="930"/>
                    <a:pt x="1037" y="930"/>
                  </a:cubicBezTo>
                  <a:cubicBezTo>
                    <a:pt x="1037" y="934"/>
                    <a:pt x="1037" y="934"/>
                    <a:pt x="1037" y="934"/>
                  </a:cubicBezTo>
                  <a:cubicBezTo>
                    <a:pt x="1049" y="934"/>
                    <a:pt x="1049" y="934"/>
                    <a:pt x="1049" y="934"/>
                  </a:cubicBezTo>
                  <a:cubicBezTo>
                    <a:pt x="1049" y="930"/>
                    <a:pt x="1049" y="930"/>
                    <a:pt x="1049" y="930"/>
                  </a:cubicBezTo>
                  <a:moveTo>
                    <a:pt x="1069" y="930"/>
                  </a:moveTo>
                  <a:cubicBezTo>
                    <a:pt x="1057" y="930"/>
                    <a:pt x="1057" y="930"/>
                    <a:pt x="1057" y="930"/>
                  </a:cubicBezTo>
                  <a:cubicBezTo>
                    <a:pt x="1057" y="934"/>
                    <a:pt x="1057" y="934"/>
                    <a:pt x="1057" y="934"/>
                  </a:cubicBezTo>
                  <a:cubicBezTo>
                    <a:pt x="1069" y="934"/>
                    <a:pt x="1069" y="934"/>
                    <a:pt x="1069" y="934"/>
                  </a:cubicBezTo>
                  <a:cubicBezTo>
                    <a:pt x="1069" y="930"/>
                    <a:pt x="1069" y="930"/>
                    <a:pt x="1069" y="930"/>
                  </a:cubicBezTo>
                  <a:moveTo>
                    <a:pt x="1089" y="930"/>
                  </a:moveTo>
                  <a:cubicBezTo>
                    <a:pt x="1077" y="930"/>
                    <a:pt x="1077" y="930"/>
                    <a:pt x="1077" y="930"/>
                  </a:cubicBezTo>
                  <a:cubicBezTo>
                    <a:pt x="1077" y="934"/>
                    <a:pt x="1077" y="934"/>
                    <a:pt x="1077" y="934"/>
                  </a:cubicBezTo>
                  <a:cubicBezTo>
                    <a:pt x="1089" y="934"/>
                    <a:pt x="1089" y="934"/>
                    <a:pt x="1089" y="934"/>
                  </a:cubicBezTo>
                  <a:cubicBezTo>
                    <a:pt x="1089" y="930"/>
                    <a:pt x="1089" y="930"/>
                    <a:pt x="1089" y="930"/>
                  </a:cubicBezTo>
                  <a:moveTo>
                    <a:pt x="1109" y="930"/>
                  </a:moveTo>
                  <a:cubicBezTo>
                    <a:pt x="1097" y="930"/>
                    <a:pt x="1097" y="930"/>
                    <a:pt x="1097" y="930"/>
                  </a:cubicBezTo>
                  <a:cubicBezTo>
                    <a:pt x="1097" y="934"/>
                    <a:pt x="1097" y="934"/>
                    <a:pt x="1097" y="934"/>
                  </a:cubicBezTo>
                  <a:cubicBezTo>
                    <a:pt x="1109" y="934"/>
                    <a:pt x="1109" y="934"/>
                    <a:pt x="1109" y="934"/>
                  </a:cubicBezTo>
                  <a:cubicBezTo>
                    <a:pt x="1109" y="930"/>
                    <a:pt x="1109" y="930"/>
                    <a:pt x="1109" y="930"/>
                  </a:cubicBezTo>
                  <a:moveTo>
                    <a:pt x="1129" y="930"/>
                  </a:moveTo>
                  <a:cubicBezTo>
                    <a:pt x="1117" y="930"/>
                    <a:pt x="1117" y="930"/>
                    <a:pt x="1117" y="930"/>
                  </a:cubicBezTo>
                  <a:cubicBezTo>
                    <a:pt x="1117" y="934"/>
                    <a:pt x="1117" y="934"/>
                    <a:pt x="1117" y="934"/>
                  </a:cubicBezTo>
                  <a:cubicBezTo>
                    <a:pt x="1129" y="934"/>
                    <a:pt x="1129" y="934"/>
                    <a:pt x="1129" y="934"/>
                  </a:cubicBezTo>
                  <a:cubicBezTo>
                    <a:pt x="1129" y="930"/>
                    <a:pt x="1129" y="930"/>
                    <a:pt x="1129" y="930"/>
                  </a:cubicBezTo>
                  <a:moveTo>
                    <a:pt x="1149" y="930"/>
                  </a:moveTo>
                  <a:cubicBezTo>
                    <a:pt x="1137" y="930"/>
                    <a:pt x="1137" y="930"/>
                    <a:pt x="1137" y="930"/>
                  </a:cubicBezTo>
                  <a:cubicBezTo>
                    <a:pt x="1137" y="934"/>
                    <a:pt x="1137" y="934"/>
                    <a:pt x="1137" y="934"/>
                  </a:cubicBezTo>
                  <a:cubicBezTo>
                    <a:pt x="1149" y="934"/>
                    <a:pt x="1149" y="934"/>
                    <a:pt x="1149" y="934"/>
                  </a:cubicBezTo>
                  <a:cubicBezTo>
                    <a:pt x="1149" y="930"/>
                    <a:pt x="1149" y="930"/>
                    <a:pt x="1149" y="930"/>
                  </a:cubicBezTo>
                  <a:moveTo>
                    <a:pt x="1169" y="930"/>
                  </a:moveTo>
                  <a:cubicBezTo>
                    <a:pt x="1157" y="930"/>
                    <a:pt x="1157" y="930"/>
                    <a:pt x="1157" y="930"/>
                  </a:cubicBezTo>
                  <a:cubicBezTo>
                    <a:pt x="1157" y="934"/>
                    <a:pt x="1157" y="934"/>
                    <a:pt x="1157" y="934"/>
                  </a:cubicBezTo>
                  <a:cubicBezTo>
                    <a:pt x="1169" y="934"/>
                    <a:pt x="1169" y="934"/>
                    <a:pt x="1169" y="934"/>
                  </a:cubicBezTo>
                  <a:cubicBezTo>
                    <a:pt x="1169" y="930"/>
                    <a:pt x="1169" y="930"/>
                    <a:pt x="1169" y="930"/>
                  </a:cubicBezTo>
                  <a:moveTo>
                    <a:pt x="1189" y="930"/>
                  </a:moveTo>
                  <a:cubicBezTo>
                    <a:pt x="1177" y="930"/>
                    <a:pt x="1177" y="930"/>
                    <a:pt x="1177" y="930"/>
                  </a:cubicBezTo>
                  <a:cubicBezTo>
                    <a:pt x="1177" y="934"/>
                    <a:pt x="1177" y="934"/>
                    <a:pt x="1177" y="934"/>
                  </a:cubicBezTo>
                  <a:cubicBezTo>
                    <a:pt x="1189" y="934"/>
                    <a:pt x="1189" y="934"/>
                    <a:pt x="1189" y="934"/>
                  </a:cubicBezTo>
                  <a:cubicBezTo>
                    <a:pt x="1189" y="930"/>
                    <a:pt x="1189" y="930"/>
                    <a:pt x="1189" y="930"/>
                  </a:cubicBezTo>
                  <a:moveTo>
                    <a:pt x="1209" y="930"/>
                  </a:moveTo>
                  <a:cubicBezTo>
                    <a:pt x="1197" y="930"/>
                    <a:pt x="1197" y="930"/>
                    <a:pt x="1197" y="930"/>
                  </a:cubicBezTo>
                  <a:cubicBezTo>
                    <a:pt x="1197" y="934"/>
                    <a:pt x="1197" y="934"/>
                    <a:pt x="1197" y="934"/>
                  </a:cubicBezTo>
                  <a:cubicBezTo>
                    <a:pt x="1209" y="934"/>
                    <a:pt x="1209" y="934"/>
                    <a:pt x="1209" y="934"/>
                  </a:cubicBezTo>
                  <a:cubicBezTo>
                    <a:pt x="1209" y="930"/>
                    <a:pt x="1209" y="930"/>
                    <a:pt x="1209" y="930"/>
                  </a:cubicBezTo>
                  <a:moveTo>
                    <a:pt x="1229" y="930"/>
                  </a:moveTo>
                  <a:cubicBezTo>
                    <a:pt x="1217" y="930"/>
                    <a:pt x="1217" y="930"/>
                    <a:pt x="1217" y="930"/>
                  </a:cubicBezTo>
                  <a:cubicBezTo>
                    <a:pt x="1217" y="934"/>
                    <a:pt x="1217" y="934"/>
                    <a:pt x="1217" y="934"/>
                  </a:cubicBezTo>
                  <a:cubicBezTo>
                    <a:pt x="1229" y="934"/>
                    <a:pt x="1229" y="934"/>
                    <a:pt x="1229" y="934"/>
                  </a:cubicBezTo>
                  <a:cubicBezTo>
                    <a:pt x="1229" y="930"/>
                    <a:pt x="1229" y="930"/>
                    <a:pt x="1229" y="930"/>
                  </a:cubicBezTo>
                  <a:moveTo>
                    <a:pt x="1249" y="930"/>
                  </a:moveTo>
                  <a:cubicBezTo>
                    <a:pt x="1237" y="930"/>
                    <a:pt x="1237" y="930"/>
                    <a:pt x="1237" y="930"/>
                  </a:cubicBezTo>
                  <a:cubicBezTo>
                    <a:pt x="1237" y="934"/>
                    <a:pt x="1237" y="934"/>
                    <a:pt x="1237" y="934"/>
                  </a:cubicBezTo>
                  <a:cubicBezTo>
                    <a:pt x="1249" y="934"/>
                    <a:pt x="1249" y="934"/>
                    <a:pt x="1249" y="934"/>
                  </a:cubicBezTo>
                  <a:cubicBezTo>
                    <a:pt x="1249" y="930"/>
                    <a:pt x="1249" y="930"/>
                    <a:pt x="1249" y="930"/>
                  </a:cubicBezTo>
                  <a:moveTo>
                    <a:pt x="1269" y="930"/>
                  </a:moveTo>
                  <a:cubicBezTo>
                    <a:pt x="1257" y="930"/>
                    <a:pt x="1257" y="930"/>
                    <a:pt x="1257" y="930"/>
                  </a:cubicBezTo>
                  <a:cubicBezTo>
                    <a:pt x="1257" y="934"/>
                    <a:pt x="1257" y="934"/>
                    <a:pt x="1257" y="934"/>
                  </a:cubicBezTo>
                  <a:cubicBezTo>
                    <a:pt x="1269" y="934"/>
                    <a:pt x="1269" y="934"/>
                    <a:pt x="1269" y="934"/>
                  </a:cubicBezTo>
                  <a:cubicBezTo>
                    <a:pt x="1269" y="930"/>
                    <a:pt x="1269" y="930"/>
                    <a:pt x="1269" y="930"/>
                  </a:cubicBezTo>
                  <a:moveTo>
                    <a:pt x="1289" y="930"/>
                  </a:moveTo>
                  <a:cubicBezTo>
                    <a:pt x="1277" y="930"/>
                    <a:pt x="1277" y="930"/>
                    <a:pt x="1277" y="930"/>
                  </a:cubicBezTo>
                  <a:cubicBezTo>
                    <a:pt x="1277" y="934"/>
                    <a:pt x="1277" y="934"/>
                    <a:pt x="1277" y="934"/>
                  </a:cubicBezTo>
                  <a:cubicBezTo>
                    <a:pt x="1289" y="934"/>
                    <a:pt x="1289" y="934"/>
                    <a:pt x="1289" y="934"/>
                  </a:cubicBezTo>
                  <a:cubicBezTo>
                    <a:pt x="1289" y="930"/>
                    <a:pt x="1289" y="930"/>
                    <a:pt x="1289" y="930"/>
                  </a:cubicBezTo>
                  <a:moveTo>
                    <a:pt x="1309" y="930"/>
                  </a:moveTo>
                  <a:cubicBezTo>
                    <a:pt x="1297" y="930"/>
                    <a:pt x="1297" y="930"/>
                    <a:pt x="1297" y="930"/>
                  </a:cubicBezTo>
                  <a:cubicBezTo>
                    <a:pt x="1297" y="934"/>
                    <a:pt x="1297" y="934"/>
                    <a:pt x="1297" y="934"/>
                  </a:cubicBezTo>
                  <a:cubicBezTo>
                    <a:pt x="1309" y="934"/>
                    <a:pt x="1309" y="934"/>
                    <a:pt x="1309" y="934"/>
                  </a:cubicBezTo>
                  <a:cubicBezTo>
                    <a:pt x="1309" y="930"/>
                    <a:pt x="1309" y="930"/>
                    <a:pt x="1309" y="930"/>
                  </a:cubicBezTo>
                  <a:moveTo>
                    <a:pt x="1329" y="930"/>
                  </a:moveTo>
                  <a:cubicBezTo>
                    <a:pt x="1317" y="930"/>
                    <a:pt x="1317" y="930"/>
                    <a:pt x="1317" y="930"/>
                  </a:cubicBezTo>
                  <a:cubicBezTo>
                    <a:pt x="1317" y="934"/>
                    <a:pt x="1317" y="934"/>
                    <a:pt x="1317" y="934"/>
                  </a:cubicBezTo>
                  <a:cubicBezTo>
                    <a:pt x="1329" y="934"/>
                    <a:pt x="1329" y="934"/>
                    <a:pt x="1329" y="934"/>
                  </a:cubicBezTo>
                  <a:cubicBezTo>
                    <a:pt x="1329" y="930"/>
                    <a:pt x="1329" y="930"/>
                    <a:pt x="1329" y="930"/>
                  </a:cubicBezTo>
                  <a:moveTo>
                    <a:pt x="1349" y="930"/>
                  </a:moveTo>
                  <a:cubicBezTo>
                    <a:pt x="1337" y="930"/>
                    <a:pt x="1337" y="930"/>
                    <a:pt x="1337" y="930"/>
                  </a:cubicBezTo>
                  <a:cubicBezTo>
                    <a:pt x="1337" y="934"/>
                    <a:pt x="1337" y="934"/>
                    <a:pt x="1337" y="934"/>
                  </a:cubicBezTo>
                  <a:cubicBezTo>
                    <a:pt x="1349" y="934"/>
                    <a:pt x="1349" y="934"/>
                    <a:pt x="1349" y="934"/>
                  </a:cubicBezTo>
                  <a:cubicBezTo>
                    <a:pt x="1349" y="930"/>
                    <a:pt x="1349" y="930"/>
                    <a:pt x="1349" y="930"/>
                  </a:cubicBezTo>
                  <a:moveTo>
                    <a:pt x="1369" y="930"/>
                  </a:moveTo>
                  <a:cubicBezTo>
                    <a:pt x="1357" y="930"/>
                    <a:pt x="1357" y="930"/>
                    <a:pt x="1357" y="930"/>
                  </a:cubicBezTo>
                  <a:cubicBezTo>
                    <a:pt x="1357" y="934"/>
                    <a:pt x="1357" y="934"/>
                    <a:pt x="1357" y="934"/>
                  </a:cubicBezTo>
                  <a:cubicBezTo>
                    <a:pt x="1369" y="934"/>
                    <a:pt x="1369" y="934"/>
                    <a:pt x="1369" y="934"/>
                  </a:cubicBezTo>
                  <a:cubicBezTo>
                    <a:pt x="1369" y="930"/>
                    <a:pt x="1369" y="930"/>
                    <a:pt x="1369" y="930"/>
                  </a:cubicBezTo>
                  <a:moveTo>
                    <a:pt x="1389" y="930"/>
                  </a:moveTo>
                  <a:cubicBezTo>
                    <a:pt x="1377" y="930"/>
                    <a:pt x="1377" y="930"/>
                    <a:pt x="1377" y="930"/>
                  </a:cubicBezTo>
                  <a:cubicBezTo>
                    <a:pt x="1377" y="934"/>
                    <a:pt x="1377" y="934"/>
                    <a:pt x="1377" y="934"/>
                  </a:cubicBezTo>
                  <a:cubicBezTo>
                    <a:pt x="1389" y="934"/>
                    <a:pt x="1389" y="934"/>
                    <a:pt x="1389" y="934"/>
                  </a:cubicBezTo>
                  <a:cubicBezTo>
                    <a:pt x="1389" y="930"/>
                    <a:pt x="1389" y="930"/>
                    <a:pt x="1389" y="930"/>
                  </a:cubicBezTo>
                  <a:moveTo>
                    <a:pt x="1409" y="930"/>
                  </a:moveTo>
                  <a:cubicBezTo>
                    <a:pt x="1397" y="930"/>
                    <a:pt x="1397" y="930"/>
                    <a:pt x="1397" y="930"/>
                  </a:cubicBezTo>
                  <a:cubicBezTo>
                    <a:pt x="1397" y="934"/>
                    <a:pt x="1397" y="934"/>
                    <a:pt x="1397" y="934"/>
                  </a:cubicBezTo>
                  <a:cubicBezTo>
                    <a:pt x="1409" y="934"/>
                    <a:pt x="1409" y="934"/>
                    <a:pt x="1409" y="934"/>
                  </a:cubicBezTo>
                  <a:cubicBezTo>
                    <a:pt x="1409" y="930"/>
                    <a:pt x="1409" y="930"/>
                    <a:pt x="1409" y="930"/>
                  </a:cubicBezTo>
                  <a:moveTo>
                    <a:pt x="1429" y="930"/>
                  </a:moveTo>
                  <a:cubicBezTo>
                    <a:pt x="1417" y="930"/>
                    <a:pt x="1417" y="930"/>
                    <a:pt x="1417" y="930"/>
                  </a:cubicBezTo>
                  <a:cubicBezTo>
                    <a:pt x="1417" y="934"/>
                    <a:pt x="1417" y="934"/>
                    <a:pt x="1417" y="934"/>
                  </a:cubicBezTo>
                  <a:cubicBezTo>
                    <a:pt x="1429" y="934"/>
                    <a:pt x="1429" y="934"/>
                    <a:pt x="1429" y="934"/>
                  </a:cubicBezTo>
                  <a:cubicBezTo>
                    <a:pt x="1429" y="930"/>
                    <a:pt x="1429" y="930"/>
                    <a:pt x="1429" y="930"/>
                  </a:cubicBezTo>
                  <a:moveTo>
                    <a:pt x="1449" y="930"/>
                  </a:moveTo>
                  <a:cubicBezTo>
                    <a:pt x="1437" y="930"/>
                    <a:pt x="1437" y="930"/>
                    <a:pt x="1437" y="930"/>
                  </a:cubicBezTo>
                  <a:cubicBezTo>
                    <a:pt x="1437" y="934"/>
                    <a:pt x="1437" y="934"/>
                    <a:pt x="1437" y="934"/>
                  </a:cubicBezTo>
                  <a:cubicBezTo>
                    <a:pt x="1449" y="934"/>
                    <a:pt x="1449" y="934"/>
                    <a:pt x="1449" y="934"/>
                  </a:cubicBezTo>
                  <a:cubicBezTo>
                    <a:pt x="1449" y="930"/>
                    <a:pt x="1449" y="930"/>
                    <a:pt x="1449" y="930"/>
                  </a:cubicBezTo>
                  <a:moveTo>
                    <a:pt x="1469" y="930"/>
                  </a:moveTo>
                  <a:cubicBezTo>
                    <a:pt x="1457" y="930"/>
                    <a:pt x="1457" y="930"/>
                    <a:pt x="1457" y="930"/>
                  </a:cubicBezTo>
                  <a:cubicBezTo>
                    <a:pt x="1457" y="934"/>
                    <a:pt x="1457" y="934"/>
                    <a:pt x="1457" y="934"/>
                  </a:cubicBezTo>
                  <a:cubicBezTo>
                    <a:pt x="1469" y="934"/>
                    <a:pt x="1469" y="934"/>
                    <a:pt x="1469" y="934"/>
                  </a:cubicBezTo>
                  <a:cubicBezTo>
                    <a:pt x="1469" y="930"/>
                    <a:pt x="1469" y="930"/>
                    <a:pt x="1469" y="930"/>
                  </a:cubicBezTo>
                  <a:moveTo>
                    <a:pt x="1489" y="930"/>
                  </a:moveTo>
                  <a:cubicBezTo>
                    <a:pt x="1477" y="930"/>
                    <a:pt x="1477" y="930"/>
                    <a:pt x="1477" y="930"/>
                  </a:cubicBezTo>
                  <a:cubicBezTo>
                    <a:pt x="1477" y="934"/>
                    <a:pt x="1477" y="934"/>
                    <a:pt x="1477" y="934"/>
                  </a:cubicBezTo>
                  <a:cubicBezTo>
                    <a:pt x="1489" y="934"/>
                    <a:pt x="1489" y="934"/>
                    <a:pt x="1489" y="934"/>
                  </a:cubicBezTo>
                  <a:cubicBezTo>
                    <a:pt x="1489" y="930"/>
                    <a:pt x="1489" y="930"/>
                    <a:pt x="1489" y="930"/>
                  </a:cubicBezTo>
                  <a:moveTo>
                    <a:pt x="1509" y="930"/>
                  </a:moveTo>
                  <a:cubicBezTo>
                    <a:pt x="1497" y="930"/>
                    <a:pt x="1497" y="930"/>
                    <a:pt x="1497" y="930"/>
                  </a:cubicBezTo>
                  <a:cubicBezTo>
                    <a:pt x="1497" y="934"/>
                    <a:pt x="1497" y="934"/>
                    <a:pt x="1497" y="934"/>
                  </a:cubicBezTo>
                  <a:cubicBezTo>
                    <a:pt x="1509" y="934"/>
                    <a:pt x="1509" y="934"/>
                    <a:pt x="1509" y="934"/>
                  </a:cubicBezTo>
                  <a:cubicBezTo>
                    <a:pt x="1509" y="930"/>
                    <a:pt x="1509" y="930"/>
                    <a:pt x="1509" y="930"/>
                  </a:cubicBezTo>
                  <a:moveTo>
                    <a:pt x="1529" y="930"/>
                  </a:moveTo>
                  <a:cubicBezTo>
                    <a:pt x="1517" y="930"/>
                    <a:pt x="1517" y="930"/>
                    <a:pt x="1517" y="930"/>
                  </a:cubicBezTo>
                  <a:cubicBezTo>
                    <a:pt x="1517" y="934"/>
                    <a:pt x="1517" y="934"/>
                    <a:pt x="1517" y="934"/>
                  </a:cubicBezTo>
                  <a:cubicBezTo>
                    <a:pt x="1529" y="934"/>
                    <a:pt x="1529" y="934"/>
                    <a:pt x="1529" y="934"/>
                  </a:cubicBezTo>
                  <a:cubicBezTo>
                    <a:pt x="1529" y="930"/>
                    <a:pt x="1529" y="930"/>
                    <a:pt x="1529" y="930"/>
                  </a:cubicBezTo>
                  <a:moveTo>
                    <a:pt x="1549" y="930"/>
                  </a:moveTo>
                  <a:cubicBezTo>
                    <a:pt x="1537" y="930"/>
                    <a:pt x="1537" y="930"/>
                    <a:pt x="1537" y="930"/>
                  </a:cubicBezTo>
                  <a:cubicBezTo>
                    <a:pt x="1537" y="934"/>
                    <a:pt x="1537" y="934"/>
                    <a:pt x="1537" y="934"/>
                  </a:cubicBezTo>
                  <a:cubicBezTo>
                    <a:pt x="1549" y="934"/>
                    <a:pt x="1549" y="934"/>
                    <a:pt x="1549" y="934"/>
                  </a:cubicBezTo>
                  <a:cubicBezTo>
                    <a:pt x="1549" y="930"/>
                    <a:pt x="1549" y="930"/>
                    <a:pt x="1549" y="930"/>
                  </a:cubicBezTo>
                  <a:moveTo>
                    <a:pt x="1569" y="930"/>
                  </a:moveTo>
                  <a:cubicBezTo>
                    <a:pt x="1557" y="930"/>
                    <a:pt x="1557" y="930"/>
                    <a:pt x="1557" y="930"/>
                  </a:cubicBezTo>
                  <a:cubicBezTo>
                    <a:pt x="1557" y="934"/>
                    <a:pt x="1557" y="934"/>
                    <a:pt x="1557" y="934"/>
                  </a:cubicBezTo>
                  <a:cubicBezTo>
                    <a:pt x="1569" y="934"/>
                    <a:pt x="1569" y="934"/>
                    <a:pt x="1569" y="934"/>
                  </a:cubicBezTo>
                  <a:cubicBezTo>
                    <a:pt x="1569" y="930"/>
                    <a:pt x="1569" y="930"/>
                    <a:pt x="1569" y="930"/>
                  </a:cubicBezTo>
                  <a:moveTo>
                    <a:pt x="1589" y="930"/>
                  </a:moveTo>
                  <a:cubicBezTo>
                    <a:pt x="1577" y="930"/>
                    <a:pt x="1577" y="930"/>
                    <a:pt x="1577" y="930"/>
                  </a:cubicBezTo>
                  <a:cubicBezTo>
                    <a:pt x="1577" y="934"/>
                    <a:pt x="1577" y="934"/>
                    <a:pt x="1577" y="934"/>
                  </a:cubicBezTo>
                  <a:cubicBezTo>
                    <a:pt x="1589" y="934"/>
                    <a:pt x="1589" y="934"/>
                    <a:pt x="1589" y="934"/>
                  </a:cubicBezTo>
                  <a:cubicBezTo>
                    <a:pt x="1589" y="930"/>
                    <a:pt x="1589" y="930"/>
                    <a:pt x="1589" y="930"/>
                  </a:cubicBezTo>
                  <a:moveTo>
                    <a:pt x="1609" y="930"/>
                  </a:moveTo>
                  <a:cubicBezTo>
                    <a:pt x="1597" y="930"/>
                    <a:pt x="1597" y="930"/>
                    <a:pt x="1597" y="930"/>
                  </a:cubicBezTo>
                  <a:cubicBezTo>
                    <a:pt x="1597" y="934"/>
                    <a:pt x="1597" y="934"/>
                    <a:pt x="1597" y="934"/>
                  </a:cubicBezTo>
                  <a:cubicBezTo>
                    <a:pt x="1609" y="934"/>
                    <a:pt x="1609" y="934"/>
                    <a:pt x="1609" y="934"/>
                  </a:cubicBezTo>
                  <a:cubicBezTo>
                    <a:pt x="1609" y="930"/>
                    <a:pt x="1609" y="930"/>
                    <a:pt x="1609" y="930"/>
                  </a:cubicBezTo>
                  <a:moveTo>
                    <a:pt x="1629" y="930"/>
                  </a:moveTo>
                  <a:cubicBezTo>
                    <a:pt x="1617" y="930"/>
                    <a:pt x="1617" y="930"/>
                    <a:pt x="1617" y="930"/>
                  </a:cubicBezTo>
                  <a:cubicBezTo>
                    <a:pt x="1617" y="934"/>
                    <a:pt x="1617" y="934"/>
                    <a:pt x="1617" y="934"/>
                  </a:cubicBezTo>
                  <a:cubicBezTo>
                    <a:pt x="1629" y="934"/>
                    <a:pt x="1629" y="934"/>
                    <a:pt x="1629" y="934"/>
                  </a:cubicBezTo>
                  <a:cubicBezTo>
                    <a:pt x="1629" y="930"/>
                    <a:pt x="1629" y="930"/>
                    <a:pt x="1629" y="930"/>
                  </a:cubicBezTo>
                  <a:moveTo>
                    <a:pt x="1649" y="930"/>
                  </a:moveTo>
                  <a:cubicBezTo>
                    <a:pt x="1637" y="930"/>
                    <a:pt x="1637" y="930"/>
                    <a:pt x="1637" y="930"/>
                  </a:cubicBezTo>
                  <a:cubicBezTo>
                    <a:pt x="1637" y="934"/>
                    <a:pt x="1637" y="934"/>
                    <a:pt x="1637" y="934"/>
                  </a:cubicBezTo>
                  <a:cubicBezTo>
                    <a:pt x="1649" y="934"/>
                    <a:pt x="1649" y="934"/>
                    <a:pt x="1649" y="934"/>
                  </a:cubicBezTo>
                  <a:cubicBezTo>
                    <a:pt x="1649" y="930"/>
                    <a:pt x="1649" y="930"/>
                    <a:pt x="1649" y="930"/>
                  </a:cubicBezTo>
                  <a:moveTo>
                    <a:pt x="1669" y="930"/>
                  </a:moveTo>
                  <a:cubicBezTo>
                    <a:pt x="1657" y="930"/>
                    <a:pt x="1657" y="930"/>
                    <a:pt x="1657" y="930"/>
                  </a:cubicBezTo>
                  <a:cubicBezTo>
                    <a:pt x="1657" y="934"/>
                    <a:pt x="1657" y="934"/>
                    <a:pt x="1657" y="934"/>
                  </a:cubicBezTo>
                  <a:cubicBezTo>
                    <a:pt x="1669" y="934"/>
                    <a:pt x="1669" y="934"/>
                    <a:pt x="1669" y="934"/>
                  </a:cubicBezTo>
                  <a:cubicBezTo>
                    <a:pt x="1669" y="930"/>
                    <a:pt x="1669" y="930"/>
                    <a:pt x="1669" y="930"/>
                  </a:cubicBezTo>
                  <a:moveTo>
                    <a:pt x="1689" y="930"/>
                  </a:moveTo>
                  <a:cubicBezTo>
                    <a:pt x="1677" y="930"/>
                    <a:pt x="1677" y="930"/>
                    <a:pt x="1677" y="930"/>
                  </a:cubicBezTo>
                  <a:cubicBezTo>
                    <a:pt x="1677" y="934"/>
                    <a:pt x="1677" y="934"/>
                    <a:pt x="1677" y="934"/>
                  </a:cubicBezTo>
                  <a:cubicBezTo>
                    <a:pt x="1689" y="934"/>
                    <a:pt x="1689" y="934"/>
                    <a:pt x="1689" y="934"/>
                  </a:cubicBezTo>
                  <a:cubicBezTo>
                    <a:pt x="1689" y="930"/>
                    <a:pt x="1689" y="930"/>
                    <a:pt x="1689" y="930"/>
                  </a:cubicBezTo>
                  <a:moveTo>
                    <a:pt x="1709" y="930"/>
                  </a:moveTo>
                  <a:cubicBezTo>
                    <a:pt x="1697" y="930"/>
                    <a:pt x="1697" y="930"/>
                    <a:pt x="1697" y="930"/>
                  </a:cubicBezTo>
                  <a:cubicBezTo>
                    <a:pt x="1697" y="934"/>
                    <a:pt x="1697" y="934"/>
                    <a:pt x="1697" y="934"/>
                  </a:cubicBezTo>
                  <a:cubicBezTo>
                    <a:pt x="1709" y="934"/>
                    <a:pt x="1709" y="934"/>
                    <a:pt x="1709" y="934"/>
                  </a:cubicBezTo>
                  <a:cubicBezTo>
                    <a:pt x="1709" y="930"/>
                    <a:pt x="1709" y="930"/>
                    <a:pt x="1709" y="930"/>
                  </a:cubicBezTo>
                  <a:moveTo>
                    <a:pt x="1729" y="930"/>
                  </a:moveTo>
                  <a:cubicBezTo>
                    <a:pt x="1717" y="930"/>
                    <a:pt x="1717" y="930"/>
                    <a:pt x="1717" y="930"/>
                  </a:cubicBezTo>
                  <a:cubicBezTo>
                    <a:pt x="1717" y="934"/>
                    <a:pt x="1717" y="934"/>
                    <a:pt x="1717" y="934"/>
                  </a:cubicBezTo>
                  <a:cubicBezTo>
                    <a:pt x="1729" y="934"/>
                    <a:pt x="1729" y="934"/>
                    <a:pt x="1729" y="934"/>
                  </a:cubicBezTo>
                  <a:cubicBezTo>
                    <a:pt x="1729" y="930"/>
                    <a:pt x="1729" y="930"/>
                    <a:pt x="1729" y="930"/>
                  </a:cubicBezTo>
                  <a:moveTo>
                    <a:pt x="1749" y="930"/>
                  </a:moveTo>
                  <a:cubicBezTo>
                    <a:pt x="1737" y="930"/>
                    <a:pt x="1737" y="930"/>
                    <a:pt x="1737" y="930"/>
                  </a:cubicBezTo>
                  <a:cubicBezTo>
                    <a:pt x="1737" y="934"/>
                    <a:pt x="1737" y="934"/>
                    <a:pt x="1737" y="934"/>
                  </a:cubicBezTo>
                  <a:cubicBezTo>
                    <a:pt x="1749" y="934"/>
                    <a:pt x="1749" y="934"/>
                    <a:pt x="1749" y="934"/>
                  </a:cubicBezTo>
                  <a:cubicBezTo>
                    <a:pt x="1749" y="930"/>
                    <a:pt x="1749" y="930"/>
                    <a:pt x="1749" y="930"/>
                  </a:cubicBezTo>
                  <a:moveTo>
                    <a:pt x="1769" y="930"/>
                  </a:moveTo>
                  <a:cubicBezTo>
                    <a:pt x="1757" y="930"/>
                    <a:pt x="1757" y="930"/>
                    <a:pt x="1757" y="930"/>
                  </a:cubicBezTo>
                  <a:cubicBezTo>
                    <a:pt x="1757" y="934"/>
                    <a:pt x="1757" y="934"/>
                    <a:pt x="1757" y="934"/>
                  </a:cubicBezTo>
                  <a:cubicBezTo>
                    <a:pt x="1769" y="934"/>
                    <a:pt x="1769" y="934"/>
                    <a:pt x="1769" y="934"/>
                  </a:cubicBezTo>
                  <a:cubicBezTo>
                    <a:pt x="1769" y="930"/>
                    <a:pt x="1769" y="930"/>
                    <a:pt x="1769" y="930"/>
                  </a:cubicBezTo>
                  <a:moveTo>
                    <a:pt x="1789" y="930"/>
                  </a:moveTo>
                  <a:cubicBezTo>
                    <a:pt x="1777" y="930"/>
                    <a:pt x="1777" y="930"/>
                    <a:pt x="1777" y="930"/>
                  </a:cubicBezTo>
                  <a:cubicBezTo>
                    <a:pt x="1777" y="934"/>
                    <a:pt x="1777" y="934"/>
                    <a:pt x="1777" y="934"/>
                  </a:cubicBezTo>
                  <a:cubicBezTo>
                    <a:pt x="1789" y="934"/>
                    <a:pt x="1789" y="934"/>
                    <a:pt x="1789" y="934"/>
                  </a:cubicBezTo>
                  <a:cubicBezTo>
                    <a:pt x="1789" y="930"/>
                    <a:pt x="1789" y="930"/>
                    <a:pt x="1789" y="930"/>
                  </a:cubicBezTo>
                  <a:moveTo>
                    <a:pt x="1809" y="930"/>
                  </a:moveTo>
                  <a:cubicBezTo>
                    <a:pt x="1797" y="930"/>
                    <a:pt x="1797" y="930"/>
                    <a:pt x="1797" y="930"/>
                  </a:cubicBezTo>
                  <a:cubicBezTo>
                    <a:pt x="1797" y="934"/>
                    <a:pt x="1797" y="934"/>
                    <a:pt x="1797" y="934"/>
                  </a:cubicBezTo>
                  <a:cubicBezTo>
                    <a:pt x="1809" y="934"/>
                    <a:pt x="1809" y="934"/>
                    <a:pt x="1809" y="934"/>
                  </a:cubicBezTo>
                  <a:cubicBezTo>
                    <a:pt x="1809" y="930"/>
                    <a:pt x="1809" y="930"/>
                    <a:pt x="1809" y="930"/>
                  </a:cubicBezTo>
                  <a:moveTo>
                    <a:pt x="1829" y="930"/>
                  </a:moveTo>
                  <a:cubicBezTo>
                    <a:pt x="1817" y="930"/>
                    <a:pt x="1817" y="930"/>
                    <a:pt x="1817" y="930"/>
                  </a:cubicBezTo>
                  <a:cubicBezTo>
                    <a:pt x="1817" y="934"/>
                    <a:pt x="1817" y="934"/>
                    <a:pt x="1817" y="934"/>
                  </a:cubicBezTo>
                  <a:cubicBezTo>
                    <a:pt x="1829" y="934"/>
                    <a:pt x="1829" y="934"/>
                    <a:pt x="1829" y="934"/>
                  </a:cubicBezTo>
                  <a:cubicBezTo>
                    <a:pt x="1829" y="930"/>
                    <a:pt x="1829" y="930"/>
                    <a:pt x="1829" y="930"/>
                  </a:cubicBezTo>
                  <a:moveTo>
                    <a:pt x="1849" y="930"/>
                  </a:moveTo>
                  <a:cubicBezTo>
                    <a:pt x="1837" y="930"/>
                    <a:pt x="1837" y="930"/>
                    <a:pt x="1837" y="930"/>
                  </a:cubicBezTo>
                  <a:cubicBezTo>
                    <a:pt x="1837" y="934"/>
                    <a:pt x="1837" y="934"/>
                    <a:pt x="1837" y="934"/>
                  </a:cubicBezTo>
                  <a:cubicBezTo>
                    <a:pt x="1849" y="934"/>
                    <a:pt x="1849" y="934"/>
                    <a:pt x="1849" y="934"/>
                  </a:cubicBezTo>
                  <a:cubicBezTo>
                    <a:pt x="1849" y="930"/>
                    <a:pt x="1849" y="930"/>
                    <a:pt x="1849" y="930"/>
                  </a:cubicBezTo>
                  <a:moveTo>
                    <a:pt x="1869" y="930"/>
                  </a:moveTo>
                  <a:cubicBezTo>
                    <a:pt x="1857" y="930"/>
                    <a:pt x="1857" y="930"/>
                    <a:pt x="1857" y="930"/>
                  </a:cubicBezTo>
                  <a:cubicBezTo>
                    <a:pt x="1857" y="934"/>
                    <a:pt x="1857" y="934"/>
                    <a:pt x="1857" y="934"/>
                  </a:cubicBezTo>
                  <a:cubicBezTo>
                    <a:pt x="1869" y="934"/>
                    <a:pt x="1869" y="934"/>
                    <a:pt x="1869" y="934"/>
                  </a:cubicBezTo>
                  <a:cubicBezTo>
                    <a:pt x="1869" y="930"/>
                    <a:pt x="1869" y="930"/>
                    <a:pt x="1869" y="930"/>
                  </a:cubicBezTo>
                  <a:moveTo>
                    <a:pt x="1889" y="930"/>
                  </a:moveTo>
                  <a:cubicBezTo>
                    <a:pt x="1877" y="930"/>
                    <a:pt x="1877" y="930"/>
                    <a:pt x="1877" y="930"/>
                  </a:cubicBezTo>
                  <a:cubicBezTo>
                    <a:pt x="1877" y="934"/>
                    <a:pt x="1877" y="934"/>
                    <a:pt x="1877" y="934"/>
                  </a:cubicBezTo>
                  <a:cubicBezTo>
                    <a:pt x="1889" y="934"/>
                    <a:pt x="1889" y="934"/>
                    <a:pt x="1889" y="934"/>
                  </a:cubicBezTo>
                  <a:cubicBezTo>
                    <a:pt x="1889" y="930"/>
                    <a:pt x="1889" y="930"/>
                    <a:pt x="1889" y="930"/>
                  </a:cubicBezTo>
                  <a:moveTo>
                    <a:pt x="1909" y="930"/>
                  </a:moveTo>
                  <a:cubicBezTo>
                    <a:pt x="1897" y="930"/>
                    <a:pt x="1897" y="930"/>
                    <a:pt x="1897" y="930"/>
                  </a:cubicBezTo>
                  <a:cubicBezTo>
                    <a:pt x="1897" y="934"/>
                    <a:pt x="1897" y="934"/>
                    <a:pt x="1897" y="934"/>
                  </a:cubicBezTo>
                  <a:cubicBezTo>
                    <a:pt x="1909" y="934"/>
                    <a:pt x="1909" y="934"/>
                    <a:pt x="1909" y="934"/>
                  </a:cubicBezTo>
                  <a:cubicBezTo>
                    <a:pt x="1909" y="930"/>
                    <a:pt x="1909" y="930"/>
                    <a:pt x="1909" y="930"/>
                  </a:cubicBezTo>
                  <a:moveTo>
                    <a:pt x="1929" y="930"/>
                  </a:moveTo>
                  <a:cubicBezTo>
                    <a:pt x="1917" y="930"/>
                    <a:pt x="1917" y="930"/>
                    <a:pt x="1917" y="930"/>
                  </a:cubicBezTo>
                  <a:cubicBezTo>
                    <a:pt x="1917" y="934"/>
                    <a:pt x="1917" y="934"/>
                    <a:pt x="1917" y="934"/>
                  </a:cubicBezTo>
                  <a:cubicBezTo>
                    <a:pt x="1929" y="934"/>
                    <a:pt x="1929" y="934"/>
                    <a:pt x="1929" y="934"/>
                  </a:cubicBezTo>
                  <a:cubicBezTo>
                    <a:pt x="1929" y="930"/>
                    <a:pt x="1929" y="930"/>
                    <a:pt x="1929" y="930"/>
                  </a:cubicBezTo>
                  <a:moveTo>
                    <a:pt x="1949" y="930"/>
                  </a:moveTo>
                  <a:cubicBezTo>
                    <a:pt x="1937" y="930"/>
                    <a:pt x="1937" y="930"/>
                    <a:pt x="1937" y="930"/>
                  </a:cubicBezTo>
                  <a:cubicBezTo>
                    <a:pt x="1937" y="934"/>
                    <a:pt x="1937" y="934"/>
                    <a:pt x="1937" y="934"/>
                  </a:cubicBezTo>
                  <a:cubicBezTo>
                    <a:pt x="1949" y="934"/>
                    <a:pt x="1949" y="934"/>
                    <a:pt x="1949" y="934"/>
                  </a:cubicBezTo>
                  <a:cubicBezTo>
                    <a:pt x="1949" y="930"/>
                    <a:pt x="1949" y="930"/>
                    <a:pt x="1949" y="930"/>
                  </a:cubicBezTo>
                  <a:moveTo>
                    <a:pt x="1969" y="930"/>
                  </a:moveTo>
                  <a:cubicBezTo>
                    <a:pt x="1957" y="930"/>
                    <a:pt x="1957" y="930"/>
                    <a:pt x="1957" y="930"/>
                  </a:cubicBezTo>
                  <a:cubicBezTo>
                    <a:pt x="1957" y="934"/>
                    <a:pt x="1957" y="934"/>
                    <a:pt x="1957" y="934"/>
                  </a:cubicBezTo>
                  <a:cubicBezTo>
                    <a:pt x="1969" y="934"/>
                    <a:pt x="1969" y="934"/>
                    <a:pt x="1969" y="934"/>
                  </a:cubicBezTo>
                  <a:cubicBezTo>
                    <a:pt x="1969" y="930"/>
                    <a:pt x="1969" y="930"/>
                    <a:pt x="1969" y="930"/>
                  </a:cubicBezTo>
                  <a:moveTo>
                    <a:pt x="1989" y="930"/>
                  </a:moveTo>
                  <a:cubicBezTo>
                    <a:pt x="1977" y="930"/>
                    <a:pt x="1977" y="930"/>
                    <a:pt x="1977" y="930"/>
                  </a:cubicBezTo>
                  <a:cubicBezTo>
                    <a:pt x="1977" y="934"/>
                    <a:pt x="1977" y="934"/>
                    <a:pt x="1977" y="934"/>
                  </a:cubicBezTo>
                  <a:cubicBezTo>
                    <a:pt x="1989" y="934"/>
                    <a:pt x="1989" y="934"/>
                    <a:pt x="1989" y="934"/>
                  </a:cubicBezTo>
                  <a:cubicBezTo>
                    <a:pt x="1989" y="930"/>
                    <a:pt x="1989" y="930"/>
                    <a:pt x="1989" y="930"/>
                  </a:cubicBezTo>
                  <a:moveTo>
                    <a:pt x="2009" y="930"/>
                  </a:moveTo>
                  <a:cubicBezTo>
                    <a:pt x="1997" y="930"/>
                    <a:pt x="1997" y="930"/>
                    <a:pt x="1997" y="930"/>
                  </a:cubicBezTo>
                  <a:cubicBezTo>
                    <a:pt x="1997" y="934"/>
                    <a:pt x="1997" y="934"/>
                    <a:pt x="1997" y="934"/>
                  </a:cubicBezTo>
                  <a:cubicBezTo>
                    <a:pt x="2009" y="934"/>
                    <a:pt x="2009" y="934"/>
                    <a:pt x="2009" y="934"/>
                  </a:cubicBezTo>
                  <a:cubicBezTo>
                    <a:pt x="2009" y="930"/>
                    <a:pt x="2009" y="930"/>
                    <a:pt x="2009" y="930"/>
                  </a:cubicBezTo>
                  <a:moveTo>
                    <a:pt x="2029" y="930"/>
                  </a:moveTo>
                  <a:cubicBezTo>
                    <a:pt x="2017" y="930"/>
                    <a:pt x="2017" y="930"/>
                    <a:pt x="2017" y="930"/>
                  </a:cubicBezTo>
                  <a:cubicBezTo>
                    <a:pt x="2017" y="934"/>
                    <a:pt x="2017" y="934"/>
                    <a:pt x="2017" y="934"/>
                  </a:cubicBezTo>
                  <a:cubicBezTo>
                    <a:pt x="2029" y="934"/>
                    <a:pt x="2029" y="934"/>
                    <a:pt x="2029" y="934"/>
                  </a:cubicBezTo>
                  <a:cubicBezTo>
                    <a:pt x="2029" y="930"/>
                    <a:pt x="2029" y="930"/>
                    <a:pt x="2029" y="930"/>
                  </a:cubicBezTo>
                  <a:moveTo>
                    <a:pt x="2049" y="930"/>
                  </a:moveTo>
                  <a:cubicBezTo>
                    <a:pt x="2037" y="930"/>
                    <a:pt x="2037" y="930"/>
                    <a:pt x="2037" y="930"/>
                  </a:cubicBezTo>
                  <a:cubicBezTo>
                    <a:pt x="2037" y="934"/>
                    <a:pt x="2037" y="934"/>
                    <a:pt x="2037" y="934"/>
                  </a:cubicBezTo>
                  <a:cubicBezTo>
                    <a:pt x="2049" y="934"/>
                    <a:pt x="2049" y="934"/>
                    <a:pt x="2049" y="934"/>
                  </a:cubicBezTo>
                  <a:cubicBezTo>
                    <a:pt x="2049" y="930"/>
                    <a:pt x="2049" y="930"/>
                    <a:pt x="2049" y="930"/>
                  </a:cubicBezTo>
                  <a:moveTo>
                    <a:pt x="2069" y="930"/>
                  </a:moveTo>
                  <a:cubicBezTo>
                    <a:pt x="2057" y="930"/>
                    <a:pt x="2057" y="930"/>
                    <a:pt x="2057" y="930"/>
                  </a:cubicBezTo>
                  <a:cubicBezTo>
                    <a:pt x="2057" y="934"/>
                    <a:pt x="2057" y="934"/>
                    <a:pt x="2057" y="934"/>
                  </a:cubicBezTo>
                  <a:cubicBezTo>
                    <a:pt x="2069" y="934"/>
                    <a:pt x="2069" y="934"/>
                    <a:pt x="2069" y="934"/>
                  </a:cubicBezTo>
                  <a:cubicBezTo>
                    <a:pt x="2069" y="930"/>
                    <a:pt x="2069" y="930"/>
                    <a:pt x="2069" y="930"/>
                  </a:cubicBezTo>
                  <a:moveTo>
                    <a:pt x="2089" y="930"/>
                  </a:moveTo>
                  <a:cubicBezTo>
                    <a:pt x="2077" y="930"/>
                    <a:pt x="2077" y="930"/>
                    <a:pt x="2077" y="930"/>
                  </a:cubicBezTo>
                  <a:cubicBezTo>
                    <a:pt x="2077" y="934"/>
                    <a:pt x="2077" y="934"/>
                    <a:pt x="2077" y="934"/>
                  </a:cubicBezTo>
                  <a:cubicBezTo>
                    <a:pt x="2089" y="934"/>
                    <a:pt x="2089" y="934"/>
                    <a:pt x="2089" y="934"/>
                  </a:cubicBezTo>
                  <a:cubicBezTo>
                    <a:pt x="2089" y="930"/>
                    <a:pt x="2089" y="930"/>
                    <a:pt x="2089" y="930"/>
                  </a:cubicBezTo>
                  <a:moveTo>
                    <a:pt x="2109" y="930"/>
                  </a:moveTo>
                  <a:cubicBezTo>
                    <a:pt x="2097" y="930"/>
                    <a:pt x="2097" y="930"/>
                    <a:pt x="2097" y="930"/>
                  </a:cubicBezTo>
                  <a:cubicBezTo>
                    <a:pt x="2097" y="934"/>
                    <a:pt x="2097" y="934"/>
                    <a:pt x="2097" y="934"/>
                  </a:cubicBezTo>
                  <a:cubicBezTo>
                    <a:pt x="2109" y="934"/>
                    <a:pt x="2109" y="934"/>
                    <a:pt x="2109" y="934"/>
                  </a:cubicBezTo>
                  <a:cubicBezTo>
                    <a:pt x="2109" y="930"/>
                    <a:pt x="2109" y="930"/>
                    <a:pt x="2109" y="930"/>
                  </a:cubicBezTo>
                  <a:moveTo>
                    <a:pt x="2129" y="930"/>
                  </a:moveTo>
                  <a:cubicBezTo>
                    <a:pt x="2117" y="930"/>
                    <a:pt x="2117" y="930"/>
                    <a:pt x="2117" y="930"/>
                  </a:cubicBezTo>
                  <a:cubicBezTo>
                    <a:pt x="2117" y="934"/>
                    <a:pt x="2117" y="934"/>
                    <a:pt x="2117" y="934"/>
                  </a:cubicBezTo>
                  <a:cubicBezTo>
                    <a:pt x="2129" y="934"/>
                    <a:pt x="2129" y="934"/>
                    <a:pt x="2129" y="934"/>
                  </a:cubicBezTo>
                  <a:cubicBezTo>
                    <a:pt x="2129" y="930"/>
                    <a:pt x="2129" y="930"/>
                    <a:pt x="2129" y="930"/>
                  </a:cubicBezTo>
                  <a:moveTo>
                    <a:pt x="2149" y="930"/>
                  </a:moveTo>
                  <a:cubicBezTo>
                    <a:pt x="2137" y="930"/>
                    <a:pt x="2137" y="930"/>
                    <a:pt x="2137" y="930"/>
                  </a:cubicBezTo>
                  <a:cubicBezTo>
                    <a:pt x="2137" y="934"/>
                    <a:pt x="2137" y="934"/>
                    <a:pt x="2137" y="934"/>
                  </a:cubicBezTo>
                  <a:cubicBezTo>
                    <a:pt x="2149" y="934"/>
                    <a:pt x="2149" y="934"/>
                    <a:pt x="2149" y="934"/>
                  </a:cubicBezTo>
                  <a:cubicBezTo>
                    <a:pt x="2149" y="930"/>
                    <a:pt x="2149" y="930"/>
                    <a:pt x="2149" y="930"/>
                  </a:cubicBezTo>
                  <a:moveTo>
                    <a:pt x="2169" y="930"/>
                  </a:moveTo>
                  <a:cubicBezTo>
                    <a:pt x="2157" y="930"/>
                    <a:pt x="2157" y="930"/>
                    <a:pt x="2157" y="930"/>
                  </a:cubicBezTo>
                  <a:cubicBezTo>
                    <a:pt x="2157" y="934"/>
                    <a:pt x="2157" y="934"/>
                    <a:pt x="2157" y="934"/>
                  </a:cubicBezTo>
                  <a:cubicBezTo>
                    <a:pt x="2169" y="934"/>
                    <a:pt x="2169" y="934"/>
                    <a:pt x="2169" y="934"/>
                  </a:cubicBezTo>
                  <a:cubicBezTo>
                    <a:pt x="2169" y="930"/>
                    <a:pt x="2169" y="930"/>
                    <a:pt x="2169" y="930"/>
                  </a:cubicBezTo>
                  <a:moveTo>
                    <a:pt x="2189" y="930"/>
                  </a:moveTo>
                  <a:cubicBezTo>
                    <a:pt x="2177" y="930"/>
                    <a:pt x="2177" y="930"/>
                    <a:pt x="2177" y="930"/>
                  </a:cubicBezTo>
                  <a:cubicBezTo>
                    <a:pt x="2177" y="934"/>
                    <a:pt x="2177" y="934"/>
                    <a:pt x="2177" y="934"/>
                  </a:cubicBezTo>
                  <a:cubicBezTo>
                    <a:pt x="2189" y="934"/>
                    <a:pt x="2189" y="934"/>
                    <a:pt x="2189" y="934"/>
                  </a:cubicBezTo>
                  <a:cubicBezTo>
                    <a:pt x="2189" y="930"/>
                    <a:pt x="2189" y="930"/>
                    <a:pt x="2189" y="930"/>
                  </a:cubicBezTo>
                  <a:moveTo>
                    <a:pt x="2209" y="930"/>
                  </a:moveTo>
                  <a:cubicBezTo>
                    <a:pt x="2197" y="930"/>
                    <a:pt x="2197" y="930"/>
                    <a:pt x="2197" y="930"/>
                  </a:cubicBezTo>
                  <a:cubicBezTo>
                    <a:pt x="2197" y="934"/>
                    <a:pt x="2197" y="934"/>
                    <a:pt x="2197" y="934"/>
                  </a:cubicBezTo>
                  <a:cubicBezTo>
                    <a:pt x="2209" y="934"/>
                    <a:pt x="2209" y="934"/>
                    <a:pt x="2209" y="934"/>
                  </a:cubicBezTo>
                  <a:cubicBezTo>
                    <a:pt x="2209" y="930"/>
                    <a:pt x="2209" y="930"/>
                    <a:pt x="2209" y="930"/>
                  </a:cubicBezTo>
                  <a:moveTo>
                    <a:pt x="2230" y="930"/>
                  </a:moveTo>
                  <a:cubicBezTo>
                    <a:pt x="2227" y="930"/>
                    <a:pt x="2224" y="930"/>
                    <a:pt x="2221" y="930"/>
                  </a:cubicBezTo>
                  <a:cubicBezTo>
                    <a:pt x="2217" y="930"/>
                    <a:pt x="2217" y="930"/>
                    <a:pt x="2217" y="930"/>
                  </a:cubicBezTo>
                  <a:cubicBezTo>
                    <a:pt x="2217" y="934"/>
                    <a:pt x="2217" y="934"/>
                    <a:pt x="2217" y="934"/>
                  </a:cubicBezTo>
                  <a:cubicBezTo>
                    <a:pt x="2221" y="934"/>
                    <a:pt x="2221" y="934"/>
                    <a:pt x="2221" y="934"/>
                  </a:cubicBezTo>
                  <a:cubicBezTo>
                    <a:pt x="2224" y="934"/>
                    <a:pt x="2227" y="934"/>
                    <a:pt x="2229" y="934"/>
                  </a:cubicBezTo>
                  <a:cubicBezTo>
                    <a:pt x="2230" y="930"/>
                    <a:pt x="2230" y="930"/>
                    <a:pt x="2230" y="930"/>
                  </a:cubicBezTo>
                  <a:cubicBezTo>
                    <a:pt x="2230" y="930"/>
                    <a:pt x="2230" y="930"/>
                    <a:pt x="2230" y="930"/>
                  </a:cubicBezTo>
                  <a:moveTo>
                    <a:pt x="2250" y="933"/>
                  </a:moveTo>
                  <a:cubicBezTo>
                    <a:pt x="2246" y="932"/>
                    <a:pt x="2242" y="931"/>
                    <a:pt x="2238" y="931"/>
                  </a:cubicBezTo>
                  <a:cubicBezTo>
                    <a:pt x="2237" y="935"/>
                    <a:pt x="2237" y="935"/>
                    <a:pt x="2237" y="935"/>
                  </a:cubicBezTo>
                  <a:cubicBezTo>
                    <a:pt x="2241" y="935"/>
                    <a:pt x="2245" y="936"/>
                    <a:pt x="2249" y="937"/>
                  </a:cubicBezTo>
                  <a:cubicBezTo>
                    <a:pt x="2250" y="933"/>
                    <a:pt x="2250" y="933"/>
                    <a:pt x="2250" y="933"/>
                  </a:cubicBezTo>
                  <a:moveTo>
                    <a:pt x="2269" y="939"/>
                  </a:moveTo>
                  <a:cubicBezTo>
                    <a:pt x="2265" y="938"/>
                    <a:pt x="2261" y="936"/>
                    <a:pt x="2258" y="935"/>
                  </a:cubicBezTo>
                  <a:cubicBezTo>
                    <a:pt x="2256" y="939"/>
                    <a:pt x="2256" y="939"/>
                    <a:pt x="2256" y="939"/>
                  </a:cubicBezTo>
                  <a:cubicBezTo>
                    <a:pt x="2260" y="940"/>
                    <a:pt x="2264" y="941"/>
                    <a:pt x="2267" y="943"/>
                  </a:cubicBezTo>
                  <a:cubicBezTo>
                    <a:pt x="2269" y="939"/>
                    <a:pt x="2269" y="939"/>
                    <a:pt x="2269" y="939"/>
                  </a:cubicBezTo>
                  <a:cubicBezTo>
                    <a:pt x="2269" y="939"/>
                    <a:pt x="2269" y="939"/>
                    <a:pt x="2269" y="939"/>
                  </a:cubicBezTo>
                  <a:moveTo>
                    <a:pt x="2287" y="948"/>
                  </a:moveTo>
                  <a:cubicBezTo>
                    <a:pt x="2284" y="946"/>
                    <a:pt x="2280" y="944"/>
                    <a:pt x="2276" y="942"/>
                  </a:cubicBezTo>
                  <a:cubicBezTo>
                    <a:pt x="2275" y="946"/>
                    <a:pt x="2275" y="946"/>
                    <a:pt x="2275" y="946"/>
                  </a:cubicBezTo>
                  <a:cubicBezTo>
                    <a:pt x="2278" y="948"/>
                    <a:pt x="2282" y="950"/>
                    <a:pt x="2285" y="952"/>
                  </a:cubicBezTo>
                  <a:cubicBezTo>
                    <a:pt x="2287" y="948"/>
                    <a:pt x="2287" y="948"/>
                    <a:pt x="2287" y="948"/>
                  </a:cubicBezTo>
                  <a:moveTo>
                    <a:pt x="2303" y="961"/>
                  </a:moveTo>
                  <a:cubicBezTo>
                    <a:pt x="2300" y="958"/>
                    <a:pt x="2297" y="955"/>
                    <a:pt x="2294" y="953"/>
                  </a:cubicBezTo>
                  <a:cubicBezTo>
                    <a:pt x="2291" y="956"/>
                    <a:pt x="2291" y="956"/>
                    <a:pt x="2291" y="956"/>
                  </a:cubicBezTo>
                  <a:cubicBezTo>
                    <a:pt x="2295" y="958"/>
                    <a:pt x="2298" y="961"/>
                    <a:pt x="2301" y="964"/>
                  </a:cubicBezTo>
                  <a:cubicBezTo>
                    <a:pt x="2303" y="961"/>
                    <a:pt x="2303" y="961"/>
                    <a:pt x="2303" y="961"/>
                  </a:cubicBezTo>
                  <a:cubicBezTo>
                    <a:pt x="2303" y="961"/>
                    <a:pt x="2303" y="961"/>
                    <a:pt x="2303" y="961"/>
                  </a:cubicBezTo>
                  <a:moveTo>
                    <a:pt x="2317" y="975"/>
                  </a:moveTo>
                  <a:cubicBezTo>
                    <a:pt x="2315" y="972"/>
                    <a:pt x="2312" y="969"/>
                    <a:pt x="2309" y="966"/>
                  </a:cubicBezTo>
                  <a:cubicBezTo>
                    <a:pt x="2306" y="969"/>
                    <a:pt x="2306" y="969"/>
                    <a:pt x="2306" y="969"/>
                  </a:cubicBezTo>
                  <a:cubicBezTo>
                    <a:pt x="2309" y="972"/>
                    <a:pt x="2312" y="975"/>
                    <a:pt x="2314" y="978"/>
                  </a:cubicBezTo>
                  <a:cubicBezTo>
                    <a:pt x="2317" y="975"/>
                    <a:pt x="2317" y="975"/>
                    <a:pt x="2317" y="975"/>
                  </a:cubicBezTo>
                  <a:cubicBezTo>
                    <a:pt x="2317" y="975"/>
                    <a:pt x="2317" y="975"/>
                    <a:pt x="2317" y="975"/>
                  </a:cubicBezTo>
                  <a:moveTo>
                    <a:pt x="2329" y="992"/>
                  </a:moveTo>
                  <a:cubicBezTo>
                    <a:pt x="2327" y="988"/>
                    <a:pt x="2325" y="985"/>
                    <a:pt x="2322" y="982"/>
                  </a:cubicBezTo>
                  <a:cubicBezTo>
                    <a:pt x="2319" y="984"/>
                    <a:pt x="2319" y="984"/>
                    <a:pt x="2319" y="984"/>
                  </a:cubicBezTo>
                  <a:cubicBezTo>
                    <a:pt x="2321" y="987"/>
                    <a:pt x="2324" y="990"/>
                    <a:pt x="2325" y="994"/>
                  </a:cubicBezTo>
                  <a:cubicBezTo>
                    <a:pt x="2329" y="992"/>
                    <a:pt x="2329" y="992"/>
                    <a:pt x="2329" y="992"/>
                  </a:cubicBezTo>
                  <a:moveTo>
                    <a:pt x="2338" y="1010"/>
                  </a:moveTo>
                  <a:cubicBezTo>
                    <a:pt x="2336" y="1006"/>
                    <a:pt x="2335" y="1003"/>
                    <a:pt x="2333" y="999"/>
                  </a:cubicBezTo>
                  <a:cubicBezTo>
                    <a:pt x="2329" y="1001"/>
                    <a:pt x="2329" y="1001"/>
                    <a:pt x="2329" y="1001"/>
                  </a:cubicBezTo>
                  <a:cubicBezTo>
                    <a:pt x="2331" y="1004"/>
                    <a:pt x="2332" y="1008"/>
                    <a:pt x="2334" y="1012"/>
                  </a:cubicBezTo>
                  <a:cubicBezTo>
                    <a:pt x="2338" y="1010"/>
                    <a:pt x="2338" y="1010"/>
                    <a:pt x="2338" y="1010"/>
                  </a:cubicBezTo>
                  <a:moveTo>
                    <a:pt x="2343" y="1030"/>
                  </a:moveTo>
                  <a:cubicBezTo>
                    <a:pt x="2342" y="1026"/>
                    <a:pt x="2341" y="1022"/>
                    <a:pt x="2340" y="1018"/>
                  </a:cubicBezTo>
                  <a:cubicBezTo>
                    <a:pt x="2336" y="1019"/>
                    <a:pt x="2336" y="1019"/>
                    <a:pt x="2336" y="1019"/>
                  </a:cubicBezTo>
                  <a:cubicBezTo>
                    <a:pt x="2338" y="1023"/>
                    <a:pt x="2338" y="1027"/>
                    <a:pt x="2339" y="1031"/>
                  </a:cubicBezTo>
                  <a:cubicBezTo>
                    <a:pt x="2343" y="1030"/>
                    <a:pt x="2343" y="1030"/>
                    <a:pt x="2343" y="1030"/>
                  </a:cubicBezTo>
                  <a:cubicBezTo>
                    <a:pt x="2343" y="1030"/>
                    <a:pt x="2343" y="1030"/>
                    <a:pt x="2343" y="1030"/>
                  </a:cubicBezTo>
                  <a:moveTo>
                    <a:pt x="2345" y="1050"/>
                  </a:moveTo>
                  <a:cubicBezTo>
                    <a:pt x="2345" y="1046"/>
                    <a:pt x="2345" y="1042"/>
                    <a:pt x="2344" y="1038"/>
                  </a:cubicBezTo>
                  <a:cubicBezTo>
                    <a:pt x="2340" y="1038"/>
                    <a:pt x="2340" y="1038"/>
                    <a:pt x="2340" y="1038"/>
                  </a:cubicBezTo>
                  <a:cubicBezTo>
                    <a:pt x="2341" y="1042"/>
                    <a:pt x="2341" y="1046"/>
                    <a:pt x="2341" y="1050"/>
                  </a:cubicBezTo>
                  <a:cubicBezTo>
                    <a:pt x="2345" y="1050"/>
                    <a:pt x="2345" y="1050"/>
                    <a:pt x="2345" y="1050"/>
                  </a:cubicBezTo>
                  <a:moveTo>
                    <a:pt x="2344" y="1070"/>
                  </a:moveTo>
                  <a:cubicBezTo>
                    <a:pt x="2345" y="1066"/>
                    <a:pt x="2345" y="1062"/>
                    <a:pt x="2345" y="1058"/>
                  </a:cubicBezTo>
                  <a:cubicBezTo>
                    <a:pt x="2341" y="1058"/>
                    <a:pt x="2341" y="1058"/>
                    <a:pt x="2341" y="1058"/>
                  </a:cubicBezTo>
                  <a:cubicBezTo>
                    <a:pt x="2341" y="1062"/>
                    <a:pt x="2341" y="1066"/>
                    <a:pt x="2340" y="1070"/>
                  </a:cubicBezTo>
                  <a:cubicBezTo>
                    <a:pt x="2344" y="1070"/>
                    <a:pt x="2344" y="1070"/>
                    <a:pt x="2344" y="1070"/>
                  </a:cubicBezTo>
                  <a:moveTo>
                    <a:pt x="2340" y="1090"/>
                  </a:moveTo>
                  <a:cubicBezTo>
                    <a:pt x="2341" y="1086"/>
                    <a:pt x="2342" y="1082"/>
                    <a:pt x="2343" y="1078"/>
                  </a:cubicBezTo>
                  <a:cubicBezTo>
                    <a:pt x="2339" y="1077"/>
                    <a:pt x="2339" y="1077"/>
                    <a:pt x="2339" y="1077"/>
                  </a:cubicBezTo>
                  <a:cubicBezTo>
                    <a:pt x="2338" y="1081"/>
                    <a:pt x="2337" y="1085"/>
                    <a:pt x="2336" y="1089"/>
                  </a:cubicBezTo>
                  <a:cubicBezTo>
                    <a:pt x="2340" y="1090"/>
                    <a:pt x="2340" y="1090"/>
                    <a:pt x="2340" y="1090"/>
                  </a:cubicBezTo>
                  <a:moveTo>
                    <a:pt x="2333" y="1109"/>
                  </a:moveTo>
                  <a:cubicBezTo>
                    <a:pt x="2334" y="1105"/>
                    <a:pt x="2336" y="1102"/>
                    <a:pt x="2337" y="1098"/>
                  </a:cubicBezTo>
                  <a:cubicBezTo>
                    <a:pt x="2334" y="1096"/>
                    <a:pt x="2334" y="1096"/>
                    <a:pt x="2334" y="1096"/>
                  </a:cubicBezTo>
                  <a:cubicBezTo>
                    <a:pt x="2332" y="1100"/>
                    <a:pt x="2331" y="1104"/>
                    <a:pt x="2329" y="1107"/>
                  </a:cubicBezTo>
                  <a:cubicBezTo>
                    <a:pt x="2333" y="1109"/>
                    <a:pt x="2333" y="1109"/>
                    <a:pt x="2333" y="1109"/>
                  </a:cubicBezTo>
                  <a:cubicBezTo>
                    <a:pt x="2333" y="1109"/>
                    <a:pt x="2333" y="1109"/>
                    <a:pt x="2333" y="1109"/>
                  </a:cubicBezTo>
                  <a:moveTo>
                    <a:pt x="2322" y="1126"/>
                  </a:moveTo>
                  <a:cubicBezTo>
                    <a:pt x="2324" y="1123"/>
                    <a:pt x="2327" y="1120"/>
                    <a:pt x="2329" y="1116"/>
                  </a:cubicBezTo>
                  <a:cubicBezTo>
                    <a:pt x="2325" y="1114"/>
                    <a:pt x="2325" y="1114"/>
                    <a:pt x="2325" y="1114"/>
                  </a:cubicBezTo>
                  <a:cubicBezTo>
                    <a:pt x="2323" y="1117"/>
                    <a:pt x="2321" y="1121"/>
                    <a:pt x="2319" y="1124"/>
                  </a:cubicBezTo>
                  <a:cubicBezTo>
                    <a:pt x="2322" y="1126"/>
                    <a:pt x="2322" y="1126"/>
                    <a:pt x="2322" y="1126"/>
                  </a:cubicBezTo>
                  <a:moveTo>
                    <a:pt x="2309" y="1142"/>
                  </a:moveTo>
                  <a:cubicBezTo>
                    <a:pt x="2312" y="1139"/>
                    <a:pt x="2315" y="1136"/>
                    <a:pt x="2317" y="1133"/>
                  </a:cubicBezTo>
                  <a:cubicBezTo>
                    <a:pt x="2314" y="1130"/>
                    <a:pt x="2314" y="1130"/>
                    <a:pt x="2314" y="1130"/>
                  </a:cubicBezTo>
                  <a:cubicBezTo>
                    <a:pt x="2312" y="1133"/>
                    <a:pt x="2309" y="1136"/>
                    <a:pt x="2306" y="1139"/>
                  </a:cubicBezTo>
                  <a:cubicBezTo>
                    <a:pt x="2309" y="1142"/>
                    <a:pt x="2309" y="1142"/>
                    <a:pt x="2309" y="1142"/>
                  </a:cubicBezTo>
                  <a:moveTo>
                    <a:pt x="2293" y="1155"/>
                  </a:moveTo>
                  <a:cubicBezTo>
                    <a:pt x="2297" y="1152"/>
                    <a:pt x="2300" y="1150"/>
                    <a:pt x="2303" y="1147"/>
                  </a:cubicBezTo>
                  <a:cubicBezTo>
                    <a:pt x="2300" y="1144"/>
                    <a:pt x="2300" y="1144"/>
                    <a:pt x="2300" y="1144"/>
                  </a:cubicBezTo>
                  <a:cubicBezTo>
                    <a:pt x="2297" y="1147"/>
                    <a:pt x="2294" y="1149"/>
                    <a:pt x="2291" y="1152"/>
                  </a:cubicBezTo>
                  <a:cubicBezTo>
                    <a:pt x="2293" y="1155"/>
                    <a:pt x="2293" y="1155"/>
                    <a:pt x="2293" y="1155"/>
                  </a:cubicBezTo>
                  <a:moveTo>
                    <a:pt x="2276" y="1165"/>
                  </a:moveTo>
                  <a:cubicBezTo>
                    <a:pt x="2280" y="1163"/>
                    <a:pt x="2283" y="1161"/>
                    <a:pt x="2287" y="1159"/>
                  </a:cubicBezTo>
                  <a:cubicBezTo>
                    <a:pt x="2285" y="1156"/>
                    <a:pt x="2285" y="1156"/>
                    <a:pt x="2285" y="1156"/>
                  </a:cubicBezTo>
                  <a:cubicBezTo>
                    <a:pt x="2281" y="1158"/>
                    <a:pt x="2278" y="1160"/>
                    <a:pt x="2274" y="1162"/>
                  </a:cubicBezTo>
                  <a:cubicBezTo>
                    <a:pt x="2276" y="1165"/>
                    <a:pt x="2276" y="1165"/>
                    <a:pt x="2276" y="1165"/>
                  </a:cubicBezTo>
                  <a:moveTo>
                    <a:pt x="2257" y="1173"/>
                  </a:moveTo>
                  <a:cubicBezTo>
                    <a:pt x="2261" y="1171"/>
                    <a:pt x="2265" y="1170"/>
                    <a:pt x="2269" y="1169"/>
                  </a:cubicBezTo>
                  <a:cubicBezTo>
                    <a:pt x="2267" y="1165"/>
                    <a:pt x="2267" y="1165"/>
                    <a:pt x="2267" y="1165"/>
                  </a:cubicBezTo>
                  <a:cubicBezTo>
                    <a:pt x="2263" y="1166"/>
                    <a:pt x="2260" y="1168"/>
                    <a:pt x="2256" y="1169"/>
                  </a:cubicBezTo>
                  <a:cubicBezTo>
                    <a:pt x="2257" y="1173"/>
                    <a:pt x="2257" y="1173"/>
                    <a:pt x="2257" y="1173"/>
                  </a:cubicBezTo>
                  <a:moveTo>
                    <a:pt x="2237" y="1177"/>
                  </a:moveTo>
                  <a:cubicBezTo>
                    <a:pt x="2241" y="1176"/>
                    <a:pt x="2245" y="1176"/>
                    <a:pt x="2249" y="1175"/>
                  </a:cubicBezTo>
                  <a:cubicBezTo>
                    <a:pt x="2248" y="1171"/>
                    <a:pt x="2248" y="1171"/>
                    <a:pt x="2248" y="1171"/>
                  </a:cubicBezTo>
                  <a:cubicBezTo>
                    <a:pt x="2245" y="1172"/>
                    <a:pt x="2241" y="1172"/>
                    <a:pt x="2237" y="1173"/>
                  </a:cubicBezTo>
                  <a:cubicBezTo>
                    <a:pt x="2237" y="1177"/>
                    <a:pt x="2237" y="1177"/>
                    <a:pt x="2237" y="1177"/>
                  </a:cubicBezTo>
                  <a:moveTo>
                    <a:pt x="2217" y="1178"/>
                  </a:moveTo>
                  <a:cubicBezTo>
                    <a:pt x="2221" y="1178"/>
                    <a:pt x="2221" y="1178"/>
                    <a:pt x="2221" y="1178"/>
                  </a:cubicBezTo>
                  <a:cubicBezTo>
                    <a:pt x="2224" y="1178"/>
                    <a:pt x="2227" y="1178"/>
                    <a:pt x="2229" y="1178"/>
                  </a:cubicBezTo>
                  <a:cubicBezTo>
                    <a:pt x="2229" y="1174"/>
                    <a:pt x="2229" y="1174"/>
                    <a:pt x="2229" y="1174"/>
                  </a:cubicBezTo>
                  <a:cubicBezTo>
                    <a:pt x="2226" y="1174"/>
                    <a:pt x="2224" y="1174"/>
                    <a:pt x="2221" y="1174"/>
                  </a:cubicBezTo>
                  <a:cubicBezTo>
                    <a:pt x="2217" y="1174"/>
                    <a:pt x="2217" y="1174"/>
                    <a:pt x="2217" y="1174"/>
                  </a:cubicBezTo>
                  <a:cubicBezTo>
                    <a:pt x="2217" y="1178"/>
                    <a:pt x="2217" y="1178"/>
                    <a:pt x="2217" y="1178"/>
                  </a:cubicBezTo>
                  <a:moveTo>
                    <a:pt x="2197" y="1178"/>
                  </a:moveTo>
                  <a:cubicBezTo>
                    <a:pt x="2209" y="1178"/>
                    <a:pt x="2209" y="1178"/>
                    <a:pt x="2209" y="1178"/>
                  </a:cubicBezTo>
                  <a:cubicBezTo>
                    <a:pt x="2209" y="1174"/>
                    <a:pt x="2209" y="1174"/>
                    <a:pt x="2209" y="1174"/>
                  </a:cubicBezTo>
                  <a:cubicBezTo>
                    <a:pt x="2197" y="1174"/>
                    <a:pt x="2197" y="1174"/>
                    <a:pt x="2197" y="1174"/>
                  </a:cubicBezTo>
                  <a:cubicBezTo>
                    <a:pt x="2197" y="1178"/>
                    <a:pt x="2197" y="1178"/>
                    <a:pt x="2197" y="1178"/>
                  </a:cubicBezTo>
                  <a:moveTo>
                    <a:pt x="2177" y="1178"/>
                  </a:moveTo>
                  <a:cubicBezTo>
                    <a:pt x="2189" y="1178"/>
                    <a:pt x="2189" y="1178"/>
                    <a:pt x="2189" y="1178"/>
                  </a:cubicBezTo>
                  <a:cubicBezTo>
                    <a:pt x="2189" y="1174"/>
                    <a:pt x="2189" y="1174"/>
                    <a:pt x="2189" y="1174"/>
                  </a:cubicBezTo>
                  <a:cubicBezTo>
                    <a:pt x="2177" y="1174"/>
                    <a:pt x="2177" y="1174"/>
                    <a:pt x="2177" y="1174"/>
                  </a:cubicBezTo>
                  <a:cubicBezTo>
                    <a:pt x="2177" y="1178"/>
                    <a:pt x="2177" y="1178"/>
                    <a:pt x="2177" y="1178"/>
                  </a:cubicBezTo>
                  <a:moveTo>
                    <a:pt x="2157" y="1178"/>
                  </a:moveTo>
                  <a:cubicBezTo>
                    <a:pt x="2169" y="1178"/>
                    <a:pt x="2169" y="1178"/>
                    <a:pt x="2169" y="1178"/>
                  </a:cubicBezTo>
                  <a:cubicBezTo>
                    <a:pt x="2169" y="1174"/>
                    <a:pt x="2169" y="1174"/>
                    <a:pt x="2169" y="1174"/>
                  </a:cubicBezTo>
                  <a:cubicBezTo>
                    <a:pt x="2157" y="1174"/>
                    <a:pt x="2157" y="1174"/>
                    <a:pt x="2157" y="1174"/>
                  </a:cubicBezTo>
                  <a:cubicBezTo>
                    <a:pt x="2157" y="1178"/>
                    <a:pt x="2157" y="1178"/>
                    <a:pt x="2157" y="1178"/>
                  </a:cubicBezTo>
                  <a:moveTo>
                    <a:pt x="2137" y="1178"/>
                  </a:moveTo>
                  <a:cubicBezTo>
                    <a:pt x="2149" y="1178"/>
                    <a:pt x="2149" y="1178"/>
                    <a:pt x="2149" y="1178"/>
                  </a:cubicBezTo>
                  <a:cubicBezTo>
                    <a:pt x="2149" y="1174"/>
                    <a:pt x="2149" y="1174"/>
                    <a:pt x="2149" y="1174"/>
                  </a:cubicBezTo>
                  <a:cubicBezTo>
                    <a:pt x="2137" y="1174"/>
                    <a:pt x="2137" y="1174"/>
                    <a:pt x="2137" y="1174"/>
                  </a:cubicBezTo>
                  <a:cubicBezTo>
                    <a:pt x="2137" y="1178"/>
                    <a:pt x="2137" y="1178"/>
                    <a:pt x="2137" y="1178"/>
                  </a:cubicBezTo>
                  <a:moveTo>
                    <a:pt x="2117" y="1178"/>
                  </a:moveTo>
                  <a:cubicBezTo>
                    <a:pt x="2129" y="1178"/>
                    <a:pt x="2129" y="1178"/>
                    <a:pt x="2129" y="1178"/>
                  </a:cubicBezTo>
                  <a:cubicBezTo>
                    <a:pt x="2129" y="1174"/>
                    <a:pt x="2129" y="1174"/>
                    <a:pt x="2129" y="1174"/>
                  </a:cubicBezTo>
                  <a:cubicBezTo>
                    <a:pt x="2117" y="1174"/>
                    <a:pt x="2117" y="1174"/>
                    <a:pt x="2117" y="1174"/>
                  </a:cubicBezTo>
                  <a:cubicBezTo>
                    <a:pt x="2117" y="1178"/>
                    <a:pt x="2117" y="1178"/>
                    <a:pt x="2117" y="1178"/>
                  </a:cubicBezTo>
                  <a:moveTo>
                    <a:pt x="2097" y="1178"/>
                  </a:moveTo>
                  <a:cubicBezTo>
                    <a:pt x="2109" y="1178"/>
                    <a:pt x="2109" y="1178"/>
                    <a:pt x="2109" y="1178"/>
                  </a:cubicBezTo>
                  <a:cubicBezTo>
                    <a:pt x="2109" y="1174"/>
                    <a:pt x="2109" y="1174"/>
                    <a:pt x="2109" y="1174"/>
                  </a:cubicBezTo>
                  <a:cubicBezTo>
                    <a:pt x="2097" y="1174"/>
                    <a:pt x="2097" y="1174"/>
                    <a:pt x="2097" y="1174"/>
                  </a:cubicBezTo>
                  <a:cubicBezTo>
                    <a:pt x="2097" y="1178"/>
                    <a:pt x="2097" y="1178"/>
                    <a:pt x="2097" y="1178"/>
                  </a:cubicBezTo>
                  <a:moveTo>
                    <a:pt x="2077" y="1178"/>
                  </a:moveTo>
                  <a:cubicBezTo>
                    <a:pt x="2089" y="1178"/>
                    <a:pt x="2089" y="1178"/>
                    <a:pt x="2089" y="1178"/>
                  </a:cubicBezTo>
                  <a:cubicBezTo>
                    <a:pt x="2089" y="1174"/>
                    <a:pt x="2089" y="1174"/>
                    <a:pt x="2089" y="1174"/>
                  </a:cubicBezTo>
                  <a:cubicBezTo>
                    <a:pt x="2077" y="1174"/>
                    <a:pt x="2077" y="1174"/>
                    <a:pt x="2077" y="1174"/>
                  </a:cubicBezTo>
                  <a:cubicBezTo>
                    <a:pt x="2077" y="1178"/>
                    <a:pt x="2077" y="1178"/>
                    <a:pt x="2077" y="1178"/>
                  </a:cubicBezTo>
                  <a:moveTo>
                    <a:pt x="2057" y="1178"/>
                  </a:moveTo>
                  <a:cubicBezTo>
                    <a:pt x="2069" y="1178"/>
                    <a:pt x="2069" y="1178"/>
                    <a:pt x="2069" y="1178"/>
                  </a:cubicBezTo>
                  <a:cubicBezTo>
                    <a:pt x="2069" y="1174"/>
                    <a:pt x="2069" y="1174"/>
                    <a:pt x="2069" y="1174"/>
                  </a:cubicBezTo>
                  <a:cubicBezTo>
                    <a:pt x="2057" y="1174"/>
                    <a:pt x="2057" y="1174"/>
                    <a:pt x="2057" y="1174"/>
                  </a:cubicBezTo>
                  <a:cubicBezTo>
                    <a:pt x="2057" y="1178"/>
                    <a:pt x="2057" y="1178"/>
                    <a:pt x="2057" y="1178"/>
                  </a:cubicBezTo>
                  <a:moveTo>
                    <a:pt x="2037" y="1178"/>
                  </a:moveTo>
                  <a:cubicBezTo>
                    <a:pt x="2049" y="1178"/>
                    <a:pt x="2049" y="1178"/>
                    <a:pt x="2049" y="1178"/>
                  </a:cubicBezTo>
                  <a:cubicBezTo>
                    <a:pt x="2049" y="1174"/>
                    <a:pt x="2049" y="1174"/>
                    <a:pt x="2049" y="1174"/>
                  </a:cubicBezTo>
                  <a:cubicBezTo>
                    <a:pt x="2037" y="1174"/>
                    <a:pt x="2037" y="1174"/>
                    <a:pt x="2037" y="1174"/>
                  </a:cubicBezTo>
                  <a:cubicBezTo>
                    <a:pt x="2037" y="1178"/>
                    <a:pt x="2037" y="1178"/>
                    <a:pt x="2037" y="1178"/>
                  </a:cubicBezTo>
                  <a:moveTo>
                    <a:pt x="2017" y="1178"/>
                  </a:moveTo>
                  <a:cubicBezTo>
                    <a:pt x="2029" y="1178"/>
                    <a:pt x="2029" y="1178"/>
                    <a:pt x="2029" y="1178"/>
                  </a:cubicBezTo>
                  <a:cubicBezTo>
                    <a:pt x="2029" y="1174"/>
                    <a:pt x="2029" y="1174"/>
                    <a:pt x="2029" y="1174"/>
                  </a:cubicBezTo>
                  <a:cubicBezTo>
                    <a:pt x="2017" y="1174"/>
                    <a:pt x="2017" y="1174"/>
                    <a:pt x="2017" y="1174"/>
                  </a:cubicBezTo>
                  <a:cubicBezTo>
                    <a:pt x="2017" y="1178"/>
                    <a:pt x="2017" y="1178"/>
                    <a:pt x="2017" y="1178"/>
                  </a:cubicBezTo>
                  <a:moveTo>
                    <a:pt x="1997" y="1178"/>
                  </a:moveTo>
                  <a:cubicBezTo>
                    <a:pt x="2009" y="1178"/>
                    <a:pt x="2009" y="1178"/>
                    <a:pt x="2009" y="1178"/>
                  </a:cubicBezTo>
                  <a:cubicBezTo>
                    <a:pt x="2009" y="1174"/>
                    <a:pt x="2009" y="1174"/>
                    <a:pt x="2009" y="1174"/>
                  </a:cubicBezTo>
                  <a:cubicBezTo>
                    <a:pt x="1997" y="1174"/>
                    <a:pt x="1997" y="1174"/>
                    <a:pt x="1997" y="1174"/>
                  </a:cubicBezTo>
                  <a:cubicBezTo>
                    <a:pt x="1997" y="1178"/>
                    <a:pt x="1997" y="1178"/>
                    <a:pt x="1997" y="1178"/>
                  </a:cubicBezTo>
                  <a:moveTo>
                    <a:pt x="1977" y="1178"/>
                  </a:moveTo>
                  <a:cubicBezTo>
                    <a:pt x="1989" y="1178"/>
                    <a:pt x="1989" y="1178"/>
                    <a:pt x="1989" y="1178"/>
                  </a:cubicBezTo>
                  <a:cubicBezTo>
                    <a:pt x="1989" y="1174"/>
                    <a:pt x="1989" y="1174"/>
                    <a:pt x="1989" y="1174"/>
                  </a:cubicBezTo>
                  <a:cubicBezTo>
                    <a:pt x="1977" y="1174"/>
                    <a:pt x="1977" y="1174"/>
                    <a:pt x="1977" y="1174"/>
                  </a:cubicBezTo>
                  <a:cubicBezTo>
                    <a:pt x="1977" y="1178"/>
                    <a:pt x="1977" y="1178"/>
                    <a:pt x="1977" y="1178"/>
                  </a:cubicBezTo>
                  <a:moveTo>
                    <a:pt x="1957" y="1178"/>
                  </a:moveTo>
                  <a:cubicBezTo>
                    <a:pt x="1969" y="1178"/>
                    <a:pt x="1969" y="1178"/>
                    <a:pt x="1969" y="1178"/>
                  </a:cubicBezTo>
                  <a:cubicBezTo>
                    <a:pt x="1969" y="1174"/>
                    <a:pt x="1969" y="1174"/>
                    <a:pt x="1969" y="1174"/>
                  </a:cubicBezTo>
                  <a:cubicBezTo>
                    <a:pt x="1957" y="1174"/>
                    <a:pt x="1957" y="1174"/>
                    <a:pt x="1957" y="1174"/>
                  </a:cubicBezTo>
                  <a:cubicBezTo>
                    <a:pt x="1957" y="1178"/>
                    <a:pt x="1957" y="1178"/>
                    <a:pt x="1957" y="1178"/>
                  </a:cubicBezTo>
                  <a:moveTo>
                    <a:pt x="1937" y="1178"/>
                  </a:moveTo>
                  <a:cubicBezTo>
                    <a:pt x="1949" y="1178"/>
                    <a:pt x="1949" y="1178"/>
                    <a:pt x="1949" y="1178"/>
                  </a:cubicBezTo>
                  <a:cubicBezTo>
                    <a:pt x="1949" y="1174"/>
                    <a:pt x="1949" y="1174"/>
                    <a:pt x="1949" y="1174"/>
                  </a:cubicBezTo>
                  <a:cubicBezTo>
                    <a:pt x="1937" y="1174"/>
                    <a:pt x="1937" y="1174"/>
                    <a:pt x="1937" y="1174"/>
                  </a:cubicBezTo>
                  <a:cubicBezTo>
                    <a:pt x="1937" y="1178"/>
                    <a:pt x="1937" y="1178"/>
                    <a:pt x="1937" y="1178"/>
                  </a:cubicBezTo>
                  <a:moveTo>
                    <a:pt x="1917" y="1178"/>
                  </a:moveTo>
                  <a:cubicBezTo>
                    <a:pt x="1929" y="1178"/>
                    <a:pt x="1929" y="1178"/>
                    <a:pt x="1929" y="1178"/>
                  </a:cubicBezTo>
                  <a:cubicBezTo>
                    <a:pt x="1929" y="1174"/>
                    <a:pt x="1929" y="1174"/>
                    <a:pt x="1929" y="1174"/>
                  </a:cubicBezTo>
                  <a:cubicBezTo>
                    <a:pt x="1917" y="1174"/>
                    <a:pt x="1917" y="1174"/>
                    <a:pt x="1917" y="1174"/>
                  </a:cubicBezTo>
                  <a:cubicBezTo>
                    <a:pt x="1917" y="1178"/>
                    <a:pt x="1917" y="1178"/>
                    <a:pt x="1917" y="1178"/>
                  </a:cubicBezTo>
                  <a:moveTo>
                    <a:pt x="1897" y="1178"/>
                  </a:moveTo>
                  <a:cubicBezTo>
                    <a:pt x="1909" y="1178"/>
                    <a:pt x="1909" y="1178"/>
                    <a:pt x="1909" y="1178"/>
                  </a:cubicBezTo>
                  <a:cubicBezTo>
                    <a:pt x="1909" y="1174"/>
                    <a:pt x="1909" y="1174"/>
                    <a:pt x="1909" y="1174"/>
                  </a:cubicBezTo>
                  <a:cubicBezTo>
                    <a:pt x="1897" y="1174"/>
                    <a:pt x="1897" y="1174"/>
                    <a:pt x="1897" y="1174"/>
                  </a:cubicBezTo>
                  <a:cubicBezTo>
                    <a:pt x="1897" y="1178"/>
                    <a:pt x="1897" y="1178"/>
                    <a:pt x="1897" y="1178"/>
                  </a:cubicBezTo>
                  <a:moveTo>
                    <a:pt x="1877" y="1178"/>
                  </a:moveTo>
                  <a:cubicBezTo>
                    <a:pt x="1889" y="1178"/>
                    <a:pt x="1889" y="1178"/>
                    <a:pt x="1889" y="1178"/>
                  </a:cubicBezTo>
                  <a:cubicBezTo>
                    <a:pt x="1889" y="1174"/>
                    <a:pt x="1889" y="1174"/>
                    <a:pt x="1889" y="1174"/>
                  </a:cubicBezTo>
                  <a:cubicBezTo>
                    <a:pt x="1877" y="1174"/>
                    <a:pt x="1877" y="1174"/>
                    <a:pt x="1877" y="1174"/>
                  </a:cubicBezTo>
                  <a:cubicBezTo>
                    <a:pt x="1877" y="1178"/>
                    <a:pt x="1877" y="1178"/>
                    <a:pt x="1877" y="1178"/>
                  </a:cubicBezTo>
                  <a:moveTo>
                    <a:pt x="1857" y="1178"/>
                  </a:moveTo>
                  <a:cubicBezTo>
                    <a:pt x="1869" y="1178"/>
                    <a:pt x="1869" y="1178"/>
                    <a:pt x="1869" y="1178"/>
                  </a:cubicBezTo>
                  <a:cubicBezTo>
                    <a:pt x="1869" y="1174"/>
                    <a:pt x="1869" y="1174"/>
                    <a:pt x="1869" y="1174"/>
                  </a:cubicBezTo>
                  <a:cubicBezTo>
                    <a:pt x="1857" y="1174"/>
                    <a:pt x="1857" y="1174"/>
                    <a:pt x="1857" y="1174"/>
                  </a:cubicBezTo>
                  <a:cubicBezTo>
                    <a:pt x="1857" y="1178"/>
                    <a:pt x="1857" y="1178"/>
                    <a:pt x="1857" y="1178"/>
                  </a:cubicBezTo>
                  <a:moveTo>
                    <a:pt x="1837" y="1178"/>
                  </a:moveTo>
                  <a:cubicBezTo>
                    <a:pt x="1849" y="1178"/>
                    <a:pt x="1849" y="1178"/>
                    <a:pt x="1849" y="1178"/>
                  </a:cubicBezTo>
                  <a:cubicBezTo>
                    <a:pt x="1849" y="1174"/>
                    <a:pt x="1849" y="1174"/>
                    <a:pt x="1849" y="1174"/>
                  </a:cubicBezTo>
                  <a:cubicBezTo>
                    <a:pt x="1837" y="1174"/>
                    <a:pt x="1837" y="1174"/>
                    <a:pt x="1837" y="1174"/>
                  </a:cubicBezTo>
                  <a:cubicBezTo>
                    <a:pt x="1837" y="1178"/>
                    <a:pt x="1837" y="1178"/>
                    <a:pt x="1837" y="1178"/>
                  </a:cubicBezTo>
                  <a:moveTo>
                    <a:pt x="1817" y="1178"/>
                  </a:moveTo>
                  <a:cubicBezTo>
                    <a:pt x="1829" y="1178"/>
                    <a:pt x="1829" y="1178"/>
                    <a:pt x="1829" y="1178"/>
                  </a:cubicBezTo>
                  <a:cubicBezTo>
                    <a:pt x="1829" y="1174"/>
                    <a:pt x="1829" y="1174"/>
                    <a:pt x="1829" y="1174"/>
                  </a:cubicBezTo>
                  <a:cubicBezTo>
                    <a:pt x="1817" y="1174"/>
                    <a:pt x="1817" y="1174"/>
                    <a:pt x="1817" y="1174"/>
                  </a:cubicBezTo>
                  <a:cubicBezTo>
                    <a:pt x="1817" y="1178"/>
                    <a:pt x="1817" y="1178"/>
                    <a:pt x="1817" y="1178"/>
                  </a:cubicBezTo>
                  <a:moveTo>
                    <a:pt x="1797" y="1178"/>
                  </a:moveTo>
                  <a:cubicBezTo>
                    <a:pt x="1809" y="1178"/>
                    <a:pt x="1809" y="1178"/>
                    <a:pt x="1809" y="1178"/>
                  </a:cubicBezTo>
                  <a:cubicBezTo>
                    <a:pt x="1809" y="1174"/>
                    <a:pt x="1809" y="1174"/>
                    <a:pt x="1809" y="1174"/>
                  </a:cubicBezTo>
                  <a:cubicBezTo>
                    <a:pt x="1797" y="1174"/>
                    <a:pt x="1797" y="1174"/>
                    <a:pt x="1797" y="1174"/>
                  </a:cubicBezTo>
                  <a:cubicBezTo>
                    <a:pt x="1797" y="1178"/>
                    <a:pt x="1797" y="1178"/>
                    <a:pt x="1797" y="1178"/>
                  </a:cubicBezTo>
                  <a:moveTo>
                    <a:pt x="1777" y="1178"/>
                  </a:moveTo>
                  <a:cubicBezTo>
                    <a:pt x="1789" y="1178"/>
                    <a:pt x="1789" y="1178"/>
                    <a:pt x="1789" y="1178"/>
                  </a:cubicBezTo>
                  <a:cubicBezTo>
                    <a:pt x="1789" y="1174"/>
                    <a:pt x="1789" y="1174"/>
                    <a:pt x="1789" y="1174"/>
                  </a:cubicBezTo>
                  <a:cubicBezTo>
                    <a:pt x="1777" y="1174"/>
                    <a:pt x="1777" y="1174"/>
                    <a:pt x="1777" y="1174"/>
                  </a:cubicBezTo>
                  <a:cubicBezTo>
                    <a:pt x="1777" y="1178"/>
                    <a:pt x="1777" y="1178"/>
                    <a:pt x="1777" y="1178"/>
                  </a:cubicBezTo>
                  <a:moveTo>
                    <a:pt x="1757" y="1178"/>
                  </a:moveTo>
                  <a:cubicBezTo>
                    <a:pt x="1769" y="1178"/>
                    <a:pt x="1769" y="1178"/>
                    <a:pt x="1769" y="1178"/>
                  </a:cubicBezTo>
                  <a:cubicBezTo>
                    <a:pt x="1769" y="1174"/>
                    <a:pt x="1769" y="1174"/>
                    <a:pt x="1769" y="1174"/>
                  </a:cubicBezTo>
                  <a:cubicBezTo>
                    <a:pt x="1757" y="1174"/>
                    <a:pt x="1757" y="1174"/>
                    <a:pt x="1757" y="1174"/>
                  </a:cubicBezTo>
                  <a:cubicBezTo>
                    <a:pt x="1757" y="1178"/>
                    <a:pt x="1757" y="1178"/>
                    <a:pt x="1757" y="1178"/>
                  </a:cubicBezTo>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11" name="Oval 13"/>
            <p:cNvSpPr>
              <a:spLocks noChangeArrowheads="1"/>
            </p:cNvSpPr>
            <p:nvPr userDrawn="1"/>
          </p:nvSpPr>
          <p:spPr bwMode="auto">
            <a:xfrm>
              <a:off x="1034684" y="3223342"/>
              <a:ext cx="275774" cy="274113"/>
            </a:xfrm>
            <a:prstGeom prst="ellipse">
              <a:avLst/>
            </a:pr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12" name="Freeform 14"/>
            <p:cNvSpPr/>
            <p:nvPr userDrawn="1"/>
          </p:nvSpPr>
          <p:spPr bwMode="auto">
            <a:xfrm>
              <a:off x="1089508" y="3301424"/>
              <a:ext cx="167791" cy="126258"/>
            </a:xfrm>
            <a:custGeom>
              <a:avLst/>
              <a:gdLst>
                <a:gd name="T0" fmla="*/ 0 w 65"/>
                <a:gd name="T1" fmla="*/ 24 h 49"/>
                <a:gd name="T2" fmla="*/ 22 w 65"/>
                <a:gd name="T3" fmla="*/ 48 h 49"/>
                <a:gd name="T4" fmla="*/ 25 w 65"/>
                <a:gd name="T5" fmla="*/ 49 h 49"/>
                <a:gd name="T6" fmla="*/ 28 w 65"/>
                <a:gd name="T7" fmla="*/ 48 h 49"/>
                <a:gd name="T8" fmla="*/ 65 w 65"/>
                <a:gd name="T9" fmla="*/ 5 h 49"/>
                <a:gd name="T10" fmla="*/ 58 w 65"/>
                <a:gd name="T11" fmla="*/ 0 h 49"/>
                <a:gd name="T12" fmla="*/ 25 w 65"/>
                <a:gd name="T13" fmla="*/ 39 h 49"/>
                <a:gd name="T14" fmla="*/ 6 w 65"/>
                <a:gd name="T15" fmla="*/ 18 h 49"/>
                <a:gd name="T16" fmla="*/ 0 w 65"/>
                <a:gd name="T17" fmla="*/ 2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49">
                  <a:moveTo>
                    <a:pt x="0" y="24"/>
                  </a:moveTo>
                  <a:cubicBezTo>
                    <a:pt x="22" y="48"/>
                    <a:pt x="22" y="48"/>
                    <a:pt x="22" y="48"/>
                  </a:cubicBezTo>
                  <a:cubicBezTo>
                    <a:pt x="23" y="49"/>
                    <a:pt x="24" y="49"/>
                    <a:pt x="25" y="49"/>
                  </a:cubicBezTo>
                  <a:cubicBezTo>
                    <a:pt x="26" y="49"/>
                    <a:pt x="27" y="49"/>
                    <a:pt x="28" y="48"/>
                  </a:cubicBezTo>
                  <a:cubicBezTo>
                    <a:pt x="65" y="5"/>
                    <a:pt x="65" y="5"/>
                    <a:pt x="65" y="5"/>
                  </a:cubicBezTo>
                  <a:cubicBezTo>
                    <a:pt x="58" y="0"/>
                    <a:pt x="58" y="0"/>
                    <a:pt x="58" y="0"/>
                  </a:cubicBezTo>
                  <a:cubicBezTo>
                    <a:pt x="25" y="39"/>
                    <a:pt x="25" y="39"/>
                    <a:pt x="25" y="39"/>
                  </a:cubicBezTo>
                  <a:cubicBezTo>
                    <a:pt x="6" y="18"/>
                    <a:pt x="6" y="18"/>
                    <a:pt x="6" y="18"/>
                  </a:cubicBezTo>
                  <a:cubicBezTo>
                    <a:pt x="0" y="24"/>
                    <a:pt x="0" y="24"/>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13" name="Oval 15"/>
            <p:cNvSpPr>
              <a:spLocks noChangeArrowheads="1"/>
            </p:cNvSpPr>
            <p:nvPr userDrawn="1"/>
          </p:nvSpPr>
          <p:spPr bwMode="auto">
            <a:xfrm>
              <a:off x="6360781" y="2575439"/>
              <a:ext cx="274113" cy="274113"/>
            </a:xfrm>
            <a:prstGeom prst="ellipse">
              <a:avLst/>
            </a:pr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14" name="Freeform 16"/>
            <p:cNvSpPr/>
            <p:nvPr userDrawn="1"/>
          </p:nvSpPr>
          <p:spPr bwMode="auto">
            <a:xfrm>
              <a:off x="6435539" y="2641891"/>
              <a:ext cx="124597" cy="139548"/>
            </a:xfrm>
            <a:custGeom>
              <a:avLst/>
              <a:gdLst>
                <a:gd name="T0" fmla="*/ 9 w 75"/>
                <a:gd name="T1" fmla="*/ 84 h 84"/>
                <a:gd name="T2" fmla="*/ 75 w 75"/>
                <a:gd name="T3" fmla="*/ 10 h 84"/>
                <a:gd name="T4" fmla="*/ 66 w 75"/>
                <a:gd name="T5" fmla="*/ 0 h 84"/>
                <a:gd name="T6" fmla="*/ 0 w 75"/>
                <a:gd name="T7" fmla="*/ 77 h 84"/>
                <a:gd name="T8" fmla="*/ 9 w 75"/>
                <a:gd name="T9" fmla="*/ 84 h 84"/>
              </a:gdLst>
              <a:ahLst/>
              <a:cxnLst>
                <a:cxn ang="0">
                  <a:pos x="T0" y="T1"/>
                </a:cxn>
                <a:cxn ang="0">
                  <a:pos x="T2" y="T3"/>
                </a:cxn>
                <a:cxn ang="0">
                  <a:pos x="T4" y="T5"/>
                </a:cxn>
                <a:cxn ang="0">
                  <a:pos x="T6" y="T7"/>
                </a:cxn>
                <a:cxn ang="0">
                  <a:pos x="T8" y="T9"/>
                </a:cxn>
              </a:cxnLst>
              <a:rect l="0" t="0" r="r" b="b"/>
              <a:pathLst>
                <a:path w="75" h="84">
                  <a:moveTo>
                    <a:pt x="9" y="84"/>
                  </a:moveTo>
                  <a:lnTo>
                    <a:pt x="75" y="10"/>
                  </a:lnTo>
                  <a:lnTo>
                    <a:pt x="66" y="0"/>
                  </a:lnTo>
                  <a:lnTo>
                    <a:pt x="0" y="77"/>
                  </a:lnTo>
                  <a:lnTo>
                    <a:pt x="9" y="8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15" name="Freeform 17"/>
            <p:cNvSpPr/>
            <p:nvPr userDrawn="1"/>
          </p:nvSpPr>
          <p:spPr bwMode="auto">
            <a:xfrm>
              <a:off x="6435539" y="2641891"/>
              <a:ext cx="124597" cy="139548"/>
            </a:xfrm>
            <a:custGeom>
              <a:avLst/>
              <a:gdLst>
                <a:gd name="T0" fmla="*/ 9 w 75"/>
                <a:gd name="T1" fmla="*/ 84 h 84"/>
                <a:gd name="T2" fmla="*/ 75 w 75"/>
                <a:gd name="T3" fmla="*/ 10 h 84"/>
                <a:gd name="T4" fmla="*/ 66 w 75"/>
                <a:gd name="T5" fmla="*/ 0 h 84"/>
                <a:gd name="T6" fmla="*/ 0 w 75"/>
                <a:gd name="T7" fmla="*/ 77 h 84"/>
              </a:gdLst>
              <a:ahLst/>
              <a:cxnLst>
                <a:cxn ang="0">
                  <a:pos x="T0" y="T1"/>
                </a:cxn>
                <a:cxn ang="0">
                  <a:pos x="T2" y="T3"/>
                </a:cxn>
                <a:cxn ang="0">
                  <a:pos x="T4" y="T5"/>
                </a:cxn>
                <a:cxn ang="0">
                  <a:pos x="T6" y="T7"/>
                </a:cxn>
              </a:cxnLst>
              <a:rect l="0" t="0" r="r" b="b"/>
              <a:pathLst>
                <a:path w="75" h="84">
                  <a:moveTo>
                    <a:pt x="9" y="84"/>
                  </a:moveTo>
                  <a:lnTo>
                    <a:pt x="75" y="10"/>
                  </a:lnTo>
                  <a:lnTo>
                    <a:pt x="66" y="0"/>
                  </a:lnTo>
                  <a:lnTo>
                    <a:pt x="0" y="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16" name="Freeform 18"/>
            <p:cNvSpPr/>
            <p:nvPr userDrawn="1"/>
          </p:nvSpPr>
          <p:spPr bwMode="auto">
            <a:xfrm>
              <a:off x="6427232" y="2650198"/>
              <a:ext cx="141210" cy="124597"/>
            </a:xfrm>
            <a:custGeom>
              <a:avLst/>
              <a:gdLst>
                <a:gd name="T0" fmla="*/ 0 w 85"/>
                <a:gd name="T1" fmla="*/ 9 h 75"/>
                <a:gd name="T2" fmla="*/ 77 w 85"/>
                <a:gd name="T3" fmla="*/ 75 h 75"/>
                <a:gd name="T4" fmla="*/ 85 w 85"/>
                <a:gd name="T5" fmla="*/ 65 h 75"/>
                <a:gd name="T6" fmla="*/ 8 w 85"/>
                <a:gd name="T7" fmla="*/ 0 h 75"/>
                <a:gd name="T8" fmla="*/ 0 w 85"/>
                <a:gd name="T9" fmla="*/ 9 h 75"/>
              </a:gdLst>
              <a:ahLst/>
              <a:cxnLst>
                <a:cxn ang="0">
                  <a:pos x="T0" y="T1"/>
                </a:cxn>
                <a:cxn ang="0">
                  <a:pos x="T2" y="T3"/>
                </a:cxn>
                <a:cxn ang="0">
                  <a:pos x="T4" y="T5"/>
                </a:cxn>
                <a:cxn ang="0">
                  <a:pos x="T6" y="T7"/>
                </a:cxn>
                <a:cxn ang="0">
                  <a:pos x="T8" y="T9"/>
                </a:cxn>
              </a:cxnLst>
              <a:rect l="0" t="0" r="r" b="b"/>
              <a:pathLst>
                <a:path w="85" h="75">
                  <a:moveTo>
                    <a:pt x="0" y="9"/>
                  </a:moveTo>
                  <a:lnTo>
                    <a:pt x="77" y="75"/>
                  </a:lnTo>
                  <a:lnTo>
                    <a:pt x="85" y="65"/>
                  </a:lnTo>
                  <a:lnTo>
                    <a:pt x="8"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17" name="Freeform 19"/>
            <p:cNvSpPr/>
            <p:nvPr userDrawn="1"/>
          </p:nvSpPr>
          <p:spPr bwMode="auto">
            <a:xfrm>
              <a:off x="6427232" y="2650198"/>
              <a:ext cx="141210" cy="124597"/>
            </a:xfrm>
            <a:custGeom>
              <a:avLst/>
              <a:gdLst>
                <a:gd name="T0" fmla="*/ 0 w 85"/>
                <a:gd name="T1" fmla="*/ 9 h 75"/>
                <a:gd name="T2" fmla="*/ 77 w 85"/>
                <a:gd name="T3" fmla="*/ 75 h 75"/>
                <a:gd name="T4" fmla="*/ 85 w 85"/>
                <a:gd name="T5" fmla="*/ 65 h 75"/>
                <a:gd name="T6" fmla="*/ 8 w 85"/>
                <a:gd name="T7" fmla="*/ 0 h 75"/>
              </a:gdLst>
              <a:ahLst/>
              <a:cxnLst>
                <a:cxn ang="0">
                  <a:pos x="T0" y="T1"/>
                </a:cxn>
                <a:cxn ang="0">
                  <a:pos x="T2" y="T3"/>
                </a:cxn>
                <a:cxn ang="0">
                  <a:pos x="T4" y="T5"/>
                </a:cxn>
                <a:cxn ang="0">
                  <a:pos x="T6" y="T7"/>
                </a:cxn>
              </a:cxnLst>
              <a:rect l="0" t="0" r="r" b="b"/>
              <a:pathLst>
                <a:path w="85" h="75">
                  <a:moveTo>
                    <a:pt x="0" y="9"/>
                  </a:moveTo>
                  <a:lnTo>
                    <a:pt x="77" y="75"/>
                  </a:lnTo>
                  <a:lnTo>
                    <a:pt x="85" y="65"/>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18" name="Freeform 20"/>
            <p:cNvSpPr/>
            <p:nvPr userDrawn="1"/>
          </p:nvSpPr>
          <p:spPr bwMode="auto">
            <a:xfrm>
              <a:off x="6653168" y="2955875"/>
              <a:ext cx="529952" cy="528290"/>
            </a:xfrm>
            <a:custGeom>
              <a:avLst/>
              <a:gdLst>
                <a:gd name="T0" fmla="*/ 184 w 204"/>
                <a:gd name="T1" fmla="*/ 204 h 204"/>
                <a:gd name="T2" fmla="*/ 19 w 204"/>
                <a:gd name="T3" fmla="*/ 204 h 204"/>
                <a:gd name="T4" fmla="*/ 0 w 204"/>
                <a:gd name="T5" fmla="*/ 185 h 204"/>
                <a:gd name="T6" fmla="*/ 0 w 204"/>
                <a:gd name="T7" fmla="*/ 20 h 204"/>
                <a:gd name="T8" fmla="*/ 19 w 204"/>
                <a:gd name="T9" fmla="*/ 0 h 204"/>
                <a:gd name="T10" fmla="*/ 184 w 204"/>
                <a:gd name="T11" fmla="*/ 0 h 204"/>
                <a:gd name="T12" fmla="*/ 204 w 204"/>
                <a:gd name="T13" fmla="*/ 20 h 204"/>
                <a:gd name="T14" fmla="*/ 204 w 204"/>
                <a:gd name="T15" fmla="*/ 185 h 204"/>
                <a:gd name="T16" fmla="*/ 184 w 204"/>
                <a:gd name="T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204">
                  <a:moveTo>
                    <a:pt x="184" y="204"/>
                  </a:moveTo>
                  <a:cubicBezTo>
                    <a:pt x="19" y="204"/>
                    <a:pt x="19" y="204"/>
                    <a:pt x="19" y="204"/>
                  </a:cubicBezTo>
                  <a:cubicBezTo>
                    <a:pt x="8" y="204"/>
                    <a:pt x="0" y="196"/>
                    <a:pt x="0" y="185"/>
                  </a:cubicBezTo>
                  <a:cubicBezTo>
                    <a:pt x="0" y="20"/>
                    <a:pt x="0" y="20"/>
                    <a:pt x="0" y="20"/>
                  </a:cubicBezTo>
                  <a:cubicBezTo>
                    <a:pt x="0" y="9"/>
                    <a:pt x="8" y="0"/>
                    <a:pt x="19" y="0"/>
                  </a:cubicBezTo>
                  <a:cubicBezTo>
                    <a:pt x="184" y="0"/>
                    <a:pt x="184" y="0"/>
                    <a:pt x="184" y="0"/>
                  </a:cubicBezTo>
                  <a:cubicBezTo>
                    <a:pt x="195" y="0"/>
                    <a:pt x="204" y="9"/>
                    <a:pt x="204" y="20"/>
                  </a:cubicBezTo>
                  <a:cubicBezTo>
                    <a:pt x="204" y="185"/>
                    <a:pt x="204" y="185"/>
                    <a:pt x="204" y="185"/>
                  </a:cubicBezTo>
                  <a:cubicBezTo>
                    <a:pt x="204" y="196"/>
                    <a:pt x="195" y="204"/>
                    <a:pt x="184" y="204"/>
                  </a:cubicBezTo>
                  <a:close/>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19" name="Freeform 21"/>
            <p:cNvSpPr/>
            <p:nvPr userDrawn="1"/>
          </p:nvSpPr>
          <p:spPr bwMode="auto">
            <a:xfrm>
              <a:off x="6741217" y="3108714"/>
              <a:ext cx="257501" cy="245871"/>
            </a:xfrm>
            <a:custGeom>
              <a:avLst/>
              <a:gdLst>
                <a:gd name="T0" fmla="*/ 77 w 155"/>
                <a:gd name="T1" fmla="*/ 0 h 148"/>
                <a:gd name="T2" fmla="*/ 0 w 155"/>
                <a:gd name="T3" fmla="*/ 148 h 148"/>
                <a:gd name="T4" fmla="*/ 155 w 155"/>
                <a:gd name="T5" fmla="*/ 148 h 148"/>
                <a:gd name="T6" fmla="*/ 77 w 155"/>
                <a:gd name="T7" fmla="*/ 0 h 148"/>
              </a:gdLst>
              <a:ahLst/>
              <a:cxnLst>
                <a:cxn ang="0">
                  <a:pos x="T0" y="T1"/>
                </a:cxn>
                <a:cxn ang="0">
                  <a:pos x="T2" y="T3"/>
                </a:cxn>
                <a:cxn ang="0">
                  <a:pos x="T4" y="T5"/>
                </a:cxn>
                <a:cxn ang="0">
                  <a:pos x="T6" y="T7"/>
                </a:cxn>
              </a:cxnLst>
              <a:rect l="0" t="0" r="r" b="b"/>
              <a:pathLst>
                <a:path w="155" h="148">
                  <a:moveTo>
                    <a:pt x="77" y="0"/>
                  </a:moveTo>
                  <a:lnTo>
                    <a:pt x="0" y="148"/>
                  </a:lnTo>
                  <a:lnTo>
                    <a:pt x="155" y="148"/>
                  </a:lnTo>
                  <a:lnTo>
                    <a:pt x="77"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20" name="Freeform 22"/>
            <p:cNvSpPr/>
            <p:nvPr userDrawn="1"/>
          </p:nvSpPr>
          <p:spPr bwMode="auto">
            <a:xfrm>
              <a:off x="6975458" y="3190117"/>
              <a:ext cx="116290" cy="164468"/>
            </a:xfrm>
            <a:custGeom>
              <a:avLst/>
              <a:gdLst>
                <a:gd name="T0" fmla="*/ 19 w 70"/>
                <a:gd name="T1" fmla="*/ 0 h 99"/>
                <a:gd name="T2" fmla="*/ 0 w 70"/>
                <a:gd name="T3" fmla="*/ 35 h 99"/>
                <a:gd name="T4" fmla="*/ 33 w 70"/>
                <a:gd name="T5" fmla="*/ 99 h 99"/>
                <a:gd name="T6" fmla="*/ 70 w 70"/>
                <a:gd name="T7" fmla="*/ 99 h 99"/>
                <a:gd name="T8" fmla="*/ 19 w 70"/>
                <a:gd name="T9" fmla="*/ 0 h 99"/>
              </a:gdLst>
              <a:ahLst/>
              <a:cxnLst>
                <a:cxn ang="0">
                  <a:pos x="T0" y="T1"/>
                </a:cxn>
                <a:cxn ang="0">
                  <a:pos x="T2" y="T3"/>
                </a:cxn>
                <a:cxn ang="0">
                  <a:pos x="T4" y="T5"/>
                </a:cxn>
                <a:cxn ang="0">
                  <a:pos x="T6" y="T7"/>
                </a:cxn>
                <a:cxn ang="0">
                  <a:pos x="T8" y="T9"/>
                </a:cxn>
              </a:cxnLst>
              <a:rect l="0" t="0" r="r" b="b"/>
              <a:pathLst>
                <a:path w="70" h="99">
                  <a:moveTo>
                    <a:pt x="19" y="0"/>
                  </a:moveTo>
                  <a:lnTo>
                    <a:pt x="0" y="35"/>
                  </a:lnTo>
                  <a:lnTo>
                    <a:pt x="33" y="99"/>
                  </a:lnTo>
                  <a:lnTo>
                    <a:pt x="70" y="99"/>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21" name="Oval 23"/>
            <p:cNvSpPr>
              <a:spLocks noChangeArrowheads="1"/>
            </p:cNvSpPr>
            <p:nvPr userDrawn="1"/>
          </p:nvSpPr>
          <p:spPr bwMode="auto">
            <a:xfrm>
              <a:off x="7021974" y="3117020"/>
              <a:ext cx="51501" cy="5482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51" name="Oval 29"/>
            <p:cNvSpPr>
              <a:spLocks noChangeArrowheads="1"/>
            </p:cNvSpPr>
            <p:nvPr userDrawn="1"/>
          </p:nvSpPr>
          <p:spPr bwMode="auto">
            <a:xfrm>
              <a:off x="1283878" y="2238198"/>
              <a:ext cx="103000" cy="101339"/>
            </a:xfrm>
            <a:prstGeom prst="ellipse">
              <a:avLst/>
            </a:prstGeom>
            <a:solidFill>
              <a:srgbClr val="D7F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56" name="Rectangle 34"/>
            <p:cNvSpPr>
              <a:spLocks noChangeArrowheads="1"/>
            </p:cNvSpPr>
            <p:nvPr userDrawn="1"/>
          </p:nvSpPr>
          <p:spPr bwMode="auto">
            <a:xfrm>
              <a:off x="5480297" y="2035520"/>
              <a:ext cx="152839"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57" name="Freeform 35"/>
            <p:cNvSpPr/>
            <p:nvPr userDrawn="1"/>
          </p:nvSpPr>
          <p:spPr bwMode="auto">
            <a:xfrm>
              <a:off x="5480297" y="2035520"/>
              <a:ext cx="152839" cy="9968"/>
            </a:xfrm>
            <a:custGeom>
              <a:avLst/>
              <a:gdLst>
                <a:gd name="T0" fmla="*/ 0 w 92"/>
                <a:gd name="T1" fmla="*/ 6 h 6"/>
                <a:gd name="T2" fmla="*/ 92 w 92"/>
                <a:gd name="T3" fmla="*/ 6 h 6"/>
                <a:gd name="T4" fmla="*/ 92 w 92"/>
                <a:gd name="T5" fmla="*/ 0 h 6"/>
                <a:gd name="T6" fmla="*/ 0 w 92"/>
                <a:gd name="T7" fmla="*/ 0 h 6"/>
              </a:gdLst>
              <a:ahLst/>
              <a:cxnLst>
                <a:cxn ang="0">
                  <a:pos x="T0" y="T1"/>
                </a:cxn>
                <a:cxn ang="0">
                  <a:pos x="T2" y="T3"/>
                </a:cxn>
                <a:cxn ang="0">
                  <a:pos x="T4" y="T5"/>
                </a:cxn>
                <a:cxn ang="0">
                  <a:pos x="T6" y="T7"/>
                </a:cxn>
              </a:cxnLst>
              <a:rect l="0" t="0" r="r" b="b"/>
              <a:pathLst>
                <a:path w="92" h="6">
                  <a:moveTo>
                    <a:pt x="0" y="6"/>
                  </a:moveTo>
                  <a:lnTo>
                    <a:pt x="92" y="6"/>
                  </a:lnTo>
                  <a:lnTo>
                    <a:pt x="9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58" name="Rectangle 36"/>
            <p:cNvSpPr>
              <a:spLocks noChangeArrowheads="1"/>
            </p:cNvSpPr>
            <p:nvPr userDrawn="1"/>
          </p:nvSpPr>
          <p:spPr bwMode="auto">
            <a:xfrm>
              <a:off x="5275959" y="5424552"/>
              <a:ext cx="152839"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59" name="Freeform 37"/>
            <p:cNvSpPr/>
            <p:nvPr userDrawn="1"/>
          </p:nvSpPr>
          <p:spPr bwMode="auto">
            <a:xfrm>
              <a:off x="5275959" y="5424552"/>
              <a:ext cx="152839" cy="9968"/>
            </a:xfrm>
            <a:custGeom>
              <a:avLst/>
              <a:gdLst>
                <a:gd name="T0" fmla="*/ 0 w 92"/>
                <a:gd name="T1" fmla="*/ 6 h 6"/>
                <a:gd name="T2" fmla="*/ 92 w 92"/>
                <a:gd name="T3" fmla="*/ 6 h 6"/>
                <a:gd name="T4" fmla="*/ 92 w 92"/>
                <a:gd name="T5" fmla="*/ 0 h 6"/>
                <a:gd name="T6" fmla="*/ 0 w 92"/>
                <a:gd name="T7" fmla="*/ 0 h 6"/>
              </a:gdLst>
              <a:ahLst/>
              <a:cxnLst>
                <a:cxn ang="0">
                  <a:pos x="T0" y="T1"/>
                </a:cxn>
                <a:cxn ang="0">
                  <a:pos x="T2" y="T3"/>
                </a:cxn>
                <a:cxn ang="0">
                  <a:pos x="T4" y="T5"/>
                </a:cxn>
                <a:cxn ang="0">
                  <a:pos x="T6" y="T7"/>
                </a:cxn>
              </a:cxnLst>
              <a:rect l="0" t="0" r="r" b="b"/>
              <a:pathLst>
                <a:path w="92" h="6">
                  <a:moveTo>
                    <a:pt x="0" y="6"/>
                  </a:moveTo>
                  <a:lnTo>
                    <a:pt x="92" y="6"/>
                  </a:lnTo>
                  <a:lnTo>
                    <a:pt x="9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60" name="Rectangle 38"/>
            <p:cNvSpPr>
              <a:spLocks noChangeArrowheads="1"/>
            </p:cNvSpPr>
            <p:nvPr userDrawn="1"/>
          </p:nvSpPr>
          <p:spPr bwMode="auto">
            <a:xfrm>
              <a:off x="5347394" y="2035520"/>
              <a:ext cx="81404"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61" name="Freeform 39"/>
            <p:cNvSpPr/>
            <p:nvPr userDrawn="1"/>
          </p:nvSpPr>
          <p:spPr bwMode="auto">
            <a:xfrm>
              <a:off x="5347394" y="2035520"/>
              <a:ext cx="81404" cy="9968"/>
            </a:xfrm>
            <a:custGeom>
              <a:avLst/>
              <a:gdLst>
                <a:gd name="T0" fmla="*/ 0 w 49"/>
                <a:gd name="T1" fmla="*/ 6 h 6"/>
                <a:gd name="T2" fmla="*/ 49 w 49"/>
                <a:gd name="T3" fmla="*/ 6 h 6"/>
                <a:gd name="T4" fmla="*/ 49 w 49"/>
                <a:gd name="T5" fmla="*/ 0 h 6"/>
                <a:gd name="T6" fmla="*/ 0 w 49"/>
                <a:gd name="T7" fmla="*/ 0 h 6"/>
              </a:gdLst>
              <a:ahLst/>
              <a:cxnLst>
                <a:cxn ang="0">
                  <a:pos x="T0" y="T1"/>
                </a:cxn>
                <a:cxn ang="0">
                  <a:pos x="T2" y="T3"/>
                </a:cxn>
                <a:cxn ang="0">
                  <a:pos x="T4" y="T5"/>
                </a:cxn>
                <a:cxn ang="0">
                  <a:pos x="T6" y="T7"/>
                </a:cxn>
              </a:cxnLst>
              <a:rect l="0" t="0" r="r" b="b"/>
              <a:pathLst>
                <a:path w="49" h="6">
                  <a:moveTo>
                    <a:pt x="0" y="6"/>
                  </a:moveTo>
                  <a:lnTo>
                    <a:pt x="49" y="6"/>
                  </a:lnTo>
                  <a:lnTo>
                    <a:pt x="4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62" name="Rectangle 40"/>
            <p:cNvSpPr>
              <a:spLocks noChangeArrowheads="1"/>
            </p:cNvSpPr>
            <p:nvPr userDrawn="1"/>
          </p:nvSpPr>
          <p:spPr bwMode="auto">
            <a:xfrm>
              <a:off x="2202572" y="2191682"/>
              <a:ext cx="83065"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63" name="Freeform 41"/>
            <p:cNvSpPr/>
            <p:nvPr userDrawn="1"/>
          </p:nvSpPr>
          <p:spPr bwMode="auto">
            <a:xfrm>
              <a:off x="2202572" y="2191682"/>
              <a:ext cx="83065" cy="9968"/>
            </a:xfrm>
            <a:custGeom>
              <a:avLst/>
              <a:gdLst>
                <a:gd name="T0" fmla="*/ 0 w 50"/>
                <a:gd name="T1" fmla="*/ 6 h 6"/>
                <a:gd name="T2" fmla="*/ 50 w 50"/>
                <a:gd name="T3" fmla="*/ 6 h 6"/>
                <a:gd name="T4" fmla="*/ 50 w 50"/>
                <a:gd name="T5" fmla="*/ 0 h 6"/>
                <a:gd name="T6" fmla="*/ 0 w 50"/>
                <a:gd name="T7" fmla="*/ 0 h 6"/>
              </a:gdLst>
              <a:ahLst/>
              <a:cxnLst>
                <a:cxn ang="0">
                  <a:pos x="T0" y="T1"/>
                </a:cxn>
                <a:cxn ang="0">
                  <a:pos x="T2" y="T3"/>
                </a:cxn>
                <a:cxn ang="0">
                  <a:pos x="T4" y="T5"/>
                </a:cxn>
                <a:cxn ang="0">
                  <a:pos x="T6" y="T7"/>
                </a:cxn>
              </a:cxnLst>
              <a:rect l="0" t="0" r="r" b="b"/>
              <a:pathLst>
                <a:path w="50" h="6">
                  <a:moveTo>
                    <a:pt x="0" y="6"/>
                  </a:moveTo>
                  <a:lnTo>
                    <a:pt x="50" y="6"/>
                  </a:lnTo>
                  <a:lnTo>
                    <a:pt x="5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2" name="组合 1"/>
            <p:cNvGrpSpPr/>
            <p:nvPr userDrawn="1"/>
          </p:nvGrpSpPr>
          <p:grpSpPr>
            <a:xfrm>
              <a:off x="642620" y="2535568"/>
              <a:ext cx="441903" cy="802404"/>
              <a:chOff x="673100" y="2649868"/>
              <a:chExt cx="441903" cy="802404"/>
            </a:xfrm>
          </p:grpSpPr>
          <p:sp>
            <p:nvSpPr>
              <p:cNvPr id="9803" name="Freeform 5"/>
              <p:cNvSpPr>
                <a:spLocks noEditPoints="1"/>
              </p:cNvSpPr>
              <p:nvPr userDrawn="1"/>
            </p:nvSpPr>
            <p:spPr bwMode="auto">
              <a:xfrm>
                <a:off x="673100" y="3010369"/>
                <a:ext cx="441903" cy="441903"/>
              </a:xfrm>
              <a:custGeom>
                <a:avLst/>
                <a:gdLst>
                  <a:gd name="T0" fmla="*/ 169 w 170"/>
                  <a:gd name="T1" fmla="*/ 96 h 170"/>
                  <a:gd name="T2" fmla="*/ 169 w 170"/>
                  <a:gd name="T3" fmla="*/ 76 h 170"/>
                  <a:gd name="T4" fmla="*/ 164 w 170"/>
                  <a:gd name="T5" fmla="*/ 57 h 170"/>
                  <a:gd name="T6" fmla="*/ 147 w 170"/>
                  <a:gd name="T7" fmla="*/ 61 h 170"/>
                  <a:gd name="T8" fmla="*/ 138 w 170"/>
                  <a:gd name="T9" fmla="*/ 46 h 170"/>
                  <a:gd name="T10" fmla="*/ 152 w 170"/>
                  <a:gd name="T11" fmla="*/ 33 h 170"/>
                  <a:gd name="T12" fmla="*/ 121 w 170"/>
                  <a:gd name="T13" fmla="*/ 9 h 170"/>
                  <a:gd name="T14" fmla="*/ 112 w 170"/>
                  <a:gd name="T15" fmla="*/ 24 h 170"/>
                  <a:gd name="T16" fmla="*/ 95 w 170"/>
                  <a:gd name="T17" fmla="*/ 19 h 170"/>
                  <a:gd name="T18" fmla="*/ 96 w 170"/>
                  <a:gd name="T19" fmla="*/ 1 h 170"/>
                  <a:gd name="T20" fmla="*/ 76 w 170"/>
                  <a:gd name="T21" fmla="*/ 1 h 170"/>
                  <a:gd name="T22" fmla="*/ 56 w 170"/>
                  <a:gd name="T23" fmla="*/ 5 h 170"/>
                  <a:gd name="T24" fmla="*/ 61 w 170"/>
                  <a:gd name="T25" fmla="*/ 23 h 170"/>
                  <a:gd name="T26" fmla="*/ 45 w 170"/>
                  <a:gd name="T27" fmla="*/ 31 h 170"/>
                  <a:gd name="T28" fmla="*/ 33 w 170"/>
                  <a:gd name="T29" fmla="*/ 18 h 170"/>
                  <a:gd name="T30" fmla="*/ 8 w 170"/>
                  <a:gd name="T31" fmla="*/ 49 h 170"/>
                  <a:gd name="T32" fmla="*/ 24 w 170"/>
                  <a:gd name="T33" fmla="*/ 58 h 170"/>
                  <a:gd name="T34" fmla="*/ 19 w 170"/>
                  <a:gd name="T35" fmla="*/ 75 h 170"/>
                  <a:gd name="T36" fmla="*/ 1 w 170"/>
                  <a:gd name="T37" fmla="*/ 74 h 170"/>
                  <a:gd name="T38" fmla="*/ 0 w 170"/>
                  <a:gd name="T39" fmla="*/ 94 h 170"/>
                  <a:gd name="T40" fmla="*/ 5 w 170"/>
                  <a:gd name="T41" fmla="*/ 113 h 170"/>
                  <a:gd name="T42" fmla="*/ 22 w 170"/>
                  <a:gd name="T43" fmla="*/ 109 h 170"/>
                  <a:gd name="T44" fmla="*/ 31 w 170"/>
                  <a:gd name="T45" fmla="*/ 124 h 170"/>
                  <a:gd name="T46" fmla="*/ 18 w 170"/>
                  <a:gd name="T47" fmla="*/ 137 h 170"/>
                  <a:gd name="T48" fmla="*/ 48 w 170"/>
                  <a:gd name="T49" fmla="*/ 161 h 170"/>
                  <a:gd name="T50" fmla="*/ 57 w 170"/>
                  <a:gd name="T51" fmla="*/ 146 h 170"/>
                  <a:gd name="T52" fmla="*/ 74 w 170"/>
                  <a:gd name="T53" fmla="*/ 151 h 170"/>
                  <a:gd name="T54" fmla="*/ 74 w 170"/>
                  <a:gd name="T55" fmla="*/ 169 h 170"/>
                  <a:gd name="T56" fmla="*/ 94 w 170"/>
                  <a:gd name="T57" fmla="*/ 169 h 170"/>
                  <a:gd name="T58" fmla="*/ 113 w 170"/>
                  <a:gd name="T59" fmla="*/ 165 h 170"/>
                  <a:gd name="T60" fmla="*/ 108 w 170"/>
                  <a:gd name="T61" fmla="*/ 147 h 170"/>
                  <a:gd name="T62" fmla="*/ 124 w 170"/>
                  <a:gd name="T63" fmla="*/ 139 h 170"/>
                  <a:gd name="T64" fmla="*/ 136 w 170"/>
                  <a:gd name="T65" fmla="*/ 152 h 170"/>
                  <a:gd name="T66" fmla="*/ 161 w 170"/>
                  <a:gd name="T67" fmla="*/ 121 h 170"/>
                  <a:gd name="T68" fmla="*/ 146 w 170"/>
                  <a:gd name="T69" fmla="*/ 112 h 170"/>
                  <a:gd name="T70" fmla="*/ 151 w 170"/>
                  <a:gd name="T71" fmla="*/ 95 h 170"/>
                  <a:gd name="T72" fmla="*/ 169 w 170"/>
                  <a:gd name="T73" fmla="*/ 96 h 170"/>
                  <a:gd name="T74" fmla="*/ 89 w 170"/>
                  <a:gd name="T75" fmla="*/ 126 h 170"/>
                  <a:gd name="T76" fmla="*/ 44 w 170"/>
                  <a:gd name="T77" fmla="*/ 89 h 170"/>
                  <a:gd name="T78" fmla="*/ 80 w 170"/>
                  <a:gd name="T79" fmla="*/ 44 h 170"/>
                  <a:gd name="T80" fmla="*/ 125 w 170"/>
                  <a:gd name="T81" fmla="*/ 81 h 170"/>
                  <a:gd name="T82" fmla="*/ 89 w 170"/>
                  <a:gd name="T83" fmla="*/ 126 h 170"/>
                  <a:gd name="T84" fmla="*/ 88 w 170"/>
                  <a:gd name="T85" fmla="*/ 115 h 170"/>
                  <a:gd name="T86" fmla="*/ 55 w 170"/>
                  <a:gd name="T87" fmla="*/ 88 h 170"/>
                  <a:gd name="T88" fmla="*/ 81 w 170"/>
                  <a:gd name="T89" fmla="*/ 55 h 170"/>
                  <a:gd name="T90" fmla="*/ 114 w 170"/>
                  <a:gd name="T91" fmla="*/ 82 h 170"/>
                  <a:gd name="T92" fmla="*/ 88 w 170"/>
                  <a:gd name="T93" fmla="*/ 11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0" h="170">
                    <a:moveTo>
                      <a:pt x="169" y="96"/>
                    </a:moveTo>
                    <a:cubicBezTo>
                      <a:pt x="169" y="89"/>
                      <a:pt x="170" y="83"/>
                      <a:pt x="169" y="76"/>
                    </a:cubicBezTo>
                    <a:cubicBezTo>
                      <a:pt x="168" y="69"/>
                      <a:pt x="167" y="63"/>
                      <a:pt x="164" y="57"/>
                    </a:cubicBezTo>
                    <a:cubicBezTo>
                      <a:pt x="147" y="61"/>
                      <a:pt x="147" y="61"/>
                      <a:pt x="147" y="61"/>
                    </a:cubicBezTo>
                    <a:cubicBezTo>
                      <a:pt x="145" y="56"/>
                      <a:pt x="142" y="50"/>
                      <a:pt x="138" y="46"/>
                    </a:cubicBezTo>
                    <a:cubicBezTo>
                      <a:pt x="152" y="33"/>
                      <a:pt x="152" y="33"/>
                      <a:pt x="152" y="33"/>
                    </a:cubicBezTo>
                    <a:cubicBezTo>
                      <a:pt x="144" y="23"/>
                      <a:pt x="133" y="14"/>
                      <a:pt x="121" y="9"/>
                    </a:cubicBezTo>
                    <a:cubicBezTo>
                      <a:pt x="112" y="24"/>
                      <a:pt x="112" y="24"/>
                      <a:pt x="112" y="24"/>
                    </a:cubicBezTo>
                    <a:cubicBezTo>
                      <a:pt x="106" y="22"/>
                      <a:pt x="101" y="20"/>
                      <a:pt x="95" y="19"/>
                    </a:cubicBezTo>
                    <a:cubicBezTo>
                      <a:pt x="96" y="1"/>
                      <a:pt x="96" y="1"/>
                      <a:pt x="96" y="1"/>
                    </a:cubicBezTo>
                    <a:cubicBezTo>
                      <a:pt x="89" y="0"/>
                      <a:pt x="82" y="0"/>
                      <a:pt x="76" y="1"/>
                    </a:cubicBezTo>
                    <a:cubicBezTo>
                      <a:pt x="69" y="2"/>
                      <a:pt x="62" y="3"/>
                      <a:pt x="56" y="5"/>
                    </a:cubicBezTo>
                    <a:cubicBezTo>
                      <a:pt x="61" y="23"/>
                      <a:pt x="61" y="23"/>
                      <a:pt x="61" y="23"/>
                    </a:cubicBezTo>
                    <a:cubicBezTo>
                      <a:pt x="55" y="25"/>
                      <a:pt x="50" y="28"/>
                      <a:pt x="45" y="31"/>
                    </a:cubicBezTo>
                    <a:cubicBezTo>
                      <a:pt x="33" y="18"/>
                      <a:pt x="33" y="18"/>
                      <a:pt x="33" y="18"/>
                    </a:cubicBezTo>
                    <a:cubicBezTo>
                      <a:pt x="22" y="26"/>
                      <a:pt x="14" y="37"/>
                      <a:pt x="8" y="49"/>
                    </a:cubicBezTo>
                    <a:cubicBezTo>
                      <a:pt x="24" y="58"/>
                      <a:pt x="24" y="58"/>
                      <a:pt x="24" y="58"/>
                    </a:cubicBezTo>
                    <a:cubicBezTo>
                      <a:pt x="21" y="63"/>
                      <a:pt x="20" y="69"/>
                      <a:pt x="19" y="75"/>
                    </a:cubicBezTo>
                    <a:cubicBezTo>
                      <a:pt x="1" y="74"/>
                      <a:pt x="1" y="74"/>
                      <a:pt x="1" y="74"/>
                    </a:cubicBezTo>
                    <a:cubicBezTo>
                      <a:pt x="0" y="81"/>
                      <a:pt x="0" y="87"/>
                      <a:pt x="0" y="94"/>
                    </a:cubicBezTo>
                    <a:cubicBezTo>
                      <a:pt x="1" y="101"/>
                      <a:pt x="3" y="107"/>
                      <a:pt x="5" y="113"/>
                    </a:cubicBezTo>
                    <a:cubicBezTo>
                      <a:pt x="22" y="109"/>
                      <a:pt x="22" y="109"/>
                      <a:pt x="22" y="109"/>
                    </a:cubicBezTo>
                    <a:cubicBezTo>
                      <a:pt x="24" y="114"/>
                      <a:pt x="27" y="120"/>
                      <a:pt x="31" y="124"/>
                    </a:cubicBezTo>
                    <a:cubicBezTo>
                      <a:pt x="18" y="137"/>
                      <a:pt x="18" y="137"/>
                      <a:pt x="18" y="137"/>
                    </a:cubicBezTo>
                    <a:cubicBezTo>
                      <a:pt x="26" y="147"/>
                      <a:pt x="36" y="156"/>
                      <a:pt x="48" y="161"/>
                    </a:cubicBezTo>
                    <a:cubicBezTo>
                      <a:pt x="57" y="146"/>
                      <a:pt x="57" y="146"/>
                      <a:pt x="57" y="146"/>
                    </a:cubicBezTo>
                    <a:cubicBezTo>
                      <a:pt x="63" y="148"/>
                      <a:pt x="69" y="150"/>
                      <a:pt x="74" y="151"/>
                    </a:cubicBezTo>
                    <a:cubicBezTo>
                      <a:pt x="74" y="169"/>
                      <a:pt x="74" y="169"/>
                      <a:pt x="74" y="169"/>
                    </a:cubicBezTo>
                    <a:cubicBezTo>
                      <a:pt x="80" y="170"/>
                      <a:pt x="87" y="170"/>
                      <a:pt x="94" y="169"/>
                    </a:cubicBezTo>
                    <a:cubicBezTo>
                      <a:pt x="100" y="168"/>
                      <a:pt x="107" y="167"/>
                      <a:pt x="113" y="165"/>
                    </a:cubicBezTo>
                    <a:cubicBezTo>
                      <a:pt x="108" y="147"/>
                      <a:pt x="108" y="147"/>
                      <a:pt x="108" y="147"/>
                    </a:cubicBezTo>
                    <a:cubicBezTo>
                      <a:pt x="114" y="145"/>
                      <a:pt x="119" y="142"/>
                      <a:pt x="124" y="139"/>
                    </a:cubicBezTo>
                    <a:cubicBezTo>
                      <a:pt x="136" y="152"/>
                      <a:pt x="136" y="152"/>
                      <a:pt x="136" y="152"/>
                    </a:cubicBezTo>
                    <a:cubicBezTo>
                      <a:pt x="147" y="144"/>
                      <a:pt x="155" y="133"/>
                      <a:pt x="161" y="121"/>
                    </a:cubicBezTo>
                    <a:cubicBezTo>
                      <a:pt x="146" y="112"/>
                      <a:pt x="146" y="112"/>
                      <a:pt x="146" y="112"/>
                    </a:cubicBezTo>
                    <a:cubicBezTo>
                      <a:pt x="148" y="107"/>
                      <a:pt x="150" y="101"/>
                      <a:pt x="151" y="95"/>
                    </a:cubicBezTo>
                    <a:lnTo>
                      <a:pt x="169" y="96"/>
                    </a:lnTo>
                    <a:close/>
                    <a:moveTo>
                      <a:pt x="89" y="126"/>
                    </a:moveTo>
                    <a:cubicBezTo>
                      <a:pt x="67" y="128"/>
                      <a:pt x="46" y="112"/>
                      <a:pt x="44" y="89"/>
                    </a:cubicBezTo>
                    <a:cubicBezTo>
                      <a:pt x="42" y="67"/>
                      <a:pt x="58" y="47"/>
                      <a:pt x="80" y="44"/>
                    </a:cubicBezTo>
                    <a:cubicBezTo>
                      <a:pt x="103" y="42"/>
                      <a:pt x="123" y="58"/>
                      <a:pt x="125" y="81"/>
                    </a:cubicBezTo>
                    <a:cubicBezTo>
                      <a:pt x="128" y="103"/>
                      <a:pt x="111" y="123"/>
                      <a:pt x="89" y="126"/>
                    </a:cubicBezTo>
                    <a:close/>
                    <a:moveTo>
                      <a:pt x="88" y="115"/>
                    </a:moveTo>
                    <a:cubicBezTo>
                      <a:pt x="71" y="116"/>
                      <a:pt x="57" y="105"/>
                      <a:pt x="55" y="88"/>
                    </a:cubicBezTo>
                    <a:cubicBezTo>
                      <a:pt x="53" y="72"/>
                      <a:pt x="65" y="57"/>
                      <a:pt x="81" y="55"/>
                    </a:cubicBezTo>
                    <a:cubicBezTo>
                      <a:pt x="98" y="53"/>
                      <a:pt x="113" y="65"/>
                      <a:pt x="114" y="82"/>
                    </a:cubicBezTo>
                    <a:cubicBezTo>
                      <a:pt x="116" y="98"/>
                      <a:pt x="104" y="113"/>
                      <a:pt x="88" y="115"/>
                    </a:cubicBezTo>
                    <a:close/>
                  </a:path>
                </a:pathLst>
              </a:custGeom>
              <a:solidFill>
                <a:srgbClr val="D9E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68" name="Rectangle 46"/>
              <p:cNvSpPr>
                <a:spLocks noChangeArrowheads="1"/>
              </p:cNvSpPr>
              <p:nvPr userDrawn="1"/>
            </p:nvSpPr>
            <p:spPr bwMode="auto">
              <a:xfrm>
                <a:off x="902358" y="2649868"/>
                <a:ext cx="9968" cy="63129"/>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69" name="Freeform 47"/>
              <p:cNvSpPr/>
              <p:nvPr userDrawn="1"/>
            </p:nvSpPr>
            <p:spPr bwMode="auto">
              <a:xfrm>
                <a:off x="902358" y="2649868"/>
                <a:ext cx="9968" cy="63129"/>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70" name="Rectangle 48"/>
              <p:cNvSpPr>
                <a:spLocks noChangeArrowheads="1"/>
              </p:cNvSpPr>
              <p:nvPr userDrawn="1"/>
            </p:nvSpPr>
            <p:spPr bwMode="auto">
              <a:xfrm>
                <a:off x="875777" y="2676449"/>
                <a:ext cx="61468"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71" name="Freeform 49"/>
              <p:cNvSpPr/>
              <p:nvPr userDrawn="1"/>
            </p:nvSpPr>
            <p:spPr bwMode="auto">
              <a:xfrm>
                <a:off x="875777" y="2676449"/>
                <a:ext cx="61468" cy="9968"/>
              </a:xfrm>
              <a:custGeom>
                <a:avLst/>
                <a:gdLst>
                  <a:gd name="T0" fmla="*/ 37 w 37"/>
                  <a:gd name="T1" fmla="*/ 0 h 6"/>
                  <a:gd name="T2" fmla="*/ 0 w 37"/>
                  <a:gd name="T3" fmla="*/ 0 h 6"/>
                  <a:gd name="T4" fmla="*/ 0 w 37"/>
                  <a:gd name="T5" fmla="*/ 6 h 6"/>
                  <a:gd name="T6" fmla="*/ 37 w 37"/>
                  <a:gd name="T7" fmla="*/ 6 h 6"/>
                </a:gdLst>
                <a:ahLst/>
                <a:cxnLst>
                  <a:cxn ang="0">
                    <a:pos x="T0" y="T1"/>
                  </a:cxn>
                  <a:cxn ang="0">
                    <a:pos x="T2" y="T3"/>
                  </a:cxn>
                  <a:cxn ang="0">
                    <a:pos x="T4" y="T5"/>
                  </a:cxn>
                  <a:cxn ang="0">
                    <a:pos x="T6" y="T7"/>
                  </a:cxn>
                </a:cxnLst>
                <a:rect l="0" t="0" r="r" b="b"/>
                <a:pathLst>
                  <a:path w="37" h="6">
                    <a:moveTo>
                      <a:pt x="37" y="0"/>
                    </a:moveTo>
                    <a:lnTo>
                      <a:pt x="0" y="0"/>
                    </a:lnTo>
                    <a:lnTo>
                      <a:pt x="0" y="6"/>
                    </a:lnTo>
                    <a:lnTo>
                      <a:pt x="37"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0088" name="Rectangle 66"/>
            <p:cNvSpPr>
              <a:spLocks noChangeArrowheads="1"/>
            </p:cNvSpPr>
            <p:nvPr userDrawn="1"/>
          </p:nvSpPr>
          <p:spPr bwMode="auto">
            <a:xfrm>
              <a:off x="6882426" y="2535568"/>
              <a:ext cx="9968" cy="63129"/>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89" name="Freeform 67"/>
            <p:cNvSpPr/>
            <p:nvPr userDrawn="1"/>
          </p:nvSpPr>
          <p:spPr bwMode="auto">
            <a:xfrm>
              <a:off x="6882426" y="2535568"/>
              <a:ext cx="9968" cy="63129"/>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90" name="Rectangle 68"/>
            <p:cNvSpPr>
              <a:spLocks noChangeArrowheads="1"/>
            </p:cNvSpPr>
            <p:nvPr userDrawn="1"/>
          </p:nvSpPr>
          <p:spPr bwMode="auto">
            <a:xfrm>
              <a:off x="6855845" y="2562149"/>
              <a:ext cx="63129"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91" name="Freeform 69"/>
            <p:cNvSpPr/>
            <p:nvPr userDrawn="1"/>
          </p:nvSpPr>
          <p:spPr bwMode="auto">
            <a:xfrm>
              <a:off x="6855845" y="2562149"/>
              <a:ext cx="63129" cy="9968"/>
            </a:xfrm>
            <a:custGeom>
              <a:avLst/>
              <a:gdLst>
                <a:gd name="T0" fmla="*/ 38 w 38"/>
                <a:gd name="T1" fmla="*/ 0 h 6"/>
                <a:gd name="T2" fmla="*/ 0 w 38"/>
                <a:gd name="T3" fmla="*/ 0 h 6"/>
                <a:gd name="T4" fmla="*/ 0 w 38"/>
                <a:gd name="T5" fmla="*/ 6 h 6"/>
                <a:gd name="T6" fmla="*/ 38 w 38"/>
                <a:gd name="T7" fmla="*/ 6 h 6"/>
              </a:gdLst>
              <a:ahLst/>
              <a:cxnLst>
                <a:cxn ang="0">
                  <a:pos x="T0" y="T1"/>
                </a:cxn>
                <a:cxn ang="0">
                  <a:pos x="T2" y="T3"/>
                </a:cxn>
                <a:cxn ang="0">
                  <a:pos x="T4" y="T5"/>
                </a:cxn>
                <a:cxn ang="0">
                  <a:pos x="T6" y="T7"/>
                </a:cxn>
              </a:cxnLst>
              <a:rect l="0" t="0" r="r" b="b"/>
              <a:pathLst>
                <a:path w="38" h="6">
                  <a:moveTo>
                    <a:pt x="38" y="0"/>
                  </a:moveTo>
                  <a:lnTo>
                    <a:pt x="0" y="0"/>
                  </a:lnTo>
                  <a:lnTo>
                    <a:pt x="0" y="6"/>
                  </a:lnTo>
                  <a:lnTo>
                    <a:pt x="3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95" name="Freeform 73"/>
            <p:cNvSpPr>
              <a:spLocks noEditPoints="1"/>
            </p:cNvSpPr>
            <p:nvPr userDrawn="1"/>
          </p:nvSpPr>
          <p:spPr bwMode="auto">
            <a:xfrm>
              <a:off x="1117749" y="2628601"/>
              <a:ext cx="599726" cy="599726"/>
            </a:xfrm>
            <a:custGeom>
              <a:avLst/>
              <a:gdLst>
                <a:gd name="T0" fmla="*/ 224 w 231"/>
                <a:gd name="T1" fmla="*/ 77 h 231"/>
                <a:gd name="T2" fmla="*/ 212 w 231"/>
                <a:gd name="T3" fmla="*/ 53 h 231"/>
                <a:gd name="T4" fmla="*/ 195 w 231"/>
                <a:gd name="T5" fmla="*/ 32 h 231"/>
                <a:gd name="T6" fmla="*/ 176 w 231"/>
                <a:gd name="T7" fmla="*/ 49 h 231"/>
                <a:gd name="T8" fmla="*/ 157 w 231"/>
                <a:gd name="T9" fmla="*/ 35 h 231"/>
                <a:gd name="T10" fmla="*/ 165 w 231"/>
                <a:gd name="T11" fmla="*/ 12 h 231"/>
                <a:gd name="T12" fmla="*/ 113 w 231"/>
                <a:gd name="T13" fmla="*/ 1 h 231"/>
                <a:gd name="T14" fmla="*/ 111 w 231"/>
                <a:gd name="T15" fmla="*/ 25 h 231"/>
                <a:gd name="T16" fmla="*/ 87 w 231"/>
                <a:gd name="T17" fmla="*/ 29 h 231"/>
                <a:gd name="T18" fmla="*/ 77 w 231"/>
                <a:gd name="T19" fmla="*/ 7 h 231"/>
                <a:gd name="T20" fmla="*/ 53 w 231"/>
                <a:gd name="T21" fmla="*/ 19 h 231"/>
                <a:gd name="T22" fmla="*/ 32 w 231"/>
                <a:gd name="T23" fmla="*/ 36 h 231"/>
                <a:gd name="T24" fmla="*/ 48 w 231"/>
                <a:gd name="T25" fmla="*/ 54 h 231"/>
                <a:gd name="T26" fmla="*/ 35 w 231"/>
                <a:gd name="T27" fmla="*/ 74 h 231"/>
                <a:gd name="T28" fmla="*/ 12 w 231"/>
                <a:gd name="T29" fmla="*/ 66 h 231"/>
                <a:gd name="T30" fmla="*/ 0 w 231"/>
                <a:gd name="T31" fmla="*/ 118 h 231"/>
                <a:gd name="T32" fmla="*/ 25 w 231"/>
                <a:gd name="T33" fmla="*/ 120 h 231"/>
                <a:gd name="T34" fmla="*/ 29 w 231"/>
                <a:gd name="T35" fmla="*/ 144 h 231"/>
                <a:gd name="T36" fmla="*/ 7 w 231"/>
                <a:gd name="T37" fmla="*/ 154 h 231"/>
                <a:gd name="T38" fmla="*/ 19 w 231"/>
                <a:gd name="T39" fmla="*/ 178 h 231"/>
                <a:gd name="T40" fmla="*/ 36 w 231"/>
                <a:gd name="T41" fmla="*/ 199 h 231"/>
                <a:gd name="T42" fmla="*/ 54 w 231"/>
                <a:gd name="T43" fmla="*/ 183 h 231"/>
                <a:gd name="T44" fmla="*/ 74 w 231"/>
                <a:gd name="T45" fmla="*/ 196 h 231"/>
                <a:gd name="T46" fmla="*/ 66 w 231"/>
                <a:gd name="T47" fmla="*/ 219 h 231"/>
                <a:gd name="T48" fmla="*/ 118 w 231"/>
                <a:gd name="T49" fmla="*/ 231 h 231"/>
                <a:gd name="T50" fmla="*/ 120 w 231"/>
                <a:gd name="T51" fmla="*/ 206 h 231"/>
                <a:gd name="T52" fmla="*/ 143 w 231"/>
                <a:gd name="T53" fmla="*/ 202 h 231"/>
                <a:gd name="T54" fmla="*/ 154 w 231"/>
                <a:gd name="T55" fmla="*/ 224 h 231"/>
                <a:gd name="T56" fmla="*/ 178 w 231"/>
                <a:gd name="T57" fmla="*/ 212 h 231"/>
                <a:gd name="T58" fmla="*/ 199 w 231"/>
                <a:gd name="T59" fmla="*/ 195 h 231"/>
                <a:gd name="T60" fmla="*/ 182 w 231"/>
                <a:gd name="T61" fmla="*/ 177 h 231"/>
                <a:gd name="T62" fmla="*/ 196 w 231"/>
                <a:gd name="T63" fmla="*/ 157 h 231"/>
                <a:gd name="T64" fmla="*/ 219 w 231"/>
                <a:gd name="T65" fmla="*/ 165 h 231"/>
                <a:gd name="T66" fmla="*/ 230 w 231"/>
                <a:gd name="T67" fmla="*/ 113 h 231"/>
                <a:gd name="T68" fmla="*/ 206 w 231"/>
                <a:gd name="T69" fmla="*/ 111 h 231"/>
                <a:gd name="T70" fmla="*/ 202 w 231"/>
                <a:gd name="T71" fmla="*/ 88 h 231"/>
                <a:gd name="T72" fmla="*/ 224 w 231"/>
                <a:gd name="T73" fmla="*/ 77 h 231"/>
                <a:gd name="T74" fmla="*/ 145 w 231"/>
                <a:gd name="T75" fmla="*/ 162 h 231"/>
                <a:gd name="T76" fmla="*/ 69 w 231"/>
                <a:gd name="T77" fmla="*/ 146 h 231"/>
                <a:gd name="T78" fmla="*/ 85 w 231"/>
                <a:gd name="T79" fmla="*/ 69 h 231"/>
                <a:gd name="T80" fmla="*/ 162 w 231"/>
                <a:gd name="T81" fmla="*/ 86 h 231"/>
                <a:gd name="T82" fmla="*/ 145 w 231"/>
                <a:gd name="T83" fmla="*/ 162 h 231"/>
                <a:gd name="T84" fmla="*/ 137 w 231"/>
                <a:gd name="T85" fmla="*/ 150 h 231"/>
                <a:gd name="T86" fmla="*/ 81 w 231"/>
                <a:gd name="T87" fmla="*/ 138 h 231"/>
                <a:gd name="T88" fmla="*/ 93 w 231"/>
                <a:gd name="T89" fmla="*/ 81 h 231"/>
                <a:gd name="T90" fmla="*/ 150 w 231"/>
                <a:gd name="T91" fmla="*/ 94 h 231"/>
                <a:gd name="T92" fmla="*/ 137 w 231"/>
                <a:gd name="T93" fmla="*/ 15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1" h="231">
                  <a:moveTo>
                    <a:pt x="224" y="77"/>
                  </a:moveTo>
                  <a:cubicBezTo>
                    <a:pt x="221" y="69"/>
                    <a:pt x="217" y="61"/>
                    <a:pt x="212" y="53"/>
                  </a:cubicBezTo>
                  <a:cubicBezTo>
                    <a:pt x="207" y="45"/>
                    <a:pt x="201" y="39"/>
                    <a:pt x="195" y="32"/>
                  </a:cubicBezTo>
                  <a:cubicBezTo>
                    <a:pt x="176" y="49"/>
                    <a:pt x="176" y="49"/>
                    <a:pt x="176" y="49"/>
                  </a:cubicBezTo>
                  <a:cubicBezTo>
                    <a:pt x="170" y="43"/>
                    <a:pt x="164" y="38"/>
                    <a:pt x="157" y="35"/>
                  </a:cubicBezTo>
                  <a:cubicBezTo>
                    <a:pt x="165" y="12"/>
                    <a:pt x="165" y="12"/>
                    <a:pt x="165" y="12"/>
                  </a:cubicBezTo>
                  <a:cubicBezTo>
                    <a:pt x="149" y="4"/>
                    <a:pt x="131" y="0"/>
                    <a:pt x="113" y="1"/>
                  </a:cubicBezTo>
                  <a:cubicBezTo>
                    <a:pt x="111" y="25"/>
                    <a:pt x="111" y="25"/>
                    <a:pt x="111" y="25"/>
                  </a:cubicBezTo>
                  <a:cubicBezTo>
                    <a:pt x="103" y="25"/>
                    <a:pt x="95" y="27"/>
                    <a:pt x="87" y="29"/>
                  </a:cubicBezTo>
                  <a:cubicBezTo>
                    <a:pt x="77" y="7"/>
                    <a:pt x="77" y="7"/>
                    <a:pt x="77" y="7"/>
                  </a:cubicBezTo>
                  <a:cubicBezTo>
                    <a:pt x="69" y="10"/>
                    <a:pt x="61" y="14"/>
                    <a:pt x="53" y="19"/>
                  </a:cubicBezTo>
                  <a:cubicBezTo>
                    <a:pt x="45" y="24"/>
                    <a:pt x="38" y="30"/>
                    <a:pt x="32" y="36"/>
                  </a:cubicBezTo>
                  <a:cubicBezTo>
                    <a:pt x="48" y="54"/>
                    <a:pt x="48" y="54"/>
                    <a:pt x="48" y="54"/>
                  </a:cubicBezTo>
                  <a:cubicBezTo>
                    <a:pt x="43" y="61"/>
                    <a:pt x="38" y="67"/>
                    <a:pt x="35" y="74"/>
                  </a:cubicBezTo>
                  <a:cubicBezTo>
                    <a:pt x="12" y="66"/>
                    <a:pt x="12" y="66"/>
                    <a:pt x="12" y="66"/>
                  </a:cubicBezTo>
                  <a:cubicBezTo>
                    <a:pt x="4" y="82"/>
                    <a:pt x="0" y="100"/>
                    <a:pt x="0" y="118"/>
                  </a:cubicBezTo>
                  <a:cubicBezTo>
                    <a:pt x="25" y="120"/>
                    <a:pt x="25" y="120"/>
                    <a:pt x="25" y="120"/>
                  </a:cubicBezTo>
                  <a:cubicBezTo>
                    <a:pt x="25" y="128"/>
                    <a:pt x="27" y="136"/>
                    <a:pt x="29" y="144"/>
                  </a:cubicBezTo>
                  <a:cubicBezTo>
                    <a:pt x="7" y="154"/>
                    <a:pt x="7" y="154"/>
                    <a:pt x="7" y="154"/>
                  </a:cubicBezTo>
                  <a:cubicBezTo>
                    <a:pt x="10" y="162"/>
                    <a:pt x="14" y="170"/>
                    <a:pt x="19" y="178"/>
                  </a:cubicBezTo>
                  <a:cubicBezTo>
                    <a:pt x="24" y="186"/>
                    <a:pt x="30" y="193"/>
                    <a:pt x="36" y="199"/>
                  </a:cubicBezTo>
                  <a:cubicBezTo>
                    <a:pt x="54" y="183"/>
                    <a:pt x="54" y="183"/>
                    <a:pt x="54" y="183"/>
                  </a:cubicBezTo>
                  <a:cubicBezTo>
                    <a:pt x="60" y="188"/>
                    <a:pt x="67" y="193"/>
                    <a:pt x="74" y="196"/>
                  </a:cubicBezTo>
                  <a:cubicBezTo>
                    <a:pt x="66" y="219"/>
                    <a:pt x="66" y="219"/>
                    <a:pt x="66" y="219"/>
                  </a:cubicBezTo>
                  <a:cubicBezTo>
                    <a:pt x="82" y="227"/>
                    <a:pt x="100" y="231"/>
                    <a:pt x="118" y="231"/>
                  </a:cubicBezTo>
                  <a:cubicBezTo>
                    <a:pt x="120" y="206"/>
                    <a:pt x="120" y="206"/>
                    <a:pt x="120" y="206"/>
                  </a:cubicBezTo>
                  <a:cubicBezTo>
                    <a:pt x="128" y="206"/>
                    <a:pt x="136" y="204"/>
                    <a:pt x="143" y="202"/>
                  </a:cubicBezTo>
                  <a:cubicBezTo>
                    <a:pt x="154" y="224"/>
                    <a:pt x="154" y="224"/>
                    <a:pt x="154" y="224"/>
                  </a:cubicBezTo>
                  <a:cubicBezTo>
                    <a:pt x="162" y="221"/>
                    <a:pt x="170" y="217"/>
                    <a:pt x="178" y="212"/>
                  </a:cubicBezTo>
                  <a:cubicBezTo>
                    <a:pt x="185" y="207"/>
                    <a:pt x="192" y="201"/>
                    <a:pt x="199" y="195"/>
                  </a:cubicBezTo>
                  <a:cubicBezTo>
                    <a:pt x="182" y="177"/>
                    <a:pt x="182" y="177"/>
                    <a:pt x="182" y="177"/>
                  </a:cubicBezTo>
                  <a:cubicBezTo>
                    <a:pt x="188" y="171"/>
                    <a:pt x="193" y="164"/>
                    <a:pt x="196" y="157"/>
                  </a:cubicBezTo>
                  <a:cubicBezTo>
                    <a:pt x="219" y="165"/>
                    <a:pt x="219" y="165"/>
                    <a:pt x="219" y="165"/>
                  </a:cubicBezTo>
                  <a:cubicBezTo>
                    <a:pt x="227" y="149"/>
                    <a:pt x="231" y="131"/>
                    <a:pt x="230" y="113"/>
                  </a:cubicBezTo>
                  <a:cubicBezTo>
                    <a:pt x="206" y="111"/>
                    <a:pt x="206" y="111"/>
                    <a:pt x="206" y="111"/>
                  </a:cubicBezTo>
                  <a:cubicBezTo>
                    <a:pt x="206" y="103"/>
                    <a:pt x="204" y="95"/>
                    <a:pt x="202" y="88"/>
                  </a:cubicBezTo>
                  <a:lnTo>
                    <a:pt x="224" y="77"/>
                  </a:lnTo>
                  <a:close/>
                  <a:moveTo>
                    <a:pt x="145" y="162"/>
                  </a:moveTo>
                  <a:cubicBezTo>
                    <a:pt x="120" y="179"/>
                    <a:pt x="85" y="171"/>
                    <a:pt x="69" y="146"/>
                  </a:cubicBezTo>
                  <a:cubicBezTo>
                    <a:pt x="52" y="120"/>
                    <a:pt x="60" y="86"/>
                    <a:pt x="85" y="69"/>
                  </a:cubicBezTo>
                  <a:cubicBezTo>
                    <a:pt x="111" y="52"/>
                    <a:pt x="145" y="60"/>
                    <a:pt x="162" y="86"/>
                  </a:cubicBezTo>
                  <a:cubicBezTo>
                    <a:pt x="179" y="111"/>
                    <a:pt x="171" y="146"/>
                    <a:pt x="145" y="162"/>
                  </a:cubicBezTo>
                  <a:close/>
                  <a:moveTo>
                    <a:pt x="137" y="150"/>
                  </a:moveTo>
                  <a:cubicBezTo>
                    <a:pt x="119" y="162"/>
                    <a:pt x="93" y="156"/>
                    <a:pt x="81" y="138"/>
                  </a:cubicBezTo>
                  <a:cubicBezTo>
                    <a:pt x="69" y="119"/>
                    <a:pt x="75" y="94"/>
                    <a:pt x="93" y="81"/>
                  </a:cubicBezTo>
                  <a:cubicBezTo>
                    <a:pt x="112" y="69"/>
                    <a:pt x="137" y="75"/>
                    <a:pt x="150" y="94"/>
                  </a:cubicBezTo>
                  <a:cubicBezTo>
                    <a:pt x="162" y="112"/>
                    <a:pt x="156" y="138"/>
                    <a:pt x="137" y="150"/>
                  </a:cubicBezTo>
                  <a:close/>
                </a:path>
              </a:pathLst>
            </a:custGeom>
            <a:solidFill>
              <a:srgbClr val="D9E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96" name="Freeform 74"/>
            <p:cNvSpPr>
              <a:spLocks noEditPoints="1"/>
            </p:cNvSpPr>
            <p:nvPr userDrawn="1"/>
          </p:nvSpPr>
          <p:spPr bwMode="auto">
            <a:xfrm>
              <a:off x="4694507" y="5173697"/>
              <a:ext cx="466823" cy="468484"/>
            </a:xfrm>
            <a:custGeom>
              <a:avLst/>
              <a:gdLst>
                <a:gd name="T0" fmla="*/ 179 w 180"/>
                <a:gd name="T1" fmla="*/ 102 h 181"/>
                <a:gd name="T2" fmla="*/ 179 w 180"/>
                <a:gd name="T3" fmla="*/ 81 h 181"/>
                <a:gd name="T4" fmla="*/ 175 w 180"/>
                <a:gd name="T5" fmla="*/ 60 h 181"/>
                <a:gd name="T6" fmla="*/ 156 w 180"/>
                <a:gd name="T7" fmla="*/ 65 h 181"/>
                <a:gd name="T8" fmla="*/ 147 w 180"/>
                <a:gd name="T9" fmla="*/ 48 h 181"/>
                <a:gd name="T10" fmla="*/ 161 w 180"/>
                <a:gd name="T11" fmla="*/ 35 h 181"/>
                <a:gd name="T12" fmla="*/ 129 w 180"/>
                <a:gd name="T13" fmla="*/ 9 h 181"/>
                <a:gd name="T14" fmla="*/ 119 w 180"/>
                <a:gd name="T15" fmla="*/ 26 h 181"/>
                <a:gd name="T16" fmla="*/ 101 w 180"/>
                <a:gd name="T17" fmla="*/ 20 h 181"/>
                <a:gd name="T18" fmla="*/ 101 w 180"/>
                <a:gd name="T19" fmla="*/ 1 h 181"/>
                <a:gd name="T20" fmla="*/ 80 w 180"/>
                <a:gd name="T21" fmla="*/ 1 h 181"/>
                <a:gd name="T22" fmla="*/ 60 w 180"/>
                <a:gd name="T23" fmla="*/ 6 h 181"/>
                <a:gd name="T24" fmla="*/ 65 w 180"/>
                <a:gd name="T25" fmla="*/ 24 h 181"/>
                <a:gd name="T26" fmla="*/ 48 w 180"/>
                <a:gd name="T27" fmla="*/ 33 h 181"/>
                <a:gd name="T28" fmla="*/ 35 w 180"/>
                <a:gd name="T29" fmla="*/ 19 h 181"/>
                <a:gd name="T30" fmla="*/ 9 w 180"/>
                <a:gd name="T31" fmla="*/ 52 h 181"/>
                <a:gd name="T32" fmla="*/ 25 w 180"/>
                <a:gd name="T33" fmla="*/ 61 h 181"/>
                <a:gd name="T34" fmla="*/ 20 w 180"/>
                <a:gd name="T35" fmla="*/ 80 h 181"/>
                <a:gd name="T36" fmla="*/ 1 w 180"/>
                <a:gd name="T37" fmla="*/ 79 h 181"/>
                <a:gd name="T38" fmla="*/ 0 w 180"/>
                <a:gd name="T39" fmla="*/ 100 h 181"/>
                <a:gd name="T40" fmla="*/ 5 w 180"/>
                <a:gd name="T41" fmla="*/ 120 h 181"/>
                <a:gd name="T42" fmla="*/ 24 w 180"/>
                <a:gd name="T43" fmla="*/ 116 h 181"/>
                <a:gd name="T44" fmla="*/ 33 w 180"/>
                <a:gd name="T45" fmla="*/ 132 h 181"/>
                <a:gd name="T46" fmla="*/ 19 w 180"/>
                <a:gd name="T47" fmla="*/ 145 h 181"/>
                <a:gd name="T48" fmla="*/ 51 w 180"/>
                <a:gd name="T49" fmla="*/ 172 h 181"/>
                <a:gd name="T50" fmla="*/ 61 w 180"/>
                <a:gd name="T51" fmla="*/ 155 h 181"/>
                <a:gd name="T52" fmla="*/ 79 w 180"/>
                <a:gd name="T53" fmla="*/ 160 h 181"/>
                <a:gd name="T54" fmla="*/ 78 w 180"/>
                <a:gd name="T55" fmla="*/ 180 h 181"/>
                <a:gd name="T56" fmla="*/ 99 w 180"/>
                <a:gd name="T57" fmla="*/ 180 h 181"/>
                <a:gd name="T58" fmla="*/ 120 w 180"/>
                <a:gd name="T59" fmla="*/ 175 h 181"/>
                <a:gd name="T60" fmla="*/ 115 w 180"/>
                <a:gd name="T61" fmla="*/ 157 h 181"/>
                <a:gd name="T62" fmla="*/ 132 w 180"/>
                <a:gd name="T63" fmla="*/ 148 h 181"/>
                <a:gd name="T64" fmla="*/ 145 w 180"/>
                <a:gd name="T65" fmla="*/ 162 h 181"/>
                <a:gd name="T66" fmla="*/ 171 w 180"/>
                <a:gd name="T67" fmla="*/ 129 h 181"/>
                <a:gd name="T68" fmla="*/ 155 w 180"/>
                <a:gd name="T69" fmla="*/ 119 h 181"/>
                <a:gd name="T70" fmla="*/ 160 w 180"/>
                <a:gd name="T71" fmla="*/ 101 h 181"/>
                <a:gd name="T72" fmla="*/ 179 w 180"/>
                <a:gd name="T73" fmla="*/ 102 h 181"/>
                <a:gd name="T74" fmla="*/ 94 w 180"/>
                <a:gd name="T75" fmla="*/ 133 h 181"/>
                <a:gd name="T76" fmla="*/ 47 w 180"/>
                <a:gd name="T77" fmla="*/ 95 h 181"/>
                <a:gd name="T78" fmla="*/ 85 w 180"/>
                <a:gd name="T79" fmla="*/ 47 h 181"/>
                <a:gd name="T80" fmla="*/ 133 w 180"/>
                <a:gd name="T81" fmla="*/ 86 h 181"/>
                <a:gd name="T82" fmla="*/ 94 w 180"/>
                <a:gd name="T83" fmla="*/ 133 h 181"/>
                <a:gd name="T84" fmla="*/ 93 w 180"/>
                <a:gd name="T85" fmla="*/ 122 h 181"/>
                <a:gd name="T86" fmla="*/ 58 w 180"/>
                <a:gd name="T87" fmla="*/ 94 h 181"/>
                <a:gd name="T88" fmla="*/ 87 w 180"/>
                <a:gd name="T89" fmla="*/ 59 h 181"/>
                <a:gd name="T90" fmla="*/ 121 w 180"/>
                <a:gd name="T91" fmla="*/ 87 h 181"/>
                <a:gd name="T92" fmla="*/ 93 w 180"/>
                <a:gd name="T93" fmla="*/ 12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0" h="181">
                  <a:moveTo>
                    <a:pt x="179" y="102"/>
                  </a:moveTo>
                  <a:cubicBezTo>
                    <a:pt x="180" y="95"/>
                    <a:pt x="180" y="88"/>
                    <a:pt x="179" y="81"/>
                  </a:cubicBezTo>
                  <a:cubicBezTo>
                    <a:pt x="179" y="74"/>
                    <a:pt x="177" y="67"/>
                    <a:pt x="175" y="60"/>
                  </a:cubicBezTo>
                  <a:cubicBezTo>
                    <a:pt x="156" y="65"/>
                    <a:pt x="156" y="65"/>
                    <a:pt x="156" y="65"/>
                  </a:cubicBezTo>
                  <a:cubicBezTo>
                    <a:pt x="154" y="59"/>
                    <a:pt x="151" y="54"/>
                    <a:pt x="147" y="48"/>
                  </a:cubicBezTo>
                  <a:cubicBezTo>
                    <a:pt x="161" y="35"/>
                    <a:pt x="161" y="35"/>
                    <a:pt x="161" y="35"/>
                  </a:cubicBezTo>
                  <a:cubicBezTo>
                    <a:pt x="152" y="24"/>
                    <a:pt x="141" y="15"/>
                    <a:pt x="129" y="9"/>
                  </a:cubicBezTo>
                  <a:cubicBezTo>
                    <a:pt x="119" y="26"/>
                    <a:pt x="119" y="26"/>
                    <a:pt x="119" y="26"/>
                  </a:cubicBezTo>
                  <a:cubicBezTo>
                    <a:pt x="113" y="23"/>
                    <a:pt x="107" y="21"/>
                    <a:pt x="101" y="20"/>
                  </a:cubicBezTo>
                  <a:cubicBezTo>
                    <a:pt x="101" y="1"/>
                    <a:pt x="101" y="1"/>
                    <a:pt x="101" y="1"/>
                  </a:cubicBezTo>
                  <a:cubicBezTo>
                    <a:pt x="95" y="0"/>
                    <a:pt x="88" y="0"/>
                    <a:pt x="80" y="1"/>
                  </a:cubicBezTo>
                  <a:cubicBezTo>
                    <a:pt x="73" y="2"/>
                    <a:pt x="66" y="3"/>
                    <a:pt x="60" y="6"/>
                  </a:cubicBezTo>
                  <a:cubicBezTo>
                    <a:pt x="65" y="24"/>
                    <a:pt x="65" y="24"/>
                    <a:pt x="65" y="24"/>
                  </a:cubicBezTo>
                  <a:cubicBezTo>
                    <a:pt x="59" y="26"/>
                    <a:pt x="53" y="30"/>
                    <a:pt x="48" y="33"/>
                  </a:cubicBezTo>
                  <a:cubicBezTo>
                    <a:pt x="35" y="19"/>
                    <a:pt x="35" y="19"/>
                    <a:pt x="35" y="19"/>
                  </a:cubicBezTo>
                  <a:cubicBezTo>
                    <a:pt x="24" y="28"/>
                    <a:pt x="15" y="39"/>
                    <a:pt x="9" y="52"/>
                  </a:cubicBezTo>
                  <a:cubicBezTo>
                    <a:pt x="25" y="61"/>
                    <a:pt x="25" y="61"/>
                    <a:pt x="25" y="61"/>
                  </a:cubicBezTo>
                  <a:cubicBezTo>
                    <a:pt x="23" y="67"/>
                    <a:pt x="21" y="73"/>
                    <a:pt x="20" y="80"/>
                  </a:cubicBezTo>
                  <a:cubicBezTo>
                    <a:pt x="1" y="79"/>
                    <a:pt x="1" y="79"/>
                    <a:pt x="1" y="79"/>
                  </a:cubicBezTo>
                  <a:cubicBezTo>
                    <a:pt x="0" y="86"/>
                    <a:pt x="0" y="93"/>
                    <a:pt x="0" y="100"/>
                  </a:cubicBezTo>
                  <a:cubicBezTo>
                    <a:pt x="1" y="107"/>
                    <a:pt x="3" y="114"/>
                    <a:pt x="5" y="120"/>
                  </a:cubicBezTo>
                  <a:cubicBezTo>
                    <a:pt x="24" y="116"/>
                    <a:pt x="24" y="116"/>
                    <a:pt x="24" y="116"/>
                  </a:cubicBezTo>
                  <a:cubicBezTo>
                    <a:pt x="26" y="122"/>
                    <a:pt x="29" y="127"/>
                    <a:pt x="33" y="132"/>
                  </a:cubicBezTo>
                  <a:cubicBezTo>
                    <a:pt x="19" y="145"/>
                    <a:pt x="19" y="145"/>
                    <a:pt x="19" y="145"/>
                  </a:cubicBezTo>
                  <a:cubicBezTo>
                    <a:pt x="27" y="156"/>
                    <a:pt x="38" y="165"/>
                    <a:pt x="51" y="172"/>
                  </a:cubicBezTo>
                  <a:cubicBezTo>
                    <a:pt x="61" y="155"/>
                    <a:pt x="61" y="155"/>
                    <a:pt x="61" y="155"/>
                  </a:cubicBezTo>
                  <a:cubicBezTo>
                    <a:pt x="67" y="158"/>
                    <a:pt x="73" y="159"/>
                    <a:pt x="79" y="160"/>
                  </a:cubicBezTo>
                  <a:cubicBezTo>
                    <a:pt x="78" y="180"/>
                    <a:pt x="78" y="180"/>
                    <a:pt x="78" y="180"/>
                  </a:cubicBezTo>
                  <a:cubicBezTo>
                    <a:pt x="85" y="180"/>
                    <a:pt x="92" y="181"/>
                    <a:pt x="99" y="180"/>
                  </a:cubicBezTo>
                  <a:cubicBezTo>
                    <a:pt x="107" y="179"/>
                    <a:pt x="113" y="177"/>
                    <a:pt x="120" y="175"/>
                  </a:cubicBezTo>
                  <a:cubicBezTo>
                    <a:pt x="115" y="157"/>
                    <a:pt x="115" y="157"/>
                    <a:pt x="115" y="157"/>
                  </a:cubicBezTo>
                  <a:cubicBezTo>
                    <a:pt x="121" y="154"/>
                    <a:pt x="127" y="151"/>
                    <a:pt x="132" y="148"/>
                  </a:cubicBezTo>
                  <a:cubicBezTo>
                    <a:pt x="145" y="162"/>
                    <a:pt x="145" y="162"/>
                    <a:pt x="145" y="162"/>
                  </a:cubicBezTo>
                  <a:cubicBezTo>
                    <a:pt x="156" y="153"/>
                    <a:pt x="165" y="142"/>
                    <a:pt x="171" y="129"/>
                  </a:cubicBezTo>
                  <a:cubicBezTo>
                    <a:pt x="155" y="119"/>
                    <a:pt x="155" y="119"/>
                    <a:pt x="155" y="119"/>
                  </a:cubicBezTo>
                  <a:cubicBezTo>
                    <a:pt x="157" y="114"/>
                    <a:pt x="159" y="108"/>
                    <a:pt x="160" y="101"/>
                  </a:cubicBezTo>
                  <a:lnTo>
                    <a:pt x="179" y="102"/>
                  </a:lnTo>
                  <a:close/>
                  <a:moveTo>
                    <a:pt x="94" y="133"/>
                  </a:moveTo>
                  <a:cubicBezTo>
                    <a:pt x="71" y="136"/>
                    <a:pt x="49" y="119"/>
                    <a:pt x="47" y="95"/>
                  </a:cubicBezTo>
                  <a:cubicBezTo>
                    <a:pt x="44" y="71"/>
                    <a:pt x="62" y="50"/>
                    <a:pt x="85" y="47"/>
                  </a:cubicBezTo>
                  <a:cubicBezTo>
                    <a:pt x="109" y="45"/>
                    <a:pt x="130" y="62"/>
                    <a:pt x="133" y="86"/>
                  </a:cubicBezTo>
                  <a:cubicBezTo>
                    <a:pt x="136" y="110"/>
                    <a:pt x="118" y="131"/>
                    <a:pt x="94" y="133"/>
                  </a:cubicBezTo>
                  <a:close/>
                  <a:moveTo>
                    <a:pt x="93" y="122"/>
                  </a:moveTo>
                  <a:cubicBezTo>
                    <a:pt x="76" y="124"/>
                    <a:pt x="60" y="111"/>
                    <a:pt x="58" y="94"/>
                  </a:cubicBezTo>
                  <a:cubicBezTo>
                    <a:pt x="56" y="76"/>
                    <a:pt x="69" y="61"/>
                    <a:pt x="87" y="59"/>
                  </a:cubicBezTo>
                  <a:cubicBezTo>
                    <a:pt x="104" y="57"/>
                    <a:pt x="120" y="70"/>
                    <a:pt x="121" y="87"/>
                  </a:cubicBezTo>
                  <a:cubicBezTo>
                    <a:pt x="123" y="104"/>
                    <a:pt x="111" y="120"/>
                    <a:pt x="93" y="122"/>
                  </a:cubicBezTo>
                  <a:close/>
                </a:path>
              </a:pathLst>
            </a:custGeom>
            <a:solidFill>
              <a:srgbClr val="D9E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97" name="Freeform 75"/>
            <p:cNvSpPr/>
            <p:nvPr userDrawn="1"/>
          </p:nvSpPr>
          <p:spPr bwMode="auto">
            <a:xfrm>
              <a:off x="3149507" y="5079004"/>
              <a:ext cx="1503468" cy="727645"/>
            </a:xfrm>
            <a:custGeom>
              <a:avLst/>
              <a:gdLst>
                <a:gd name="T0" fmla="*/ 510 w 579"/>
                <a:gd name="T1" fmla="*/ 0 h 280"/>
                <a:gd name="T2" fmla="*/ 69 w 579"/>
                <a:gd name="T3" fmla="*/ 0 h 280"/>
                <a:gd name="T4" fmla="*/ 0 w 579"/>
                <a:gd name="T5" fmla="*/ 280 h 280"/>
                <a:gd name="T6" fmla="*/ 579 w 579"/>
                <a:gd name="T7" fmla="*/ 280 h 280"/>
                <a:gd name="T8" fmla="*/ 510 w 579"/>
                <a:gd name="T9" fmla="*/ 0 h 280"/>
              </a:gdLst>
              <a:ahLst/>
              <a:cxnLst>
                <a:cxn ang="0">
                  <a:pos x="T0" y="T1"/>
                </a:cxn>
                <a:cxn ang="0">
                  <a:pos x="T2" y="T3"/>
                </a:cxn>
                <a:cxn ang="0">
                  <a:pos x="T4" y="T5"/>
                </a:cxn>
                <a:cxn ang="0">
                  <a:pos x="T6" y="T7"/>
                </a:cxn>
                <a:cxn ang="0">
                  <a:pos x="T8" y="T9"/>
                </a:cxn>
              </a:cxnLst>
              <a:rect l="0" t="0" r="r" b="b"/>
              <a:pathLst>
                <a:path w="579" h="280">
                  <a:moveTo>
                    <a:pt x="510" y="0"/>
                  </a:moveTo>
                  <a:cubicBezTo>
                    <a:pt x="69" y="0"/>
                    <a:pt x="69" y="0"/>
                    <a:pt x="69" y="0"/>
                  </a:cubicBezTo>
                  <a:cubicBezTo>
                    <a:pt x="69" y="0"/>
                    <a:pt x="88" y="280"/>
                    <a:pt x="0" y="280"/>
                  </a:cubicBezTo>
                  <a:cubicBezTo>
                    <a:pt x="28" y="280"/>
                    <a:pt x="551" y="280"/>
                    <a:pt x="579" y="280"/>
                  </a:cubicBezTo>
                  <a:cubicBezTo>
                    <a:pt x="492" y="280"/>
                    <a:pt x="510" y="0"/>
                    <a:pt x="510" y="0"/>
                  </a:cubicBezTo>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99" name="Freeform 77"/>
            <p:cNvSpPr/>
            <p:nvPr userDrawn="1"/>
          </p:nvSpPr>
          <p:spPr bwMode="auto">
            <a:xfrm>
              <a:off x="3315636" y="5298294"/>
              <a:ext cx="1079839" cy="217630"/>
            </a:xfrm>
            <a:custGeom>
              <a:avLst/>
              <a:gdLst>
                <a:gd name="T0" fmla="*/ 416 w 416"/>
                <a:gd name="T1" fmla="*/ 0 h 84"/>
                <a:gd name="T2" fmla="*/ 7 w 416"/>
                <a:gd name="T3" fmla="*/ 0 h 84"/>
                <a:gd name="T4" fmla="*/ 0 w 416"/>
                <a:gd name="T5" fmla="*/ 84 h 84"/>
                <a:gd name="T6" fmla="*/ 416 w 416"/>
                <a:gd name="T7" fmla="*/ 0 h 84"/>
              </a:gdLst>
              <a:ahLst/>
              <a:cxnLst>
                <a:cxn ang="0">
                  <a:pos x="T0" y="T1"/>
                </a:cxn>
                <a:cxn ang="0">
                  <a:pos x="T2" y="T3"/>
                </a:cxn>
                <a:cxn ang="0">
                  <a:pos x="T4" y="T5"/>
                </a:cxn>
                <a:cxn ang="0">
                  <a:pos x="T6" y="T7"/>
                </a:cxn>
              </a:cxnLst>
              <a:rect l="0" t="0" r="r" b="b"/>
              <a:pathLst>
                <a:path w="416" h="84">
                  <a:moveTo>
                    <a:pt x="416" y="0"/>
                  </a:moveTo>
                  <a:cubicBezTo>
                    <a:pt x="7" y="0"/>
                    <a:pt x="7" y="0"/>
                    <a:pt x="7" y="0"/>
                  </a:cubicBezTo>
                  <a:cubicBezTo>
                    <a:pt x="6" y="27"/>
                    <a:pt x="4" y="56"/>
                    <a:pt x="0" y="84"/>
                  </a:cubicBezTo>
                  <a:cubicBezTo>
                    <a:pt x="416" y="0"/>
                    <a:pt x="416" y="0"/>
                    <a:pt x="416" y="0"/>
                  </a:cubicBezTo>
                </a:path>
              </a:pathLst>
            </a:custGeom>
            <a:solidFill>
              <a:srgbClr val="6DA3F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0" name="Freeform 78"/>
            <p:cNvSpPr/>
            <p:nvPr userDrawn="1"/>
          </p:nvSpPr>
          <p:spPr bwMode="auto">
            <a:xfrm>
              <a:off x="1606168" y="2286375"/>
              <a:ext cx="4590145" cy="3011919"/>
            </a:xfrm>
            <a:custGeom>
              <a:avLst/>
              <a:gdLst>
                <a:gd name="T0" fmla="*/ 1709 w 1769"/>
                <a:gd name="T1" fmla="*/ 1161 h 1161"/>
                <a:gd name="T2" fmla="*/ 60 w 1769"/>
                <a:gd name="T3" fmla="*/ 1161 h 1161"/>
                <a:gd name="T4" fmla="*/ 0 w 1769"/>
                <a:gd name="T5" fmla="*/ 1101 h 1161"/>
                <a:gd name="T6" fmla="*/ 0 w 1769"/>
                <a:gd name="T7" fmla="*/ 61 h 1161"/>
                <a:gd name="T8" fmla="*/ 60 w 1769"/>
                <a:gd name="T9" fmla="*/ 0 h 1161"/>
                <a:gd name="T10" fmla="*/ 1709 w 1769"/>
                <a:gd name="T11" fmla="*/ 0 h 1161"/>
                <a:gd name="T12" fmla="*/ 1769 w 1769"/>
                <a:gd name="T13" fmla="*/ 61 h 1161"/>
                <a:gd name="T14" fmla="*/ 1769 w 1769"/>
                <a:gd name="T15" fmla="*/ 1101 h 1161"/>
                <a:gd name="T16" fmla="*/ 1709 w 1769"/>
                <a:gd name="T17" fmla="*/ 1161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9" h="1161">
                  <a:moveTo>
                    <a:pt x="1709" y="1161"/>
                  </a:moveTo>
                  <a:cubicBezTo>
                    <a:pt x="60" y="1161"/>
                    <a:pt x="60" y="1161"/>
                    <a:pt x="60" y="1161"/>
                  </a:cubicBezTo>
                  <a:cubicBezTo>
                    <a:pt x="27" y="1161"/>
                    <a:pt x="0" y="1134"/>
                    <a:pt x="0" y="1101"/>
                  </a:cubicBezTo>
                  <a:cubicBezTo>
                    <a:pt x="0" y="61"/>
                    <a:pt x="0" y="61"/>
                    <a:pt x="0" y="61"/>
                  </a:cubicBezTo>
                  <a:cubicBezTo>
                    <a:pt x="0" y="27"/>
                    <a:pt x="27" y="0"/>
                    <a:pt x="60" y="0"/>
                  </a:cubicBezTo>
                  <a:cubicBezTo>
                    <a:pt x="1709" y="0"/>
                    <a:pt x="1709" y="0"/>
                    <a:pt x="1709" y="0"/>
                  </a:cubicBezTo>
                  <a:cubicBezTo>
                    <a:pt x="1742" y="0"/>
                    <a:pt x="1769" y="27"/>
                    <a:pt x="1769" y="61"/>
                  </a:cubicBezTo>
                  <a:cubicBezTo>
                    <a:pt x="1769" y="1101"/>
                    <a:pt x="1769" y="1101"/>
                    <a:pt x="1769" y="1101"/>
                  </a:cubicBezTo>
                  <a:cubicBezTo>
                    <a:pt x="1769" y="1134"/>
                    <a:pt x="1742" y="1161"/>
                    <a:pt x="1709" y="1161"/>
                  </a:cubicBezTo>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1" name="Freeform 79"/>
            <p:cNvSpPr/>
            <p:nvPr userDrawn="1"/>
          </p:nvSpPr>
          <p:spPr bwMode="auto">
            <a:xfrm>
              <a:off x="1735749" y="2396020"/>
              <a:ext cx="4334307" cy="2795952"/>
            </a:xfrm>
            <a:custGeom>
              <a:avLst/>
              <a:gdLst>
                <a:gd name="T0" fmla="*/ 1643 w 1670"/>
                <a:gd name="T1" fmla="*/ 1078 h 1078"/>
                <a:gd name="T2" fmla="*/ 27 w 1670"/>
                <a:gd name="T3" fmla="*/ 1078 h 1078"/>
                <a:gd name="T4" fmla="*/ 0 w 1670"/>
                <a:gd name="T5" fmla="*/ 1051 h 1078"/>
                <a:gd name="T6" fmla="*/ 0 w 1670"/>
                <a:gd name="T7" fmla="*/ 26 h 1078"/>
                <a:gd name="T8" fmla="*/ 27 w 1670"/>
                <a:gd name="T9" fmla="*/ 0 h 1078"/>
                <a:gd name="T10" fmla="*/ 1643 w 1670"/>
                <a:gd name="T11" fmla="*/ 0 h 1078"/>
                <a:gd name="T12" fmla="*/ 1670 w 1670"/>
                <a:gd name="T13" fmla="*/ 26 h 1078"/>
                <a:gd name="T14" fmla="*/ 1670 w 1670"/>
                <a:gd name="T15" fmla="*/ 1051 h 1078"/>
                <a:gd name="T16" fmla="*/ 1643 w 1670"/>
                <a:gd name="T17" fmla="*/ 1078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0" h="1078">
                  <a:moveTo>
                    <a:pt x="1643" y="1078"/>
                  </a:moveTo>
                  <a:cubicBezTo>
                    <a:pt x="27" y="1078"/>
                    <a:pt x="27" y="1078"/>
                    <a:pt x="27" y="1078"/>
                  </a:cubicBezTo>
                  <a:cubicBezTo>
                    <a:pt x="12" y="1078"/>
                    <a:pt x="0" y="1066"/>
                    <a:pt x="0" y="1051"/>
                  </a:cubicBezTo>
                  <a:cubicBezTo>
                    <a:pt x="0" y="26"/>
                    <a:pt x="0" y="26"/>
                    <a:pt x="0" y="26"/>
                  </a:cubicBezTo>
                  <a:cubicBezTo>
                    <a:pt x="0" y="11"/>
                    <a:pt x="12" y="0"/>
                    <a:pt x="27" y="0"/>
                  </a:cubicBezTo>
                  <a:cubicBezTo>
                    <a:pt x="1643" y="0"/>
                    <a:pt x="1643" y="0"/>
                    <a:pt x="1643" y="0"/>
                  </a:cubicBezTo>
                  <a:cubicBezTo>
                    <a:pt x="1658" y="0"/>
                    <a:pt x="1670" y="11"/>
                    <a:pt x="1670" y="26"/>
                  </a:cubicBezTo>
                  <a:cubicBezTo>
                    <a:pt x="1670" y="1051"/>
                    <a:pt x="1670" y="1051"/>
                    <a:pt x="1670" y="1051"/>
                  </a:cubicBezTo>
                  <a:cubicBezTo>
                    <a:pt x="1670" y="1066"/>
                    <a:pt x="1658" y="1078"/>
                    <a:pt x="1643" y="1078"/>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2" name="Freeform 80"/>
            <p:cNvSpPr/>
            <p:nvPr userDrawn="1"/>
          </p:nvSpPr>
          <p:spPr bwMode="auto">
            <a:xfrm>
              <a:off x="1730766" y="2391037"/>
              <a:ext cx="4344274" cy="2805919"/>
            </a:xfrm>
            <a:custGeom>
              <a:avLst/>
              <a:gdLst>
                <a:gd name="T0" fmla="*/ 1645 w 1674"/>
                <a:gd name="T1" fmla="*/ 1080 h 1082"/>
                <a:gd name="T2" fmla="*/ 1645 w 1674"/>
                <a:gd name="T3" fmla="*/ 1078 h 1082"/>
                <a:gd name="T4" fmla="*/ 29 w 1674"/>
                <a:gd name="T5" fmla="*/ 1078 h 1082"/>
                <a:gd name="T6" fmla="*/ 11 w 1674"/>
                <a:gd name="T7" fmla="*/ 1071 h 1082"/>
                <a:gd name="T8" fmla="*/ 4 w 1674"/>
                <a:gd name="T9" fmla="*/ 1053 h 1082"/>
                <a:gd name="T10" fmla="*/ 4 w 1674"/>
                <a:gd name="T11" fmla="*/ 28 h 1082"/>
                <a:gd name="T12" fmla="*/ 11 w 1674"/>
                <a:gd name="T13" fmla="*/ 11 h 1082"/>
                <a:gd name="T14" fmla="*/ 29 w 1674"/>
                <a:gd name="T15" fmla="*/ 4 h 1082"/>
                <a:gd name="T16" fmla="*/ 1645 w 1674"/>
                <a:gd name="T17" fmla="*/ 4 h 1082"/>
                <a:gd name="T18" fmla="*/ 1662 w 1674"/>
                <a:gd name="T19" fmla="*/ 11 h 1082"/>
                <a:gd name="T20" fmla="*/ 1670 w 1674"/>
                <a:gd name="T21" fmla="*/ 28 h 1082"/>
                <a:gd name="T22" fmla="*/ 1670 w 1674"/>
                <a:gd name="T23" fmla="*/ 1053 h 1082"/>
                <a:gd name="T24" fmla="*/ 1662 w 1674"/>
                <a:gd name="T25" fmla="*/ 1071 h 1082"/>
                <a:gd name="T26" fmla="*/ 1645 w 1674"/>
                <a:gd name="T27" fmla="*/ 1078 h 1082"/>
                <a:gd name="T28" fmla="*/ 1645 w 1674"/>
                <a:gd name="T29" fmla="*/ 1080 h 1082"/>
                <a:gd name="T30" fmla="*/ 1645 w 1674"/>
                <a:gd name="T31" fmla="*/ 1082 h 1082"/>
                <a:gd name="T32" fmla="*/ 1674 w 1674"/>
                <a:gd name="T33" fmla="*/ 1053 h 1082"/>
                <a:gd name="T34" fmla="*/ 1674 w 1674"/>
                <a:gd name="T35" fmla="*/ 28 h 1082"/>
                <a:gd name="T36" fmla="*/ 1645 w 1674"/>
                <a:gd name="T37" fmla="*/ 0 h 1082"/>
                <a:gd name="T38" fmla="*/ 29 w 1674"/>
                <a:gd name="T39" fmla="*/ 0 h 1082"/>
                <a:gd name="T40" fmla="*/ 0 w 1674"/>
                <a:gd name="T41" fmla="*/ 28 h 1082"/>
                <a:gd name="T42" fmla="*/ 0 w 1674"/>
                <a:gd name="T43" fmla="*/ 1053 h 1082"/>
                <a:gd name="T44" fmla="*/ 29 w 1674"/>
                <a:gd name="T45" fmla="*/ 1082 h 1082"/>
                <a:gd name="T46" fmla="*/ 1645 w 1674"/>
                <a:gd name="T47" fmla="*/ 1082 h 1082"/>
                <a:gd name="T48" fmla="*/ 1645 w 1674"/>
                <a:gd name="T49" fmla="*/ 1080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4" h="1082">
                  <a:moveTo>
                    <a:pt x="1645" y="1080"/>
                  </a:moveTo>
                  <a:cubicBezTo>
                    <a:pt x="1645" y="1078"/>
                    <a:pt x="1645" y="1078"/>
                    <a:pt x="1645" y="1078"/>
                  </a:cubicBezTo>
                  <a:cubicBezTo>
                    <a:pt x="29" y="1078"/>
                    <a:pt x="29" y="1078"/>
                    <a:pt x="29" y="1078"/>
                  </a:cubicBezTo>
                  <a:cubicBezTo>
                    <a:pt x="22" y="1078"/>
                    <a:pt x="16" y="1075"/>
                    <a:pt x="11" y="1071"/>
                  </a:cubicBezTo>
                  <a:cubicBezTo>
                    <a:pt x="7" y="1066"/>
                    <a:pt x="4" y="1060"/>
                    <a:pt x="4" y="1053"/>
                  </a:cubicBezTo>
                  <a:cubicBezTo>
                    <a:pt x="4" y="28"/>
                    <a:pt x="4" y="28"/>
                    <a:pt x="4" y="28"/>
                  </a:cubicBezTo>
                  <a:cubicBezTo>
                    <a:pt x="4" y="21"/>
                    <a:pt x="7" y="15"/>
                    <a:pt x="11" y="11"/>
                  </a:cubicBezTo>
                  <a:cubicBezTo>
                    <a:pt x="16" y="6"/>
                    <a:pt x="22" y="4"/>
                    <a:pt x="29" y="4"/>
                  </a:cubicBezTo>
                  <a:cubicBezTo>
                    <a:pt x="1645" y="4"/>
                    <a:pt x="1645" y="4"/>
                    <a:pt x="1645" y="4"/>
                  </a:cubicBezTo>
                  <a:cubicBezTo>
                    <a:pt x="1652" y="4"/>
                    <a:pt x="1658" y="6"/>
                    <a:pt x="1662" y="11"/>
                  </a:cubicBezTo>
                  <a:cubicBezTo>
                    <a:pt x="1667" y="15"/>
                    <a:pt x="1670" y="21"/>
                    <a:pt x="1670" y="28"/>
                  </a:cubicBezTo>
                  <a:cubicBezTo>
                    <a:pt x="1670" y="1053"/>
                    <a:pt x="1670" y="1053"/>
                    <a:pt x="1670" y="1053"/>
                  </a:cubicBezTo>
                  <a:cubicBezTo>
                    <a:pt x="1670" y="1060"/>
                    <a:pt x="1667" y="1066"/>
                    <a:pt x="1662" y="1071"/>
                  </a:cubicBezTo>
                  <a:cubicBezTo>
                    <a:pt x="1658" y="1075"/>
                    <a:pt x="1652" y="1078"/>
                    <a:pt x="1645" y="1078"/>
                  </a:cubicBezTo>
                  <a:cubicBezTo>
                    <a:pt x="1645" y="1080"/>
                    <a:pt x="1645" y="1080"/>
                    <a:pt x="1645" y="1080"/>
                  </a:cubicBezTo>
                  <a:cubicBezTo>
                    <a:pt x="1645" y="1082"/>
                    <a:pt x="1645" y="1082"/>
                    <a:pt x="1645" y="1082"/>
                  </a:cubicBezTo>
                  <a:cubicBezTo>
                    <a:pt x="1661" y="1082"/>
                    <a:pt x="1674" y="1069"/>
                    <a:pt x="1674" y="1053"/>
                  </a:cubicBezTo>
                  <a:cubicBezTo>
                    <a:pt x="1674" y="28"/>
                    <a:pt x="1674" y="28"/>
                    <a:pt x="1674" y="28"/>
                  </a:cubicBezTo>
                  <a:cubicBezTo>
                    <a:pt x="1674" y="12"/>
                    <a:pt x="1661" y="0"/>
                    <a:pt x="1645" y="0"/>
                  </a:cubicBezTo>
                  <a:cubicBezTo>
                    <a:pt x="29" y="0"/>
                    <a:pt x="29" y="0"/>
                    <a:pt x="29" y="0"/>
                  </a:cubicBezTo>
                  <a:cubicBezTo>
                    <a:pt x="13" y="0"/>
                    <a:pt x="0" y="12"/>
                    <a:pt x="0" y="28"/>
                  </a:cubicBezTo>
                  <a:cubicBezTo>
                    <a:pt x="0" y="1053"/>
                    <a:pt x="0" y="1053"/>
                    <a:pt x="0" y="1053"/>
                  </a:cubicBezTo>
                  <a:cubicBezTo>
                    <a:pt x="0" y="1069"/>
                    <a:pt x="13" y="1082"/>
                    <a:pt x="29" y="1082"/>
                  </a:cubicBezTo>
                  <a:cubicBezTo>
                    <a:pt x="1645" y="1082"/>
                    <a:pt x="1645" y="1082"/>
                    <a:pt x="1645" y="1082"/>
                  </a:cubicBezTo>
                  <a:cubicBezTo>
                    <a:pt x="1645" y="1080"/>
                    <a:pt x="1645" y="1080"/>
                    <a:pt x="1645" y="1080"/>
                  </a:cubicBezTo>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3" name="Freeform 81"/>
            <p:cNvSpPr>
              <a:spLocks noEditPoints="1"/>
            </p:cNvSpPr>
            <p:nvPr userDrawn="1"/>
          </p:nvSpPr>
          <p:spPr bwMode="auto">
            <a:xfrm>
              <a:off x="1984942" y="3088778"/>
              <a:ext cx="505032" cy="694419"/>
            </a:xfrm>
            <a:custGeom>
              <a:avLst/>
              <a:gdLst>
                <a:gd name="T0" fmla="*/ 195 w 195"/>
                <a:gd name="T1" fmla="*/ 264 h 268"/>
                <a:gd name="T2" fmla="*/ 37 w 195"/>
                <a:gd name="T3" fmla="*/ 264 h 268"/>
                <a:gd name="T4" fmla="*/ 37 w 195"/>
                <a:gd name="T5" fmla="*/ 268 h 268"/>
                <a:gd name="T6" fmla="*/ 195 w 195"/>
                <a:gd name="T7" fmla="*/ 268 h 268"/>
                <a:gd name="T8" fmla="*/ 195 w 195"/>
                <a:gd name="T9" fmla="*/ 264 h 268"/>
                <a:gd name="T10" fmla="*/ 195 w 195"/>
                <a:gd name="T11" fmla="*/ 0 h 268"/>
                <a:gd name="T12" fmla="*/ 27 w 195"/>
                <a:gd name="T13" fmla="*/ 0 h 268"/>
                <a:gd name="T14" fmla="*/ 0 w 195"/>
                <a:gd name="T15" fmla="*/ 27 h 268"/>
                <a:gd name="T16" fmla="*/ 0 w 195"/>
                <a:gd name="T17" fmla="*/ 241 h 268"/>
                <a:gd name="T18" fmla="*/ 2 w 195"/>
                <a:gd name="T19" fmla="*/ 252 h 268"/>
                <a:gd name="T20" fmla="*/ 6 w 195"/>
                <a:gd name="T21" fmla="*/ 251 h 268"/>
                <a:gd name="T22" fmla="*/ 4 w 195"/>
                <a:gd name="T23" fmla="*/ 241 h 268"/>
                <a:gd name="T24" fmla="*/ 4 w 195"/>
                <a:gd name="T25" fmla="*/ 27 h 268"/>
                <a:gd name="T26" fmla="*/ 11 w 195"/>
                <a:gd name="T27" fmla="*/ 11 h 268"/>
                <a:gd name="T28" fmla="*/ 27 w 195"/>
                <a:gd name="T29" fmla="*/ 4 h 268"/>
                <a:gd name="T30" fmla="*/ 195 w 195"/>
                <a:gd name="T31" fmla="*/ 4 h 268"/>
                <a:gd name="T32" fmla="*/ 195 w 195"/>
                <a:gd name="T3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268">
                  <a:moveTo>
                    <a:pt x="195" y="264"/>
                  </a:moveTo>
                  <a:cubicBezTo>
                    <a:pt x="37" y="264"/>
                    <a:pt x="37" y="264"/>
                    <a:pt x="37" y="264"/>
                  </a:cubicBezTo>
                  <a:cubicBezTo>
                    <a:pt x="37" y="266"/>
                    <a:pt x="37" y="267"/>
                    <a:pt x="37" y="268"/>
                  </a:cubicBezTo>
                  <a:cubicBezTo>
                    <a:pt x="195" y="268"/>
                    <a:pt x="195" y="268"/>
                    <a:pt x="195" y="268"/>
                  </a:cubicBezTo>
                  <a:cubicBezTo>
                    <a:pt x="195" y="264"/>
                    <a:pt x="195" y="264"/>
                    <a:pt x="195" y="264"/>
                  </a:cubicBezTo>
                  <a:moveTo>
                    <a:pt x="195" y="0"/>
                  </a:moveTo>
                  <a:cubicBezTo>
                    <a:pt x="27" y="0"/>
                    <a:pt x="27" y="0"/>
                    <a:pt x="27" y="0"/>
                  </a:cubicBezTo>
                  <a:cubicBezTo>
                    <a:pt x="12" y="0"/>
                    <a:pt x="0" y="12"/>
                    <a:pt x="0" y="27"/>
                  </a:cubicBezTo>
                  <a:cubicBezTo>
                    <a:pt x="0" y="241"/>
                    <a:pt x="0" y="241"/>
                    <a:pt x="0" y="241"/>
                  </a:cubicBezTo>
                  <a:cubicBezTo>
                    <a:pt x="0" y="245"/>
                    <a:pt x="1" y="249"/>
                    <a:pt x="2" y="252"/>
                  </a:cubicBezTo>
                  <a:cubicBezTo>
                    <a:pt x="6" y="251"/>
                    <a:pt x="6" y="251"/>
                    <a:pt x="6" y="251"/>
                  </a:cubicBezTo>
                  <a:cubicBezTo>
                    <a:pt x="5" y="248"/>
                    <a:pt x="4" y="245"/>
                    <a:pt x="4" y="241"/>
                  </a:cubicBezTo>
                  <a:cubicBezTo>
                    <a:pt x="4" y="27"/>
                    <a:pt x="4" y="27"/>
                    <a:pt x="4" y="27"/>
                  </a:cubicBezTo>
                  <a:cubicBezTo>
                    <a:pt x="4" y="21"/>
                    <a:pt x="6" y="15"/>
                    <a:pt x="11" y="11"/>
                  </a:cubicBezTo>
                  <a:cubicBezTo>
                    <a:pt x="15" y="7"/>
                    <a:pt x="21" y="4"/>
                    <a:pt x="27" y="4"/>
                  </a:cubicBezTo>
                  <a:cubicBezTo>
                    <a:pt x="195" y="4"/>
                    <a:pt x="195" y="4"/>
                    <a:pt x="195" y="4"/>
                  </a:cubicBezTo>
                  <a:cubicBezTo>
                    <a:pt x="195" y="0"/>
                    <a:pt x="195" y="0"/>
                    <a:pt x="195"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4" name="Freeform 82"/>
            <p:cNvSpPr>
              <a:spLocks noEditPoints="1"/>
            </p:cNvSpPr>
            <p:nvPr userDrawn="1"/>
          </p:nvSpPr>
          <p:spPr bwMode="auto">
            <a:xfrm>
              <a:off x="2101233" y="3284811"/>
              <a:ext cx="340565" cy="330597"/>
            </a:xfrm>
            <a:custGeom>
              <a:avLst/>
              <a:gdLst>
                <a:gd name="T0" fmla="*/ 5 w 131"/>
                <a:gd name="T1" fmla="*/ 123 h 127"/>
                <a:gd name="T2" fmla="*/ 65 w 131"/>
                <a:gd name="T3" fmla="*/ 6 h 127"/>
                <a:gd name="T4" fmla="*/ 126 w 131"/>
                <a:gd name="T5" fmla="*/ 123 h 127"/>
                <a:gd name="T6" fmla="*/ 5 w 131"/>
                <a:gd name="T7" fmla="*/ 123 h 127"/>
                <a:gd name="T8" fmla="*/ 64 w 131"/>
                <a:gd name="T9" fmla="*/ 3 h 127"/>
                <a:gd name="T10" fmla="*/ 65 w 131"/>
                <a:gd name="T11" fmla="*/ 2 h 127"/>
                <a:gd name="T12" fmla="*/ 64 w 131"/>
                <a:gd name="T13" fmla="*/ 3 h 127"/>
                <a:gd name="T14" fmla="*/ 65 w 131"/>
                <a:gd name="T15" fmla="*/ 0 h 127"/>
                <a:gd name="T16" fmla="*/ 64 w 131"/>
                <a:gd name="T17" fmla="*/ 1 h 127"/>
                <a:gd name="T18" fmla="*/ 64 w 131"/>
                <a:gd name="T19" fmla="*/ 1 h 127"/>
                <a:gd name="T20" fmla="*/ 0 w 131"/>
                <a:gd name="T21" fmla="*/ 124 h 127"/>
                <a:gd name="T22" fmla="*/ 0 w 131"/>
                <a:gd name="T23" fmla="*/ 126 h 127"/>
                <a:gd name="T24" fmla="*/ 2 w 131"/>
                <a:gd name="T25" fmla="*/ 127 h 127"/>
                <a:gd name="T26" fmla="*/ 129 w 131"/>
                <a:gd name="T27" fmla="*/ 127 h 127"/>
                <a:gd name="T28" fmla="*/ 131 w 131"/>
                <a:gd name="T29" fmla="*/ 126 h 127"/>
                <a:gd name="T30" fmla="*/ 131 w 131"/>
                <a:gd name="T31" fmla="*/ 124 h 127"/>
                <a:gd name="T32" fmla="*/ 67 w 131"/>
                <a:gd name="T33" fmla="*/ 1 h 127"/>
                <a:gd name="T34" fmla="*/ 65 w 131"/>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127">
                  <a:moveTo>
                    <a:pt x="5" y="123"/>
                  </a:moveTo>
                  <a:cubicBezTo>
                    <a:pt x="65" y="6"/>
                    <a:pt x="65" y="6"/>
                    <a:pt x="65" y="6"/>
                  </a:cubicBezTo>
                  <a:cubicBezTo>
                    <a:pt x="126" y="123"/>
                    <a:pt x="126" y="123"/>
                    <a:pt x="126" y="123"/>
                  </a:cubicBezTo>
                  <a:cubicBezTo>
                    <a:pt x="5" y="123"/>
                    <a:pt x="5" y="123"/>
                    <a:pt x="5" y="123"/>
                  </a:cubicBezTo>
                  <a:moveTo>
                    <a:pt x="64" y="3"/>
                  </a:moveTo>
                  <a:cubicBezTo>
                    <a:pt x="65" y="2"/>
                    <a:pt x="65" y="2"/>
                    <a:pt x="65" y="2"/>
                  </a:cubicBezTo>
                  <a:cubicBezTo>
                    <a:pt x="64" y="3"/>
                    <a:pt x="64" y="3"/>
                    <a:pt x="64" y="3"/>
                  </a:cubicBezTo>
                  <a:moveTo>
                    <a:pt x="65" y="0"/>
                  </a:moveTo>
                  <a:cubicBezTo>
                    <a:pt x="65" y="0"/>
                    <a:pt x="64" y="0"/>
                    <a:pt x="64" y="1"/>
                  </a:cubicBezTo>
                  <a:cubicBezTo>
                    <a:pt x="64" y="1"/>
                    <a:pt x="64" y="1"/>
                    <a:pt x="64" y="1"/>
                  </a:cubicBezTo>
                  <a:cubicBezTo>
                    <a:pt x="0" y="124"/>
                    <a:pt x="0" y="124"/>
                    <a:pt x="0" y="124"/>
                  </a:cubicBezTo>
                  <a:cubicBezTo>
                    <a:pt x="0" y="125"/>
                    <a:pt x="0" y="126"/>
                    <a:pt x="0" y="126"/>
                  </a:cubicBezTo>
                  <a:cubicBezTo>
                    <a:pt x="0" y="127"/>
                    <a:pt x="1" y="127"/>
                    <a:pt x="2" y="127"/>
                  </a:cubicBezTo>
                  <a:cubicBezTo>
                    <a:pt x="129" y="127"/>
                    <a:pt x="129" y="127"/>
                    <a:pt x="129" y="127"/>
                  </a:cubicBezTo>
                  <a:cubicBezTo>
                    <a:pt x="130" y="127"/>
                    <a:pt x="131" y="127"/>
                    <a:pt x="131" y="126"/>
                  </a:cubicBezTo>
                  <a:cubicBezTo>
                    <a:pt x="131" y="126"/>
                    <a:pt x="131" y="125"/>
                    <a:pt x="131" y="124"/>
                  </a:cubicBezTo>
                  <a:cubicBezTo>
                    <a:pt x="67" y="1"/>
                    <a:pt x="67" y="1"/>
                    <a:pt x="67" y="1"/>
                  </a:cubicBezTo>
                  <a:cubicBezTo>
                    <a:pt x="67" y="0"/>
                    <a:pt x="66" y="0"/>
                    <a:pt x="65"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6" name="Freeform 84"/>
            <p:cNvSpPr/>
            <p:nvPr userDrawn="1"/>
          </p:nvSpPr>
          <p:spPr bwMode="auto">
            <a:xfrm>
              <a:off x="2461733" y="3298101"/>
              <a:ext cx="28242" cy="74759"/>
            </a:xfrm>
            <a:custGeom>
              <a:avLst/>
              <a:gdLst>
                <a:gd name="T0" fmla="*/ 11 w 11"/>
                <a:gd name="T1" fmla="*/ 0 h 29"/>
                <a:gd name="T2" fmla="*/ 0 w 11"/>
                <a:gd name="T3" fmla="*/ 14 h 29"/>
                <a:gd name="T4" fmla="*/ 11 w 11"/>
                <a:gd name="T5" fmla="*/ 29 h 29"/>
                <a:gd name="T6" fmla="*/ 11 w 11"/>
                <a:gd name="T7" fmla="*/ 25 h 29"/>
                <a:gd name="T8" fmla="*/ 4 w 11"/>
                <a:gd name="T9" fmla="*/ 14 h 29"/>
                <a:gd name="T10" fmla="*/ 11 w 11"/>
                <a:gd name="T11" fmla="*/ 4 h 29"/>
                <a:gd name="T12" fmla="*/ 11 w 1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1" h="29">
                  <a:moveTo>
                    <a:pt x="11" y="0"/>
                  </a:moveTo>
                  <a:cubicBezTo>
                    <a:pt x="5" y="2"/>
                    <a:pt x="0" y="7"/>
                    <a:pt x="0" y="14"/>
                  </a:cubicBezTo>
                  <a:cubicBezTo>
                    <a:pt x="0" y="21"/>
                    <a:pt x="5" y="27"/>
                    <a:pt x="11" y="29"/>
                  </a:cubicBezTo>
                  <a:cubicBezTo>
                    <a:pt x="11" y="25"/>
                    <a:pt x="11" y="25"/>
                    <a:pt x="11" y="25"/>
                  </a:cubicBezTo>
                  <a:cubicBezTo>
                    <a:pt x="7" y="23"/>
                    <a:pt x="4" y="19"/>
                    <a:pt x="4" y="14"/>
                  </a:cubicBezTo>
                  <a:cubicBezTo>
                    <a:pt x="4" y="10"/>
                    <a:pt x="7" y="6"/>
                    <a:pt x="11" y="4"/>
                  </a:cubicBezTo>
                  <a:cubicBezTo>
                    <a:pt x="11" y="0"/>
                    <a:pt x="11" y="0"/>
                    <a:pt x="11"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7" name="Freeform 85"/>
            <p:cNvSpPr/>
            <p:nvPr userDrawn="1"/>
          </p:nvSpPr>
          <p:spPr bwMode="auto">
            <a:xfrm>
              <a:off x="5324136" y="3088778"/>
              <a:ext cx="506694" cy="694419"/>
            </a:xfrm>
            <a:custGeom>
              <a:avLst/>
              <a:gdLst>
                <a:gd name="T0" fmla="*/ 168 w 195"/>
                <a:gd name="T1" fmla="*/ 0 h 268"/>
                <a:gd name="T2" fmla="*/ 0 w 195"/>
                <a:gd name="T3" fmla="*/ 0 h 268"/>
                <a:gd name="T4" fmla="*/ 0 w 195"/>
                <a:gd name="T5" fmla="*/ 4 h 268"/>
                <a:gd name="T6" fmla="*/ 168 w 195"/>
                <a:gd name="T7" fmla="*/ 4 h 268"/>
                <a:gd name="T8" fmla="*/ 184 w 195"/>
                <a:gd name="T9" fmla="*/ 11 h 268"/>
                <a:gd name="T10" fmla="*/ 191 w 195"/>
                <a:gd name="T11" fmla="*/ 27 h 268"/>
                <a:gd name="T12" fmla="*/ 191 w 195"/>
                <a:gd name="T13" fmla="*/ 241 h 268"/>
                <a:gd name="T14" fmla="*/ 184 w 195"/>
                <a:gd name="T15" fmla="*/ 258 h 268"/>
                <a:gd name="T16" fmla="*/ 168 w 195"/>
                <a:gd name="T17" fmla="*/ 264 h 268"/>
                <a:gd name="T18" fmla="*/ 168 w 195"/>
                <a:gd name="T19" fmla="*/ 264 h 268"/>
                <a:gd name="T20" fmla="*/ 0 w 195"/>
                <a:gd name="T21" fmla="*/ 264 h 268"/>
                <a:gd name="T22" fmla="*/ 0 w 195"/>
                <a:gd name="T23" fmla="*/ 268 h 268"/>
                <a:gd name="T24" fmla="*/ 168 w 195"/>
                <a:gd name="T25" fmla="*/ 268 h 268"/>
                <a:gd name="T26" fmla="*/ 195 w 195"/>
                <a:gd name="T27" fmla="*/ 241 h 268"/>
                <a:gd name="T28" fmla="*/ 195 w 195"/>
                <a:gd name="T29" fmla="*/ 27 h 268"/>
                <a:gd name="T30" fmla="*/ 168 w 195"/>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5" h="268">
                  <a:moveTo>
                    <a:pt x="168" y="0"/>
                  </a:moveTo>
                  <a:cubicBezTo>
                    <a:pt x="0" y="0"/>
                    <a:pt x="0" y="0"/>
                    <a:pt x="0" y="0"/>
                  </a:cubicBezTo>
                  <a:cubicBezTo>
                    <a:pt x="0" y="4"/>
                    <a:pt x="0" y="4"/>
                    <a:pt x="0" y="4"/>
                  </a:cubicBezTo>
                  <a:cubicBezTo>
                    <a:pt x="168" y="4"/>
                    <a:pt x="168" y="4"/>
                    <a:pt x="168" y="4"/>
                  </a:cubicBezTo>
                  <a:cubicBezTo>
                    <a:pt x="174" y="4"/>
                    <a:pt x="180" y="7"/>
                    <a:pt x="184" y="11"/>
                  </a:cubicBezTo>
                  <a:cubicBezTo>
                    <a:pt x="189" y="15"/>
                    <a:pt x="191" y="21"/>
                    <a:pt x="191" y="27"/>
                  </a:cubicBezTo>
                  <a:cubicBezTo>
                    <a:pt x="191" y="241"/>
                    <a:pt x="191" y="241"/>
                    <a:pt x="191" y="241"/>
                  </a:cubicBezTo>
                  <a:cubicBezTo>
                    <a:pt x="191" y="248"/>
                    <a:pt x="189" y="254"/>
                    <a:pt x="184" y="258"/>
                  </a:cubicBezTo>
                  <a:cubicBezTo>
                    <a:pt x="180" y="262"/>
                    <a:pt x="174" y="264"/>
                    <a:pt x="168" y="264"/>
                  </a:cubicBezTo>
                  <a:cubicBezTo>
                    <a:pt x="168" y="264"/>
                    <a:pt x="168" y="264"/>
                    <a:pt x="168" y="264"/>
                  </a:cubicBezTo>
                  <a:cubicBezTo>
                    <a:pt x="0" y="264"/>
                    <a:pt x="0" y="264"/>
                    <a:pt x="0" y="264"/>
                  </a:cubicBezTo>
                  <a:cubicBezTo>
                    <a:pt x="0" y="268"/>
                    <a:pt x="0" y="268"/>
                    <a:pt x="0" y="268"/>
                  </a:cubicBezTo>
                  <a:cubicBezTo>
                    <a:pt x="168" y="268"/>
                    <a:pt x="168" y="268"/>
                    <a:pt x="168" y="268"/>
                  </a:cubicBezTo>
                  <a:cubicBezTo>
                    <a:pt x="183" y="268"/>
                    <a:pt x="195" y="256"/>
                    <a:pt x="195" y="241"/>
                  </a:cubicBezTo>
                  <a:cubicBezTo>
                    <a:pt x="195" y="27"/>
                    <a:pt x="195" y="27"/>
                    <a:pt x="195" y="27"/>
                  </a:cubicBezTo>
                  <a:cubicBezTo>
                    <a:pt x="195" y="12"/>
                    <a:pt x="183" y="0"/>
                    <a:pt x="168"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8" name="Freeform 86"/>
            <p:cNvSpPr>
              <a:spLocks noEditPoints="1"/>
            </p:cNvSpPr>
            <p:nvPr userDrawn="1"/>
          </p:nvSpPr>
          <p:spPr bwMode="auto">
            <a:xfrm>
              <a:off x="5324136" y="3284811"/>
              <a:ext cx="267468" cy="330597"/>
            </a:xfrm>
            <a:custGeom>
              <a:avLst/>
              <a:gdLst>
                <a:gd name="T0" fmla="*/ 36 w 103"/>
                <a:gd name="T1" fmla="*/ 3 h 127"/>
                <a:gd name="T2" fmla="*/ 37 w 103"/>
                <a:gd name="T3" fmla="*/ 2 h 127"/>
                <a:gd name="T4" fmla="*/ 36 w 103"/>
                <a:gd name="T5" fmla="*/ 3 h 127"/>
                <a:gd name="T6" fmla="*/ 37 w 103"/>
                <a:gd name="T7" fmla="*/ 0 h 127"/>
                <a:gd name="T8" fmla="*/ 36 w 103"/>
                <a:gd name="T9" fmla="*/ 1 h 127"/>
                <a:gd name="T10" fmla="*/ 36 w 103"/>
                <a:gd name="T11" fmla="*/ 1 h 127"/>
                <a:gd name="T12" fmla="*/ 0 w 103"/>
                <a:gd name="T13" fmla="*/ 69 h 127"/>
                <a:gd name="T14" fmla="*/ 0 w 103"/>
                <a:gd name="T15" fmla="*/ 78 h 127"/>
                <a:gd name="T16" fmla="*/ 37 w 103"/>
                <a:gd name="T17" fmla="*/ 6 h 127"/>
                <a:gd name="T18" fmla="*/ 98 w 103"/>
                <a:gd name="T19" fmla="*/ 123 h 127"/>
                <a:gd name="T20" fmla="*/ 0 w 103"/>
                <a:gd name="T21" fmla="*/ 123 h 127"/>
                <a:gd name="T22" fmla="*/ 0 w 103"/>
                <a:gd name="T23" fmla="*/ 127 h 127"/>
                <a:gd name="T24" fmla="*/ 101 w 103"/>
                <a:gd name="T25" fmla="*/ 127 h 127"/>
                <a:gd name="T26" fmla="*/ 103 w 103"/>
                <a:gd name="T27" fmla="*/ 126 h 127"/>
                <a:gd name="T28" fmla="*/ 103 w 103"/>
                <a:gd name="T29" fmla="*/ 124 h 127"/>
                <a:gd name="T30" fmla="*/ 39 w 103"/>
                <a:gd name="T31" fmla="*/ 1 h 127"/>
                <a:gd name="T32" fmla="*/ 37 w 103"/>
                <a:gd name="T33"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27">
                  <a:moveTo>
                    <a:pt x="36" y="3"/>
                  </a:moveTo>
                  <a:cubicBezTo>
                    <a:pt x="37" y="2"/>
                    <a:pt x="37" y="2"/>
                    <a:pt x="37" y="2"/>
                  </a:cubicBezTo>
                  <a:cubicBezTo>
                    <a:pt x="36" y="3"/>
                    <a:pt x="36" y="3"/>
                    <a:pt x="36" y="3"/>
                  </a:cubicBezTo>
                  <a:moveTo>
                    <a:pt x="37" y="0"/>
                  </a:moveTo>
                  <a:cubicBezTo>
                    <a:pt x="37" y="0"/>
                    <a:pt x="36" y="0"/>
                    <a:pt x="36" y="1"/>
                  </a:cubicBezTo>
                  <a:cubicBezTo>
                    <a:pt x="36" y="1"/>
                    <a:pt x="36" y="1"/>
                    <a:pt x="36" y="1"/>
                  </a:cubicBezTo>
                  <a:cubicBezTo>
                    <a:pt x="0" y="69"/>
                    <a:pt x="0" y="69"/>
                    <a:pt x="0" y="69"/>
                  </a:cubicBezTo>
                  <a:cubicBezTo>
                    <a:pt x="0" y="78"/>
                    <a:pt x="0" y="78"/>
                    <a:pt x="0" y="78"/>
                  </a:cubicBezTo>
                  <a:cubicBezTo>
                    <a:pt x="37" y="6"/>
                    <a:pt x="37" y="6"/>
                    <a:pt x="37" y="6"/>
                  </a:cubicBezTo>
                  <a:cubicBezTo>
                    <a:pt x="98" y="123"/>
                    <a:pt x="98" y="123"/>
                    <a:pt x="98" y="123"/>
                  </a:cubicBezTo>
                  <a:cubicBezTo>
                    <a:pt x="0" y="123"/>
                    <a:pt x="0" y="123"/>
                    <a:pt x="0" y="123"/>
                  </a:cubicBezTo>
                  <a:cubicBezTo>
                    <a:pt x="0" y="127"/>
                    <a:pt x="0" y="127"/>
                    <a:pt x="0" y="127"/>
                  </a:cubicBezTo>
                  <a:cubicBezTo>
                    <a:pt x="101" y="127"/>
                    <a:pt x="101" y="127"/>
                    <a:pt x="101" y="127"/>
                  </a:cubicBezTo>
                  <a:cubicBezTo>
                    <a:pt x="102" y="127"/>
                    <a:pt x="103" y="127"/>
                    <a:pt x="103" y="126"/>
                  </a:cubicBezTo>
                  <a:cubicBezTo>
                    <a:pt x="103" y="126"/>
                    <a:pt x="103" y="125"/>
                    <a:pt x="103" y="124"/>
                  </a:cubicBezTo>
                  <a:cubicBezTo>
                    <a:pt x="39" y="1"/>
                    <a:pt x="39" y="1"/>
                    <a:pt x="39" y="1"/>
                  </a:cubicBezTo>
                  <a:cubicBezTo>
                    <a:pt x="39" y="0"/>
                    <a:pt x="38" y="0"/>
                    <a:pt x="37"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17" name="Freeform 95"/>
            <p:cNvSpPr/>
            <p:nvPr userDrawn="1"/>
          </p:nvSpPr>
          <p:spPr bwMode="auto">
            <a:xfrm>
              <a:off x="2988362" y="4884632"/>
              <a:ext cx="1837387" cy="99677"/>
            </a:xfrm>
            <a:custGeom>
              <a:avLst/>
              <a:gdLst>
                <a:gd name="T0" fmla="*/ 19 w 708"/>
                <a:gd name="T1" fmla="*/ 38 h 38"/>
                <a:gd name="T2" fmla="*/ 0 w 708"/>
                <a:gd name="T3" fmla="*/ 19 h 38"/>
                <a:gd name="T4" fmla="*/ 19 w 708"/>
                <a:gd name="T5" fmla="*/ 0 h 38"/>
                <a:gd name="T6" fmla="*/ 689 w 708"/>
                <a:gd name="T7" fmla="*/ 0 h 38"/>
                <a:gd name="T8" fmla="*/ 708 w 708"/>
                <a:gd name="T9" fmla="*/ 19 h 38"/>
                <a:gd name="T10" fmla="*/ 689 w 708"/>
                <a:gd name="T11" fmla="*/ 38 h 38"/>
                <a:gd name="T12" fmla="*/ 19 w 708"/>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708" h="38">
                  <a:moveTo>
                    <a:pt x="19" y="38"/>
                  </a:moveTo>
                  <a:cubicBezTo>
                    <a:pt x="9" y="38"/>
                    <a:pt x="0" y="30"/>
                    <a:pt x="0" y="19"/>
                  </a:cubicBezTo>
                  <a:cubicBezTo>
                    <a:pt x="0" y="8"/>
                    <a:pt x="9" y="0"/>
                    <a:pt x="19" y="0"/>
                  </a:cubicBezTo>
                  <a:cubicBezTo>
                    <a:pt x="689" y="0"/>
                    <a:pt x="689" y="0"/>
                    <a:pt x="689" y="0"/>
                  </a:cubicBezTo>
                  <a:cubicBezTo>
                    <a:pt x="699" y="0"/>
                    <a:pt x="708" y="8"/>
                    <a:pt x="708" y="19"/>
                  </a:cubicBezTo>
                  <a:cubicBezTo>
                    <a:pt x="708" y="30"/>
                    <a:pt x="699" y="38"/>
                    <a:pt x="689" y="38"/>
                  </a:cubicBezTo>
                  <a:lnTo>
                    <a:pt x="19" y="3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18" name="Freeform 96"/>
            <p:cNvSpPr>
              <a:spLocks noEditPoints="1"/>
            </p:cNvSpPr>
            <p:nvPr userDrawn="1"/>
          </p:nvSpPr>
          <p:spPr bwMode="auto">
            <a:xfrm>
              <a:off x="2983378" y="4879649"/>
              <a:ext cx="1849017" cy="109645"/>
            </a:xfrm>
            <a:custGeom>
              <a:avLst/>
              <a:gdLst>
                <a:gd name="T0" fmla="*/ 691 w 712"/>
                <a:gd name="T1" fmla="*/ 4 h 42"/>
                <a:gd name="T2" fmla="*/ 708 w 712"/>
                <a:gd name="T3" fmla="*/ 21 h 42"/>
                <a:gd name="T4" fmla="*/ 691 w 712"/>
                <a:gd name="T5" fmla="*/ 38 h 42"/>
                <a:gd name="T6" fmla="*/ 21 w 712"/>
                <a:gd name="T7" fmla="*/ 38 h 42"/>
                <a:gd name="T8" fmla="*/ 4 w 712"/>
                <a:gd name="T9" fmla="*/ 21 h 42"/>
                <a:gd name="T10" fmla="*/ 21 w 712"/>
                <a:gd name="T11" fmla="*/ 4 h 42"/>
                <a:gd name="T12" fmla="*/ 691 w 712"/>
                <a:gd name="T13" fmla="*/ 4 h 42"/>
                <a:gd name="T14" fmla="*/ 691 w 712"/>
                <a:gd name="T15" fmla="*/ 0 h 42"/>
                <a:gd name="T16" fmla="*/ 21 w 712"/>
                <a:gd name="T17" fmla="*/ 0 h 42"/>
                <a:gd name="T18" fmla="*/ 0 w 712"/>
                <a:gd name="T19" fmla="*/ 21 h 42"/>
                <a:gd name="T20" fmla="*/ 21 w 712"/>
                <a:gd name="T21" fmla="*/ 42 h 42"/>
                <a:gd name="T22" fmla="*/ 691 w 712"/>
                <a:gd name="T23" fmla="*/ 42 h 42"/>
                <a:gd name="T24" fmla="*/ 712 w 712"/>
                <a:gd name="T25" fmla="*/ 21 h 42"/>
                <a:gd name="T26" fmla="*/ 691 w 712"/>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2" h="42">
                  <a:moveTo>
                    <a:pt x="691" y="4"/>
                  </a:moveTo>
                  <a:cubicBezTo>
                    <a:pt x="700" y="4"/>
                    <a:pt x="708" y="12"/>
                    <a:pt x="708" y="21"/>
                  </a:cubicBezTo>
                  <a:cubicBezTo>
                    <a:pt x="708" y="31"/>
                    <a:pt x="700" y="38"/>
                    <a:pt x="691" y="38"/>
                  </a:cubicBezTo>
                  <a:cubicBezTo>
                    <a:pt x="21" y="38"/>
                    <a:pt x="21" y="38"/>
                    <a:pt x="21" y="38"/>
                  </a:cubicBezTo>
                  <a:cubicBezTo>
                    <a:pt x="12" y="38"/>
                    <a:pt x="4" y="31"/>
                    <a:pt x="4" y="21"/>
                  </a:cubicBezTo>
                  <a:cubicBezTo>
                    <a:pt x="4" y="12"/>
                    <a:pt x="12" y="4"/>
                    <a:pt x="21" y="4"/>
                  </a:cubicBezTo>
                  <a:cubicBezTo>
                    <a:pt x="691" y="4"/>
                    <a:pt x="691" y="4"/>
                    <a:pt x="691" y="4"/>
                  </a:cubicBezTo>
                  <a:moveTo>
                    <a:pt x="691" y="0"/>
                  </a:moveTo>
                  <a:cubicBezTo>
                    <a:pt x="21" y="0"/>
                    <a:pt x="21" y="0"/>
                    <a:pt x="21" y="0"/>
                  </a:cubicBezTo>
                  <a:cubicBezTo>
                    <a:pt x="10" y="0"/>
                    <a:pt x="0" y="9"/>
                    <a:pt x="0" y="21"/>
                  </a:cubicBezTo>
                  <a:cubicBezTo>
                    <a:pt x="0" y="33"/>
                    <a:pt x="10" y="42"/>
                    <a:pt x="21" y="42"/>
                  </a:cubicBezTo>
                  <a:cubicBezTo>
                    <a:pt x="691" y="42"/>
                    <a:pt x="691" y="42"/>
                    <a:pt x="691" y="42"/>
                  </a:cubicBezTo>
                  <a:cubicBezTo>
                    <a:pt x="702" y="42"/>
                    <a:pt x="712" y="33"/>
                    <a:pt x="712" y="21"/>
                  </a:cubicBezTo>
                  <a:cubicBezTo>
                    <a:pt x="712" y="9"/>
                    <a:pt x="702" y="0"/>
                    <a:pt x="691" y="0"/>
                  </a:cubicBez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19" name="Freeform 97"/>
            <p:cNvSpPr/>
            <p:nvPr userDrawn="1"/>
          </p:nvSpPr>
          <p:spPr bwMode="auto">
            <a:xfrm>
              <a:off x="2993346" y="4889617"/>
              <a:ext cx="1267565" cy="89710"/>
            </a:xfrm>
            <a:custGeom>
              <a:avLst/>
              <a:gdLst>
                <a:gd name="T0" fmla="*/ 488 w 488"/>
                <a:gd name="T1" fmla="*/ 0 h 34"/>
                <a:gd name="T2" fmla="*/ 17 w 488"/>
                <a:gd name="T3" fmla="*/ 0 h 34"/>
                <a:gd name="T4" fmla="*/ 0 w 488"/>
                <a:gd name="T5" fmla="*/ 17 h 34"/>
                <a:gd name="T6" fmla="*/ 17 w 488"/>
                <a:gd name="T7" fmla="*/ 34 h 34"/>
                <a:gd name="T8" fmla="*/ 488 w 488"/>
                <a:gd name="T9" fmla="*/ 34 h 34"/>
                <a:gd name="T10" fmla="*/ 488 w 488"/>
                <a:gd name="T11" fmla="*/ 0 h 34"/>
              </a:gdLst>
              <a:ahLst/>
              <a:cxnLst>
                <a:cxn ang="0">
                  <a:pos x="T0" y="T1"/>
                </a:cxn>
                <a:cxn ang="0">
                  <a:pos x="T2" y="T3"/>
                </a:cxn>
                <a:cxn ang="0">
                  <a:pos x="T4" y="T5"/>
                </a:cxn>
                <a:cxn ang="0">
                  <a:pos x="T6" y="T7"/>
                </a:cxn>
                <a:cxn ang="0">
                  <a:pos x="T8" y="T9"/>
                </a:cxn>
                <a:cxn ang="0">
                  <a:pos x="T10" y="T11"/>
                </a:cxn>
              </a:cxnLst>
              <a:rect l="0" t="0" r="r" b="b"/>
              <a:pathLst>
                <a:path w="488" h="34">
                  <a:moveTo>
                    <a:pt x="488" y="0"/>
                  </a:moveTo>
                  <a:cubicBezTo>
                    <a:pt x="17" y="0"/>
                    <a:pt x="17" y="0"/>
                    <a:pt x="17" y="0"/>
                  </a:cubicBezTo>
                  <a:cubicBezTo>
                    <a:pt x="8" y="0"/>
                    <a:pt x="0" y="8"/>
                    <a:pt x="0" y="17"/>
                  </a:cubicBezTo>
                  <a:cubicBezTo>
                    <a:pt x="0" y="27"/>
                    <a:pt x="8" y="34"/>
                    <a:pt x="17" y="34"/>
                  </a:cubicBezTo>
                  <a:cubicBezTo>
                    <a:pt x="488" y="34"/>
                    <a:pt x="488" y="34"/>
                    <a:pt x="488" y="34"/>
                  </a:cubicBezTo>
                  <a:lnTo>
                    <a:pt x="488" y="0"/>
                  </a:lnTo>
                  <a:close/>
                </a:path>
              </a:pathLst>
            </a:custGeom>
            <a:solidFill>
              <a:srgbClr val="295CC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33" name="Rectangle 111"/>
            <p:cNvSpPr>
              <a:spLocks noChangeArrowheads="1"/>
            </p:cNvSpPr>
            <p:nvPr userDrawn="1"/>
          </p:nvSpPr>
          <p:spPr bwMode="auto">
            <a:xfrm>
              <a:off x="1735749" y="2733262"/>
              <a:ext cx="4334307" cy="9968"/>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34" name="Rectangle 112"/>
            <p:cNvSpPr>
              <a:spLocks noChangeArrowheads="1"/>
            </p:cNvSpPr>
            <p:nvPr userDrawn="1"/>
          </p:nvSpPr>
          <p:spPr bwMode="auto">
            <a:xfrm>
              <a:off x="1735749" y="2733262"/>
              <a:ext cx="4334307"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35" name="Rectangle 113"/>
            <p:cNvSpPr>
              <a:spLocks noChangeArrowheads="1"/>
            </p:cNvSpPr>
            <p:nvPr userDrawn="1"/>
          </p:nvSpPr>
          <p:spPr bwMode="auto">
            <a:xfrm>
              <a:off x="2488314" y="2489052"/>
              <a:ext cx="3134855" cy="147855"/>
            </a:xfrm>
            <a:prstGeom prst="rect">
              <a:avLst/>
            </a:prstGeom>
            <a:solidFill>
              <a:srgbClr val="CADE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36" name="Freeform 114"/>
            <p:cNvSpPr/>
            <p:nvPr userDrawn="1"/>
          </p:nvSpPr>
          <p:spPr bwMode="auto">
            <a:xfrm>
              <a:off x="1862007" y="2522278"/>
              <a:ext cx="91371" cy="88049"/>
            </a:xfrm>
            <a:custGeom>
              <a:avLst/>
              <a:gdLst>
                <a:gd name="T0" fmla="*/ 33 w 35"/>
                <a:gd name="T1" fmla="*/ 17 h 34"/>
                <a:gd name="T2" fmla="*/ 31 w 35"/>
                <a:gd name="T3" fmla="*/ 17 h 34"/>
                <a:gd name="T4" fmla="*/ 18 w 35"/>
                <a:gd name="T5" fmla="*/ 30 h 34"/>
                <a:gd name="T6" fmla="*/ 4 w 35"/>
                <a:gd name="T7" fmla="*/ 17 h 34"/>
                <a:gd name="T8" fmla="*/ 18 w 35"/>
                <a:gd name="T9" fmla="*/ 4 h 34"/>
                <a:gd name="T10" fmla="*/ 31 w 35"/>
                <a:gd name="T11" fmla="*/ 17 h 34"/>
                <a:gd name="T12" fmla="*/ 33 w 35"/>
                <a:gd name="T13" fmla="*/ 17 h 34"/>
                <a:gd name="T14" fmla="*/ 35 w 35"/>
                <a:gd name="T15" fmla="*/ 17 h 34"/>
                <a:gd name="T16" fmla="*/ 18 w 35"/>
                <a:gd name="T17" fmla="*/ 0 h 34"/>
                <a:gd name="T18" fmla="*/ 0 w 35"/>
                <a:gd name="T19" fmla="*/ 17 h 34"/>
                <a:gd name="T20" fmla="*/ 18 w 35"/>
                <a:gd name="T21" fmla="*/ 34 h 34"/>
                <a:gd name="T22" fmla="*/ 35 w 35"/>
                <a:gd name="T23" fmla="*/ 17 h 34"/>
                <a:gd name="T24" fmla="*/ 33 w 35"/>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4">
                  <a:moveTo>
                    <a:pt x="33" y="17"/>
                  </a:moveTo>
                  <a:cubicBezTo>
                    <a:pt x="31" y="17"/>
                    <a:pt x="31" y="17"/>
                    <a:pt x="31" y="17"/>
                  </a:cubicBezTo>
                  <a:cubicBezTo>
                    <a:pt x="31" y="24"/>
                    <a:pt x="25" y="30"/>
                    <a:pt x="18" y="30"/>
                  </a:cubicBezTo>
                  <a:cubicBezTo>
                    <a:pt x="10" y="30"/>
                    <a:pt x="4" y="24"/>
                    <a:pt x="4" y="17"/>
                  </a:cubicBezTo>
                  <a:cubicBezTo>
                    <a:pt x="4" y="10"/>
                    <a:pt x="10" y="4"/>
                    <a:pt x="18" y="4"/>
                  </a:cubicBezTo>
                  <a:cubicBezTo>
                    <a:pt x="25" y="4"/>
                    <a:pt x="31" y="10"/>
                    <a:pt x="31" y="17"/>
                  </a:cubicBezTo>
                  <a:cubicBezTo>
                    <a:pt x="33" y="17"/>
                    <a:pt x="33" y="17"/>
                    <a:pt x="33" y="17"/>
                  </a:cubicBezTo>
                  <a:cubicBezTo>
                    <a:pt x="35" y="17"/>
                    <a:pt x="35" y="17"/>
                    <a:pt x="35" y="17"/>
                  </a:cubicBezTo>
                  <a:cubicBezTo>
                    <a:pt x="35" y="8"/>
                    <a:pt x="27" y="0"/>
                    <a:pt x="18" y="0"/>
                  </a:cubicBezTo>
                  <a:cubicBezTo>
                    <a:pt x="8" y="0"/>
                    <a:pt x="0" y="8"/>
                    <a:pt x="0" y="17"/>
                  </a:cubicBezTo>
                  <a:cubicBezTo>
                    <a:pt x="0" y="27"/>
                    <a:pt x="8" y="34"/>
                    <a:pt x="18" y="34"/>
                  </a:cubicBezTo>
                  <a:cubicBezTo>
                    <a:pt x="27" y="34"/>
                    <a:pt x="35" y="27"/>
                    <a:pt x="35" y="17"/>
                  </a:cubicBezTo>
                  <a:lnTo>
                    <a:pt x="33" y="17"/>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37" name="Freeform 115"/>
            <p:cNvSpPr/>
            <p:nvPr userDrawn="1"/>
          </p:nvSpPr>
          <p:spPr bwMode="auto">
            <a:xfrm>
              <a:off x="2049733" y="2522278"/>
              <a:ext cx="88049" cy="88049"/>
            </a:xfrm>
            <a:custGeom>
              <a:avLst/>
              <a:gdLst>
                <a:gd name="T0" fmla="*/ 32 w 34"/>
                <a:gd name="T1" fmla="*/ 17 h 34"/>
                <a:gd name="T2" fmla="*/ 30 w 34"/>
                <a:gd name="T3" fmla="*/ 17 h 34"/>
                <a:gd name="T4" fmla="*/ 17 w 34"/>
                <a:gd name="T5" fmla="*/ 30 h 34"/>
                <a:gd name="T6" fmla="*/ 4 w 34"/>
                <a:gd name="T7" fmla="*/ 17 h 34"/>
                <a:gd name="T8" fmla="*/ 17 w 34"/>
                <a:gd name="T9" fmla="*/ 4 h 34"/>
                <a:gd name="T10" fmla="*/ 30 w 34"/>
                <a:gd name="T11" fmla="*/ 17 h 34"/>
                <a:gd name="T12" fmla="*/ 32 w 34"/>
                <a:gd name="T13" fmla="*/ 17 h 34"/>
                <a:gd name="T14" fmla="*/ 34 w 34"/>
                <a:gd name="T15" fmla="*/ 17 h 34"/>
                <a:gd name="T16" fmla="*/ 17 w 34"/>
                <a:gd name="T17" fmla="*/ 0 h 34"/>
                <a:gd name="T18" fmla="*/ 0 w 34"/>
                <a:gd name="T19" fmla="*/ 17 h 34"/>
                <a:gd name="T20" fmla="*/ 17 w 34"/>
                <a:gd name="T21" fmla="*/ 34 h 34"/>
                <a:gd name="T22" fmla="*/ 34 w 34"/>
                <a:gd name="T23" fmla="*/ 17 h 34"/>
                <a:gd name="T24" fmla="*/ 32 w 34"/>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4">
                  <a:moveTo>
                    <a:pt x="32" y="17"/>
                  </a:moveTo>
                  <a:cubicBezTo>
                    <a:pt x="30" y="17"/>
                    <a:pt x="30" y="17"/>
                    <a:pt x="30" y="17"/>
                  </a:cubicBezTo>
                  <a:cubicBezTo>
                    <a:pt x="30" y="24"/>
                    <a:pt x="24" y="30"/>
                    <a:pt x="17" y="30"/>
                  </a:cubicBezTo>
                  <a:cubicBezTo>
                    <a:pt x="9" y="30"/>
                    <a:pt x="4" y="24"/>
                    <a:pt x="4" y="17"/>
                  </a:cubicBezTo>
                  <a:cubicBezTo>
                    <a:pt x="4" y="10"/>
                    <a:pt x="9" y="4"/>
                    <a:pt x="17" y="4"/>
                  </a:cubicBezTo>
                  <a:cubicBezTo>
                    <a:pt x="24" y="4"/>
                    <a:pt x="30" y="10"/>
                    <a:pt x="30" y="17"/>
                  </a:cubicBezTo>
                  <a:cubicBezTo>
                    <a:pt x="32" y="17"/>
                    <a:pt x="32" y="17"/>
                    <a:pt x="32" y="17"/>
                  </a:cubicBezTo>
                  <a:cubicBezTo>
                    <a:pt x="34" y="17"/>
                    <a:pt x="34" y="17"/>
                    <a:pt x="34" y="17"/>
                  </a:cubicBezTo>
                  <a:cubicBezTo>
                    <a:pt x="34" y="8"/>
                    <a:pt x="26" y="0"/>
                    <a:pt x="17" y="0"/>
                  </a:cubicBezTo>
                  <a:cubicBezTo>
                    <a:pt x="7" y="0"/>
                    <a:pt x="0" y="8"/>
                    <a:pt x="0" y="17"/>
                  </a:cubicBezTo>
                  <a:cubicBezTo>
                    <a:pt x="0" y="27"/>
                    <a:pt x="7" y="34"/>
                    <a:pt x="17" y="34"/>
                  </a:cubicBezTo>
                  <a:cubicBezTo>
                    <a:pt x="26" y="34"/>
                    <a:pt x="34" y="27"/>
                    <a:pt x="34" y="17"/>
                  </a:cubicBezTo>
                  <a:lnTo>
                    <a:pt x="32" y="17"/>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38" name="Freeform 116"/>
            <p:cNvSpPr/>
            <p:nvPr userDrawn="1"/>
          </p:nvSpPr>
          <p:spPr bwMode="auto">
            <a:xfrm>
              <a:off x="2234136" y="2522278"/>
              <a:ext cx="88049" cy="88049"/>
            </a:xfrm>
            <a:custGeom>
              <a:avLst/>
              <a:gdLst>
                <a:gd name="T0" fmla="*/ 32 w 34"/>
                <a:gd name="T1" fmla="*/ 17 h 34"/>
                <a:gd name="T2" fmla="*/ 30 w 34"/>
                <a:gd name="T3" fmla="*/ 17 h 34"/>
                <a:gd name="T4" fmla="*/ 17 w 34"/>
                <a:gd name="T5" fmla="*/ 30 h 34"/>
                <a:gd name="T6" fmla="*/ 4 w 34"/>
                <a:gd name="T7" fmla="*/ 17 h 34"/>
                <a:gd name="T8" fmla="*/ 17 w 34"/>
                <a:gd name="T9" fmla="*/ 4 h 34"/>
                <a:gd name="T10" fmla="*/ 30 w 34"/>
                <a:gd name="T11" fmla="*/ 17 h 34"/>
                <a:gd name="T12" fmla="*/ 32 w 34"/>
                <a:gd name="T13" fmla="*/ 17 h 34"/>
                <a:gd name="T14" fmla="*/ 34 w 34"/>
                <a:gd name="T15" fmla="*/ 17 h 34"/>
                <a:gd name="T16" fmla="*/ 17 w 34"/>
                <a:gd name="T17" fmla="*/ 0 h 34"/>
                <a:gd name="T18" fmla="*/ 0 w 34"/>
                <a:gd name="T19" fmla="*/ 17 h 34"/>
                <a:gd name="T20" fmla="*/ 17 w 34"/>
                <a:gd name="T21" fmla="*/ 34 h 34"/>
                <a:gd name="T22" fmla="*/ 34 w 34"/>
                <a:gd name="T23" fmla="*/ 17 h 34"/>
                <a:gd name="T24" fmla="*/ 32 w 34"/>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4">
                  <a:moveTo>
                    <a:pt x="32" y="17"/>
                  </a:moveTo>
                  <a:cubicBezTo>
                    <a:pt x="30" y="17"/>
                    <a:pt x="30" y="17"/>
                    <a:pt x="30" y="17"/>
                  </a:cubicBezTo>
                  <a:cubicBezTo>
                    <a:pt x="30" y="24"/>
                    <a:pt x="24" y="30"/>
                    <a:pt x="17" y="30"/>
                  </a:cubicBezTo>
                  <a:cubicBezTo>
                    <a:pt x="10" y="30"/>
                    <a:pt x="4" y="24"/>
                    <a:pt x="4" y="17"/>
                  </a:cubicBezTo>
                  <a:cubicBezTo>
                    <a:pt x="4" y="10"/>
                    <a:pt x="10" y="4"/>
                    <a:pt x="17" y="4"/>
                  </a:cubicBezTo>
                  <a:cubicBezTo>
                    <a:pt x="24" y="4"/>
                    <a:pt x="30" y="10"/>
                    <a:pt x="30" y="17"/>
                  </a:cubicBezTo>
                  <a:cubicBezTo>
                    <a:pt x="32" y="17"/>
                    <a:pt x="32" y="17"/>
                    <a:pt x="32" y="17"/>
                  </a:cubicBezTo>
                  <a:cubicBezTo>
                    <a:pt x="34" y="17"/>
                    <a:pt x="34" y="17"/>
                    <a:pt x="34" y="17"/>
                  </a:cubicBezTo>
                  <a:cubicBezTo>
                    <a:pt x="34" y="8"/>
                    <a:pt x="26" y="0"/>
                    <a:pt x="17" y="0"/>
                  </a:cubicBezTo>
                  <a:cubicBezTo>
                    <a:pt x="7" y="0"/>
                    <a:pt x="0" y="8"/>
                    <a:pt x="0" y="17"/>
                  </a:cubicBezTo>
                  <a:cubicBezTo>
                    <a:pt x="0" y="27"/>
                    <a:pt x="7" y="34"/>
                    <a:pt x="17" y="34"/>
                  </a:cubicBezTo>
                  <a:cubicBezTo>
                    <a:pt x="26" y="34"/>
                    <a:pt x="34" y="27"/>
                    <a:pt x="34" y="17"/>
                  </a:cubicBezTo>
                  <a:lnTo>
                    <a:pt x="32" y="17"/>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39" name="Rectangle 117"/>
            <p:cNvSpPr>
              <a:spLocks noChangeArrowheads="1"/>
            </p:cNvSpPr>
            <p:nvPr userDrawn="1"/>
          </p:nvSpPr>
          <p:spPr bwMode="auto">
            <a:xfrm>
              <a:off x="2946830" y="5785052"/>
              <a:ext cx="1910484" cy="106323"/>
            </a:xfrm>
            <a:prstGeom prst="rect">
              <a:avLst/>
            </a:prstGeom>
            <a:solidFill>
              <a:srgbClr val="B3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0" name="Rectangle 118"/>
            <p:cNvSpPr>
              <a:spLocks noChangeArrowheads="1"/>
            </p:cNvSpPr>
            <p:nvPr userDrawn="1"/>
          </p:nvSpPr>
          <p:spPr bwMode="auto">
            <a:xfrm>
              <a:off x="5324136" y="2876133"/>
              <a:ext cx="71436" cy="9968"/>
            </a:xfrm>
            <a:prstGeom prst="rect">
              <a:avLst/>
            </a:prstGeom>
            <a:solidFill>
              <a:srgbClr val="E8F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1" name="Rectangle 119"/>
            <p:cNvSpPr>
              <a:spLocks noChangeArrowheads="1"/>
            </p:cNvSpPr>
            <p:nvPr userDrawn="1"/>
          </p:nvSpPr>
          <p:spPr bwMode="auto">
            <a:xfrm>
              <a:off x="5324136" y="2876133"/>
              <a:ext cx="71436"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2" name="Rectangle 120"/>
            <p:cNvSpPr>
              <a:spLocks noChangeArrowheads="1"/>
            </p:cNvSpPr>
            <p:nvPr userDrawn="1"/>
          </p:nvSpPr>
          <p:spPr bwMode="auto">
            <a:xfrm>
              <a:off x="5480297" y="2876133"/>
              <a:ext cx="174436" cy="9968"/>
            </a:xfrm>
            <a:prstGeom prst="rect">
              <a:avLst/>
            </a:prstGeom>
            <a:solidFill>
              <a:srgbClr val="E8F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3" name="Rectangle 121"/>
            <p:cNvSpPr>
              <a:spLocks noChangeArrowheads="1"/>
            </p:cNvSpPr>
            <p:nvPr userDrawn="1"/>
          </p:nvSpPr>
          <p:spPr bwMode="auto">
            <a:xfrm>
              <a:off x="5480297" y="2876133"/>
              <a:ext cx="174436"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4" name="Rectangle 122"/>
            <p:cNvSpPr>
              <a:spLocks noChangeArrowheads="1"/>
            </p:cNvSpPr>
            <p:nvPr userDrawn="1"/>
          </p:nvSpPr>
          <p:spPr bwMode="auto">
            <a:xfrm>
              <a:off x="5719523" y="2834600"/>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5" name="Rectangle 123"/>
            <p:cNvSpPr>
              <a:spLocks noChangeArrowheads="1"/>
            </p:cNvSpPr>
            <p:nvPr userDrawn="1"/>
          </p:nvSpPr>
          <p:spPr bwMode="auto">
            <a:xfrm>
              <a:off x="5719523" y="2834600"/>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6" name="Rectangle 124"/>
            <p:cNvSpPr>
              <a:spLocks noChangeArrowheads="1"/>
            </p:cNvSpPr>
            <p:nvPr userDrawn="1"/>
          </p:nvSpPr>
          <p:spPr bwMode="auto">
            <a:xfrm>
              <a:off x="5751088" y="2834600"/>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7" name="Rectangle 125"/>
            <p:cNvSpPr>
              <a:spLocks noChangeArrowheads="1"/>
            </p:cNvSpPr>
            <p:nvPr userDrawn="1"/>
          </p:nvSpPr>
          <p:spPr bwMode="auto">
            <a:xfrm>
              <a:off x="5751088" y="2834600"/>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8" name="Rectangle 126"/>
            <p:cNvSpPr>
              <a:spLocks noChangeArrowheads="1"/>
            </p:cNvSpPr>
            <p:nvPr userDrawn="1"/>
          </p:nvSpPr>
          <p:spPr bwMode="auto">
            <a:xfrm>
              <a:off x="5784314" y="2834600"/>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49" name="Rectangle 127"/>
            <p:cNvSpPr>
              <a:spLocks noChangeArrowheads="1"/>
            </p:cNvSpPr>
            <p:nvPr userDrawn="1"/>
          </p:nvSpPr>
          <p:spPr bwMode="auto">
            <a:xfrm>
              <a:off x="5784314" y="2834600"/>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0" name="Rectangle 128"/>
            <p:cNvSpPr>
              <a:spLocks noChangeArrowheads="1"/>
            </p:cNvSpPr>
            <p:nvPr userDrawn="1"/>
          </p:nvSpPr>
          <p:spPr bwMode="auto">
            <a:xfrm>
              <a:off x="5719523" y="2871149"/>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1" name="Rectangle 129"/>
            <p:cNvSpPr>
              <a:spLocks noChangeArrowheads="1"/>
            </p:cNvSpPr>
            <p:nvPr userDrawn="1"/>
          </p:nvSpPr>
          <p:spPr bwMode="auto">
            <a:xfrm>
              <a:off x="5719523" y="2871149"/>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2" name="Rectangle 130"/>
            <p:cNvSpPr>
              <a:spLocks noChangeArrowheads="1"/>
            </p:cNvSpPr>
            <p:nvPr userDrawn="1"/>
          </p:nvSpPr>
          <p:spPr bwMode="auto">
            <a:xfrm>
              <a:off x="5751088" y="2871149"/>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3" name="Rectangle 131"/>
            <p:cNvSpPr>
              <a:spLocks noChangeArrowheads="1"/>
            </p:cNvSpPr>
            <p:nvPr userDrawn="1"/>
          </p:nvSpPr>
          <p:spPr bwMode="auto">
            <a:xfrm>
              <a:off x="5751088" y="2871149"/>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4" name="Rectangle 132"/>
            <p:cNvSpPr>
              <a:spLocks noChangeArrowheads="1"/>
            </p:cNvSpPr>
            <p:nvPr userDrawn="1"/>
          </p:nvSpPr>
          <p:spPr bwMode="auto">
            <a:xfrm>
              <a:off x="5784314" y="2871149"/>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5" name="Rectangle 133"/>
            <p:cNvSpPr>
              <a:spLocks noChangeArrowheads="1"/>
            </p:cNvSpPr>
            <p:nvPr userDrawn="1"/>
          </p:nvSpPr>
          <p:spPr bwMode="auto">
            <a:xfrm>
              <a:off x="5784314" y="2871149"/>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6" name="Rectangle 134"/>
            <p:cNvSpPr>
              <a:spLocks noChangeArrowheads="1"/>
            </p:cNvSpPr>
            <p:nvPr userDrawn="1"/>
          </p:nvSpPr>
          <p:spPr bwMode="auto">
            <a:xfrm>
              <a:off x="5719523" y="2904375"/>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7" name="Rectangle 135"/>
            <p:cNvSpPr>
              <a:spLocks noChangeArrowheads="1"/>
            </p:cNvSpPr>
            <p:nvPr userDrawn="1"/>
          </p:nvSpPr>
          <p:spPr bwMode="auto">
            <a:xfrm>
              <a:off x="5719523" y="2904375"/>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8" name="Rectangle 136"/>
            <p:cNvSpPr>
              <a:spLocks noChangeArrowheads="1"/>
            </p:cNvSpPr>
            <p:nvPr userDrawn="1"/>
          </p:nvSpPr>
          <p:spPr bwMode="auto">
            <a:xfrm>
              <a:off x="5751088" y="2904375"/>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59" name="Rectangle 137"/>
            <p:cNvSpPr>
              <a:spLocks noChangeArrowheads="1"/>
            </p:cNvSpPr>
            <p:nvPr userDrawn="1"/>
          </p:nvSpPr>
          <p:spPr bwMode="auto">
            <a:xfrm>
              <a:off x="5751088" y="2904375"/>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60" name="Rectangle 138"/>
            <p:cNvSpPr>
              <a:spLocks noChangeArrowheads="1"/>
            </p:cNvSpPr>
            <p:nvPr userDrawn="1"/>
          </p:nvSpPr>
          <p:spPr bwMode="auto">
            <a:xfrm>
              <a:off x="5784314" y="2904375"/>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61" name="Rectangle 139"/>
            <p:cNvSpPr>
              <a:spLocks noChangeArrowheads="1"/>
            </p:cNvSpPr>
            <p:nvPr userDrawn="1"/>
          </p:nvSpPr>
          <p:spPr bwMode="auto">
            <a:xfrm>
              <a:off x="5784314" y="2904375"/>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62" name="Oval 140"/>
            <p:cNvSpPr>
              <a:spLocks noChangeArrowheads="1"/>
            </p:cNvSpPr>
            <p:nvPr userDrawn="1"/>
          </p:nvSpPr>
          <p:spPr bwMode="auto">
            <a:xfrm>
              <a:off x="5845781" y="2821310"/>
              <a:ext cx="119613" cy="119613"/>
            </a:xfrm>
            <a:prstGeom prst="ellipse">
              <a:avLst/>
            </a:prstGeom>
            <a:solidFill>
              <a:srgbClr val="CADE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63" name="Oval 141"/>
            <p:cNvSpPr>
              <a:spLocks noChangeArrowheads="1"/>
            </p:cNvSpPr>
            <p:nvPr userDrawn="1"/>
          </p:nvSpPr>
          <p:spPr bwMode="auto">
            <a:xfrm>
              <a:off x="5932168" y="2474101"/>
              <a:ext cx="31565" cy="29903"/>
            </a:xfrm>
            <a:prstGeom prst="ellipse">
              <a:avLst/>
            </a:pr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64" name="Oval 142"/>
            <p:cNvSpPr>
              <a:spLocks noChangeArrowheads="1"/>
            </p:cNvSpPr>
            <p:nvPr userDrawn="1"/>
          </p:nvSpPr>
          <p:spPr bwMode="auto">
            <a:xfrm>
              <a:off x="5932168" y="2548859"/>
              <a:ext cx="31565" cy="31565"/>
            </a:xfrm>
            <a:prstGeom prst="ellipse">
              <a:avLst/>
            </a:pr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65" name="Oval 143"/>
            <p:cNvSpPr>
              <a:spLocks noChangeArrowheads="1"/>
            </p:cNvSpPr>
            <p:nvPr userDrawn="1"/>
          </p:nvSpPr>
          <p:spPr bwMode="auto">
            <a:xfrm>
              <a:off x="5932168" y="2621955"/>
              <a:ext cx="31565" cy="29903"/>
            </a:xfrm>
            <a:prstGeom prst="ellipse">
              <a:avLst/>
            </a:pr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66" name="Rectangle 144"/>
            <p:cNvSpPr>
              <a:spLocks noChangeArrowheads="1"/>
            </p:cNvSpPr>
            <p:nvPr userDrawn="1"/>
          </p:nvSpPr>
          <p:spPr bwMode="auto">
            <a:xfrm>
              <a:off x="3622975" y="5785052"/>
              <a:ext cx="976839" cy="9968"/>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67" name="Freeform 145"/>
            <p:cNvSpPr/>
            <p:nvPr userDrawn="1"/>
          </p:nvSpPr>
          <p:spPr bwMode="auto">
            <a:xfrm>
              <a:off x="3622975" y="5785052"/>
              <a:ext cx="976839" cy="9968"/>
            </a:xfrm>
            <a:custGeom>
              <a:avLst/>
              <a:gdLst>
                <a:gd name="T0" fmla="*/ 588 w 588"/>
                <a:gd name="T1" fmla="*/ 0 h 6"/>
                <a:gd name="T2" fmla="*/ 0 w 588"/>
                <a:gd name="T3" fmla="*/ 0 h 6"/>
                <a:gd name="T4" fmla="*/ 0 w 588"/>
                <a:gd name="T5" fmla="*/ 6 h 6"/>
                <a:gd name="T6" fmla="*/ 588 w 588"/>
                <a:gd name="T7" fmla="*/ 6 h 6"/>
              </a:gdLst>
              <a:ahLst/>
              <a:cxnLst>
                <a:cxn ang="0">
                  <a:pos x="T0" y="T1"/>
                </a:cxn>
                <a:cxn ang="0">
                  <a:pos x="T2" y="T3"/>
                </a:cxn>
                <a:cxn ang="0">
                  <a:pos x="T4" y="T5"/>
                </a:cxn>
                <a:cxn ang="0">
                  <a:pos x="T6" y="T7"/>
                </a:cxn>
              </a:cxnLst>
              <a:rect l="0" t="0" r="r" b="b"/>
              <a:pathLst>
                <a:path w="588" h="6">
                  <a:moveTo>
                    <a:pt x="588" y="0"/>
                  </a:moveTo>
                  <a:lnTo>
                    <a:pt x="0" y="0"/>
                  </a:lnTo>
                  <a:lnTo>
                    <a:pt x="0" y="6"/>
                  </a:lnTo>
                  <a:lnTo>
                    <a:pt x="58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68" name="Rectangle 146"/>
            <p:cNvSpPr>
              <a:spLocks noChangeArrowheads="1"/>
            </p:cNvSpPr>
            <p:nvPr userDrawn="1"/>
          </p:nvSpPr>
          <p:spPr bwMode="auto">
            <a:xfrm>
              <a:off x="3194362" y="5785052"/>
              <a:ext cx="318968" cy="9968"/>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69" name="Freeform 147"/>
            <p:cNvSpPr/>
            <p:nvPr userDrawn="1"/>
          </p:nvSpPr>
          <p:spPr bwMode="auto">
            <a:xfrm>
              <a:off x="3194362" y="5785052"/>
              <a:ext cx="318968" cy="9968"/>
            </a:xfrm>
            <a:custGeom>
              <a:avLst/>
              <a:gdLst>
                <a:gd name="T0" fmla="*/ 192 w 192"/>
                <a:gd name="T1" fmla="*/ 0 h 6"/>
                <a:gd name="T2" fmla="*/ 0 w 192"/>
                <a:gd name="T3" fmla="*/ 0 h 6"/>
                <a:gd name="T4" fmla="*/ 0 w 192"/>
                <a:gd name="T5" fmla="*/ 6 h 6"/>
                <a:gd name="T6" fmla="*/ 192 w 192"/>
                <a:gd name="T7" fmla="*/ 6 h 6"/>
              </a:gdLst>
              <a:ahLst/>
              <a:cxnLst>
                <a:cxn ang="0">
                  <a:pos x="T0" y="T1"/>
                </a:cxn>
                <a:cxn ang="0">
                  <a:pos x="T2" y="T3"/>
                </a:cxn>
                <a:cxn ang="0">
                  <a:pos x="T4" y="T5"/>
                </a:cxn>
                <a:cxn ang="0">
                  <a:pos x="T6" y="T7"/>
                </a:cxn>
              </a:cxnLst>
              <a:rect l="0" t="0" r="r" b="b"/>
              <a:pathLst>
                <a:path w="192" h="6">
                  <a:moveTo>
                    <a:pt x="192" y="0"/>
                  </a:moveTo>
                  <a:lnTo>
                    <a:pt x="0" y="0"/>
                  </a:lnTo>
                  <a:lnTo>
                    <a:pt x="0" y="6"/>
                  </a:lnTo>
                  <a:lnTo>
                    <a:pt x="19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3" name="Freeform 151"/>
            <p:cNvSpPr/>
            <p:nvPr userDrawn="1"/>
          </p:nvSpPr>
          <p:spPr bwMode="auto">
            <a:xfrm>
              <a:off x="5262669" y="3673552"/>
              <a:ext cx="820677" cy="573146"/>
            </a:xfrm>
            <a:custGeom>
              <a:avLst/>
              <a:gdLst>
                <a:gd name="T0" fmla="*/ 313 w 316"/>
                <a:gd name="T1" fmla="*/ 0 h 221"/>
                <a:gd name="T2" fmla="*/ 176 w 316"/>
                <a:gd name="T3" fmla="*/ 81 h 221"/>
                <a:gd name="T4" fmla="*/ 0 w 316"/>
                <a:gd name="T5" fmla="*/ 135 h 221"/>
                <a:gd name="T6" fmla="*/ 11 w 316"/>
                <a:gd name="T7" fmla="*/ 221 h 221"/>
                <a:gd name="T8" fmla="*/ 316 w 316"/>
                <a:gd name="T9" fmla="*/ 99 h 221"/>
                <a:gd name="T10" fmla="*/ 313 w 316"/>
                <a:gd name="T11" fmla="*/ 0 h 221"/>
              </a:gdLst>
              <a:ahLst/>
              <a:cxnLst>
                <a:cxn ang="0">
                  <a:pos x="T0" y="T1"/>
                </a:cxn>
                <a:cxn ang="0">
                  <a:pos x="T2" y="T3"/>
                </a:cxn>
                <a:cxn ang="0">
                  <a:pos x="T4" y="T5"/>
                </a:cxn>
                <a:cxn ang="0">
                  <a:pos x="T6" y="T7"/>
                </a:cxn>
                <a:cxn ang="0">
                  <a:pos x="T8" y="T9"/>
                </a:cxn>
                <a:cxn ang="0">
                  <a:pos x="T10" y="T11"/>
                </a:cxn>
              </a:cxnLst>
              <a:rect l="0" t="0" r="r" b="b"/>
              <a:pathLst>
                <a:path w="316" h="221">
                  <a:moveTo>
                    <a:pt x="313" y="0"/>
                  </a:moveTo>
                  <a:cubicBezTo>
                    <a:pt x="260" y="0"/>
                    <a:pt x="190" y="74"/>
                    <a:pt x="176" y="81"/>
                  </a:cubicBezTo>
                  <a:cubicBezTo>
                    <a:pt x="146" y="95"/>
                    <a:pt x="90" y="125"/>
                    <a:pt x="0" y="135"/>
                  </a:cubicBezTo>
                  <a:cubicBezTo>
                    <a:pt x="11" y="221"/>
                    <a:pt x="11" y="221"/>
                    <a:pt x="11" y="221"/>
                  </a:cubicBezTo>
                  <a:cubicBezTo>
                    <a:pt x="11" y="221"/>
                    <a:pt x="223" y="209"/>
                    <a:pt x="316" y="99"/>
                  </a:cubicBezTo>
                  <a:cubicBezTo>
                    <a:pt x="313" y="0"/>
                    <a:pt x="313" y="0"/>
                    <a:pt x="313" y="0"/>
                  </a:cubicBezTo>
                </a:path>
              </a:pathLst>
            </a:cu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4" name="Freeform 152"/>
            <p:cNvSpPr/>
            <p:nvPr userDrawn="1"/>
          </p:nvSpPr>
          <p:spPr bwMode="auto">
            <a:xfrm>
              <a:off x="2489975" y="2239859"/>
              <a:ext cx="2834161" cy="46516"/>
            </a:xfrm>
            <a:custGeom>
              <a:avLst/>
              <a:gdLst>
                <a:gd name="T0" fmla="*/ 1092 w 1092"/>
                <a:gd name="T1" fmla="*/ 0 h 18"/>
                <a:gd name="T2" fmla="*/ 152 w 1092"/>
                <a:gd name="T3" fmla="*/ 0 h 18"/>
                <a:gd name="T4" fmla="*/ 151 w 1092"/>
                <a:gd name="T5" fmla="*/ 3 h 18"/>
                <a:gd name="T6" fmla="*/ 147 w 1092"/>
                <a:gd name="T7" fmla="*/ 2 h 18"/>
                <a:gd name="T8" fmla="*/ 148 w 1092"/>
                <a:gd name="T9" fmla="*/ 0 h 18"/>
                <a:gd name="T10" fmla="*/ 0 w 1092"/>
                <a:gd name="T11" fmla="*/ 0 h 18"/>
                <a:gd name="T12" fmla="*/ 0 w 1092"/>
                <a:gd name="T13" fmla="*/ 18 h 18"/>
                <a:gd name="T14" fmla="*/ 144 w 1092"/>
                <a:gd name="T15" fmla="*/ 18 h 18"/>
                <a:gd name="T16" fmla="*/ 146 w 1092"/>
                <a:gd name="T17" fmla="*/ 10 h 18"/>
                <a:gd name="T18" fmla="*/ 149 w 1092"/>
                <a:gd name="T19" fmla="*/ 11 h 18"/>
                <a:gd name="T20" fmla="*/ 148 w 1092"/>
                <a:gd name="T21" fmla="*/ 18 h 18"/>
                <a:gd name="T22" fmla="*/ 1092 w 1092"/>
                <a:gd name="T23" fmla="*/ 18 h 18"/>
                <a:gd name="T24" fmla="*/ 1092 w 1092"/>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8">
                  <a:moveTo>
                    <a:pt x="1092" y="0"/>
                  </a:moveTo>
                  <a:cubicBezTo>
                    <a:pt x="152" y="0"/>
                    <a:pt x="152" y="0"/>
                    <a:pt x="152" y="0"/>
                  </a:cubicBezTo>
                  <a:cubicBezTo>
                    <a:pt x="152" y="1"/>
                    <a:pt x="151" y="2"/>
                    <a:pt x="151" y="3"/>
                  </a:cubicBezTo>
                  <a:cubicBezTo>
                    <a:pt x="147" y="2"/>
                    <a:pt x="147" y="2"/>
                    <a:pt x="147" y="2"/>
                  </a:cubicBezTo>
                  <a:cubicBezTo>
                    <a:pt x="147" y="2"/>
                    <a:pt x="148" y="1"/>
                    <a:pt x="148" y="0"/>
                  </a:cubicBezTo>
                  <a:cubicBezTo>
                    <a:pt x="0" y="0"/>
                    <a:pt x="0" y="0"/>
                    <a:pt x="0" y="0"/>
                  </a:cubicBezTo>
                  <a:cubicBezTo>
                    <a:pt x="0" y="18"/>
                    <a:pt x="0" y="18"/>
                    <a:pt x="0" y="18"/>
                  </a:cubicBezTo>
                  <a:cubicBezTo>
                    <a:pt x="144" y="18"/>
                    <a:pt x="144" y="18"/>
                    <a:pt x="144" y="18"/>
                  </a:cubicBezTo>
                  <a:cubicBezTo>
                    <a:pt x="145" y="16"/>
                    <a:pt x="145" y="13"/>
                    <a:pt x="146" y="10"/>
                  </a:cubicBezTo>
                  <a:cubicBezTo>
                    <a:pt x="149" y="11"/>
                    <a:pt x="149" y="11"/>
                    <a:pt x="149" y="11"/>
                  </a:cubicBezTo>
                  <a:cubicBezTo>
                    <a:pt x="149" y="14"/>
                    <a:pt x="149" y="16"/>
                    <a:pt x="148" y="18"/>
                  </a:cubicBezTo>
                  <a:cubicBezTo>
                    <a:pt x="1092" y="18"/>
                    <a:pt x="1092" y="18"/>
                    <a:pt x="1092" y="18"/>
                  </a:cubicBezTo>
                  <a:cubicBezTo>
                    <a:pt x="1092" y="0"/>
                    <a:pt x="1092" y="0"/>
                    <a:pt x="1092" y="0"/>
                  </a:cubicBezTo>
                </a:path>
              </a:pathLst>
            </a:custGeom>
            <a:solidFill>
              <a:srgbClr val="BED6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6" name="Freeform 154"/>
            <p:cNvSpPr/>
            <p:nvPr userDrawn="1"/>
          </p:nvSpPr>
          <p:spPr bwMode="auto">
            <a:xfrm>
              <a:off x="2489975" y="2286375"/>
              <a:ext cx="2834161" cy="104662"/>
            </a:xfrm>
            <a:custGeom>
              <a:avLst/>
              <a:gdLst>
                <a:gd name="T0" fmla="*/ 1706 w 1706"/>
                <a:gd name="T1" fmla="*/ 0 h 63"/>
                <a:gd name="T2" fmla="*/ 232 w 1706"/>
                <a:gd name="T3" fmla="*/ 0 h 63"/>
                <a:gd name="T4" fmla="*/ 225 w 1706"/>
                <a:gd name="T5" fmla="*/ 0 h 63"/>
                <a:gd name="T6" fmla="*/ 0 w 1706"/>
                <a:gd name="T7" fmla="*/ 0 h 63"/>
                <a:gd name="T8" fmla="*/ 0 w 1706"/>
                <a:gd name="T9" fmla="*/ 63 h 63"/>
                <a:gd name="T10" fmla="*/ 1706 w 1706"/>
                <a:gd name="T11" fmla="*/ 63 h 63"/>
                <a:gd name="T12" fmla="*/ 1706 w 1706"/>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06" h="63">
                  <a:moveTo>
                    <a:pt x="1706" y="0"/>
                  </a:moveTo>
                  <a:lnTo>
                    <a:pt x="232" y="0"/>
                  </a:lnTo>
                  <a:lnTo>
                    <a:pt x="225" y="0"/>
                  </a:lnTo>
                  <a:lnTo>
                    <a:pt x="0" y="0"/>
                  </a:lnTo>
                  <a:lnTo>
                    <a:pt x="0" y="63"/>
                  </a:lnTo>
                  <a:lnTo>
                    <a:pt x="1706" y="63"/>
                  </a:lnTo>
                  <a:lnTo>
                    <a:pt x="1706" y="0"/>
                  </a:lnTo>
                  <a:close/>
                </a:path>
              </a:pathLst>
            </a:custGeom>
            <a:solidFill>
              <a:srgbClr val="85B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7" name="Freeform 155"/>
            <p:cNvSpPr/>
            <p:nvPr userDrawn="1"/>
          </p:nvSpPr>
          <p:spPr bwMode="auto">
            <a:xfrm>
              <a:off x="2489975" y="2286375"/>
              <a:ext cx="2834161" cy="104662"/>
            </a:xfrm>
            <a:custGeom>
              <a:avLst/>
              <a:gdLst>
                <a:gd name="T0" fmla="*/ 1706 w 1706"/>
                <a:gd name="T1" fmla="*/ 0 h 63"/>
                <a:gd name="T2" fmla="*/ 232 w 1706"/>
                <a:gd name="T3" fmla="*/ 0 h 63"/>
                <a:gd name="T4" fmla="*/ 225 w 1706"/>
                <a:gd name="T5" fmla="*/ 0 h 63"/>
                <a:gd name="T6" fmla="*/ 0 w 1706"/>
                <a:gd name="T7" fmla="*/ 0 h 63"/>
                <a:gd name="T8" fmla="*/ 0 w 1706"/>
                <a:gd name="T9" fmla="*/ 63 h 63"/>
                <a:gd name="T10" fmla="*/ 1706 w 1706"/>
                <a:gd name="T11" fmla="*/ 63 h 63"/>
                <a:gd name="T12" fmla="*/ 1706 w 1706"/>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06" h="63">
                  <a:moveTo>
                    <a:pt x="1706" y="0"/>
                  </a:moveTo>
                  <a:lnTo>
                    <a:pt x="232" y="0"/>
                  </a:lnTo>
                  <a:lnTo>
                    <a:pt x="225" y="0"/>
                  </a:lnTo>
                  <a:lnTo>
                    <a:pt x="0" y="0"/>
                  </a:lnTo>
                  <a:lnTo>
                    <a:pt x="0" y="63"/>
                  </a:lnTo>
                  <a:lnTo>
                    <a:pt x="1706" y="63"/>
                  </a:lnTo>
                  <a:lnTo>
                    <a:pt x="17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8" name="Freeform 156"/>
            <p:cNvSpPr/>
            <p:nvPr userDrawn="1"/>
          </p:nvSpPr>
          <p:spPr bwMode="auto">
            <a:xfrm>
              <a:off x="2489975" y="2401004"/>
              <a:ext cx="2834161" cy="147855"/>
            </a:xfrm>
            <a:custGeom>
              <a:avLst/>
              <a:gdLst>
                <a:gd name="T0" fmla="*/ 1092 w 1092"/>
                <a:gd name="T1" fmla="*/ 0 h 57"/>
                <a:gd name="T2" fmla="*/ 0 w 1092"/>
                <a:gd name="T3" fmla="*/ 0 h 57"/>
                <a:gd name="T4" fmla="*/ 0 w 1092"/>
                <a:gd name="T5" fmla="*/ 57 h 57"/>
                <a:gd name="T6" fmla="*/ 28 w 1092"/>
                <a:gd name="T7" fmla="*/ 34 h 57"/>
                <a:gd name="T8" fmla="*/ 1092 w 1092"/>
                <a:gd name="T9" fmla="*/ 34 h 57"/>
                <a:gd name="T10" fmla="*/ 1092 w 1092"/>
                <a:gd name="T11" fmla="*/ 0 h 57"/>
              </a:gdLst>
              <a:ahLst/>
              <a:cxnLst>
                <a:cxn ang="0">
                  <a:pos x="T0" y="T1"/>
                </a:cxn>
                <a:cxn ang="0">
                  <a:pos x="T2" y="T3"/>
                </a:cxn>
                <a:cxn ang="0">
                  <a:pos x="T4" y="T5"/>
                </a:cxn>
                <a:cxn ang="0">
                  <a:pos x="T6" y="T7"/>
                </a:cxn>
                <a:cxn ang="0">
                  <a:pos x="T8" y="T9"/>
                </a:cxn>
                <a:cxn ang="0">
                  <a:pos x="T10" y="T11"/>
                </a:cxn>
              </a:cxnLst>
              <a:rect l="0" t="0" r="r" b="b"/>
              <a:pathLst>
                <a:path w="1092" h="57">
                  <a:moveTo>
                    <a:pt x="1092" y="0"/>
                  </a:moveTo>
                  <a:cubicBezTo>
                    <a:pt x="0" y="0"/>
                    <a:pt x="0" y="0"/>
                    <a:pt x="0" y="0"/>
                  </a:cubicBezTo>
                  <a:cubicBezTo>
                    <a:pt x="0" y="57"/>
                    <a:pt x="0" y="57"/>
                    <a:pt x="0" y="57"/>
                  </a:cubicBezTo>
                  <a:cubicBezTo>
                    <a:pt x="3" y="44"/>
                    <a:pt x="14" y="34"/>
                    <a:pt x="28" y="34"/>
                  </a:cubicBezTo>
                  <a:cubicBezTo>
                    <a:pt x="1092" y="34"/>
                    <a:pt x="1092" y="34"/>
                    <a:pt x="1092" y="34"/>
                  </a:cubicBezTo>
                  <a:cubicBezTo>
                    <a:pt x="1092" y="0"/>
                    <a:pt x="1092" y="0"/>
                    <a:pt x="1092" y="0"/>
                  </a:cubicBezTo>
                </a:path>
              </a:pathLst>
            </a:custGeom>
            <a:solidFill>
              <a:srgbClr val="BED6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9" name="Rectangle 157"/>
            <p:cNvSpPr>
              <a:spLocks noChangeArrowheads="1"/>
            </p:cNvSpPr>
            <p:nvPr userDrawn="1"/>
          </p:nvSpPr>
          <p:spPr bwMode="auto">
            <a:xfrm>
              <a:off x="2489975" y="2391037"/>
              <a:ext cx="2834161" cy="9968"/>
            </a:xfrm>
            <a:prstGeom prst="rect">
              <a:avLst/>
            </a:prstGeom>
            <a:solidFill>
              <a:srgbClr val="3677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80" name="Rectangle 158"/>
            <p:cNvSpPr>
              <a:spLocks noChangeArrowheads="1"/>
            </p:cNvSpPr>
            <p:nvPr userDrawn="1"/>
          </p:nvSpPr>
          <p:spPr bwMode="auto">
            <a:xfrm>
              <a:off x="2489975" y="2391037"/>
              <a:ext cx="2834161"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182" name="Freeform 160"/>
            <p:cNvSpPr/>
            <p:nvPr userDrawn="1"/>
          </p:nvSpPr>
          <p:spPr bwMode="auto">
            <a:xfrm>
              <a:off x="2489975" y="3088778"/>
              <a:ext cx="189387" cy="694419"/>
            </a:xfrm>
            <a:custGeom>
              <a:avLst/>
              <a:gdLst>
                <a:gd name="T0" fmla="*/ 46 w 73"/>
                <a:gd name="T1" fmla="*/ 0 h 268"/>
                <a:gd name="T2" fmla="*/ 0 w 73"/>
                <a:gd name="T3" fmla="*/ 0 h 268"/>
                <a:gd name="T4" fmla="*/ 0 w 73"/>
                <a:gd name="T5" fmla="*/ 4 h 268"/>
                <a:gd name="T6" fmla="*/ 46 w 73"/>
                <a:gd name="T7" fmla="*/ 4 h 268"/>
                <a:gd name="T8" fmla="*/ 63 w 73"/>
                <a:gd name="T9" fmla="*/ 11 h 268"/>
                <a:gd name="T10" fmla="*/ 69 w 73"/>
                <a:gd name="T11" fmla="*/ 27 h 268"/>
                <a:gd name="T12" fmla="*/ 69 w 73"/>
                <a:gd name="T13" fmla="*/ 241 h 268"/>
                <a:gd name="T14" fmla="*/ 63 w 73"/>
                <a:gd name="T15" fmla="*/ 258 h 268"/>
                <a:gd name="T16" fmla="*/ 46 w 73"/>
                <a:gd name="T17" fmla="*/ 264 h 268"/>
                <a:gd name="T18" fmla="*/ 46 w 73"/>
                <a:gd name="T19" fmla="*/ 264 h 268"/>
                <a:gd name="T20" fmla="*/ 0 w 73"/>
                <a:gd name="T21" fmla="*/ 264 h 268"/>
                <a:gd name="T22" fmla="*/ 0 w 73"/>
                <a:gd name="T23" fmla="*/ 268 h 268"/>
                <a:gd name="T24" fmla="*/ 46 w 73"/>
                <a:gd name="T25" fmla="*/ 268 h 268"/>
                <a:gd name="T26" fmla="*/ 73 w 73"/>
                <a:gd name="T27" fmla="*/ 241 h 268"/>
                <a:gd name="T28" fmla="*/ 73 w 73"/>
                <a:gd name="T29" fmla="*/ 27 h 268"/>
                <a:gd name="T30" fmla="*/ 46 w 73"/>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268">
                  <a:moveTo>
                    <a:pt x="46" y="0"/>
                  </a:moveTo>
                  <a:cubicBezTo>
                    <a:pt x="0" y="0"/>
                    <a:pt x="0" y="0"/>
                    <a:pt x="0" y="0"/>
                  </a:cubicBezTo>
                  <a:cubicBezTo>
                    <a:pt x="0" y="4"/>
                    <a:pt x="0" y="4"/>
                    <a:pt x="0" y="4"/>
                  </a:cubicBezTo>
                  <a:cubicBezTo>
                    <a:pt x="46" y="4"/>
                    <a:pt x="46" y="4"/>
                    <a:pt x="46" y="4"/>
                  </a:cubicBezTo>
                  <a:cubicBezTo>
                    <a:pt x="53" y="4"/>
                    <a:pt x="58" y="7"/>
                    <a:pt x="63" y="11"/>
                  </a:cubicBezTo>
                  <a:cubicBezTo>
                    <a:pt x="67" y="15"/>
                    <a:pt x="69" y="21"/>
                    <a:pt x="69" y="27"/>
                  </a:cubicBezTo>
                  <a:cubicBezTo>
                    <a:pt x="69" y="241"/>
                    <a:pt x="69" y="241"/>
                    <a:pt x="69" y="241"/>
                  </a:cubicBezTo>
                  <a:cubicBezTo>
                    <a:pt x="69" y="248"/>
                    <a:pt x="67" y="254"/>
                    <a:pt x="63" y="258"/>
                  </a:cubicBezTo>
                  <a:cubicBezTo>
                    <a:pt x="58" y="262"/>
                    <a:pt x="53" y="264"/>
                    <a:pt x="46" y="264"/>
                  </a:cubicBezTo>
                  <a:cubicBezTo>
                    <a:pt x="46" y="264"/>
                    <a:pt x="46" y="264"/>
                    <a:pt x="46" y="264"/>
                  </a:cubicBezTo>
                  <a:cubicBezTo>
                    <a:pt x="0" y="264"/>
                    <a:pt x="0" y="264"/>
                    <a:pt x="0" y="264"/>
                  </a:cubicBezTo>
                  <a:cubicBezTo>
                    <a:pt x="0" y="268"/>
                    <a:pt x="0" y="268"/>
                    <a:pt x="0" y="268"/>
                  </a:cubicBezTo>
                  <a:cubicBezTo>
                    <a:pt x="46" y="268"/>
                    <a:pt x="46" y="268"/>
                    <a:pt x="46" y="268"/>
                  </a:cubicBezTo>
                  <a:cubicBezTo>
                    <a:pt x="61" y="268"/>
                    <a:pt x="73" y="256"/>
                    <a:pt x="73" y="241"/>
                  </a:cubicBezTo>
                  <a:cubicBezTo>
                    <a:pt x="73" y="27"/>
                    <a:pt x="73" y="27"/>
                    <a:pt x="73" y="27"/>
                  </a:cubicBezTo>
                  <a:cubicBezTo>
                    <a:pt x="73" y="12"/>
                    <a:pt x="61" y="0"/>
                    <a:pt x="46"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84" name="Freeform 162"/>
            <p:cNvSpPr>
              <a:spLocks noEditPoints="1"/>
            </p:cNvSpPr>
            <p:nvPr userDrawn="1"/>
          </p:nvSpPr>
          <p:spPr bwMode="auto">
            <a:xfrm>
              <a:off x="2489975" y="3296439"/>
              <a:ext cx="53161" cy="79742"/>
            </a:xfrm>
            <a:custGeom>
              <a:avLst/>
              <a:gdLst>
                <a:gd name="T0" fmla="*/ 20 w 20"/>
                <a:gd name="T1" fmla="*/ 15 h 31"/>
                <a:gd name="T2" fmla="*/ 18 w 20"/>
                <a:gd name="T3" fmla="*/ 15 h 31"/>
                <a:gd name="T4" fmla="*/ 16 w 20"/>
                <a:gd name="T5" fmla="*/ 15 h 31"/>
                <a:gd name="T6" fmla="*/ 5 w 20"/>
                <a:gd name="T7" fmla="*/ 27 h 31"/>
                <a:gd name="T8" fmla="*/ 0 w 20"/>
                <a:gd name="T9" fmla="*/ 26 h 31"/>
                <a:gd name="T10" fmla="*/ 0 w 20"/>
                <a:gd name="T11" fmla="*/ 30 h 31"/>
                <a:gd name="T12" fmla="*/ 5 w 20"/>
                <a:gd name="T13" fmla="*/ 31 h 31"/>
                <a:gd name="T14" fmla="*/ 20 w 20"/>
                <a:gd name="T15" fmla="*/ 15 h 31"/>
                <a:gd name="T16" fmla="*/ 20 w 20"/>
                <a:gd name="T17" fmla="*/ 15 h 31"/>
                <a:gd name="T18" fmla="*/ 20 w 20"/>
                <a:gd name="T19" fmla="*/ 15 h 31"/>
                <a:gd name="T20" fmla="*/ 20 w 20"/>
                <a:gd name="T21" fmla="*/ 15 h 31"/>
                <a:gd name="T22" fmla="*/ 5 w 20"/>
                <a:gd name="T23" fmla="*/ 0 h 31"/>
                <a:gd name="T24" fmla="*/ 0 w 20"/>
                <a:gd name="T25" fmla="*/ 1 h 31"/>
                <a:gd name="T26" fmla="*/ 0 w 20"/>
                <a:gd name="T27" fmla="*/ 5 h 31"/>
                <a:gd name="T28" fmla="*/ 5 w 20"/>
                <a:gd name="T29" fmla="*/ 4 h 31"/>
                <a:gd name="T30" fmla="*/ 16 w 20"/>
                <a:gd name="T31" fmla="*/ 15 h 31"/>
                <a:gd name="T32" fmla="*/ 18 w 20"/>
                <a:gd name="T33" fmla="*/ 15 h 31"/>
                <a:gd name="T34" fmla="*/ 20 w 20"/>
                <a:gd name="T35" fmla="*/ 15 h 31"/>
                <a:gd name="T36" fmla="*/ 20 w 20"/>
                <a:gd name="T37" fmla="*/ 15 h 31"/>
                <a:gd name="T38" fmla="*/ 5 w 20"/>
                <a:gd name="T3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31">
                  <a:moveTo>
                    <a:pt x="20" y="15"/>
                  </a:moveTo>
                  <a:cubicBezTo>
                    <a:pt x="18" y="15"/>
                    <a:pt x="18" y="15"/>
                    <a:pt x="18" y="15"/>
                  </a:cubicBezTo>
                  <a:cubicBezTo>
                    <a:pt x="16" y="15"/>
                    <a:pt x="16" y="15"/>
                    <a:pt x="16" y="15"/>
                  </a:cubicBezTo>
                  <a:cubicBezTo>
                    <a:pt x="16" y="22"/>
                    <a:pt x="11" y="27"/>
                    <a:pt x="5" y="27"/>
                  </a:cubicBezTo>
                  <a:cubicBezTo>
                    <a:pt x="3" y="27"/>
                    <a:pt x="1" y="26"/>
                    <a:pt x="0" y="26"/>
                  </a:cubicBezTo>
                  <a:cubicBezTo>
                    <a:pt x="0" y="30"/>
                    <a:pt x="0" y="30"/>
                    <a:pt x="0" y="30"/>
                  </a:cubicBezTo>
                  <a:cubicBezTo>
                    <a:pt x="1" y="30"/>
                    <a:pt x="3" y="31"/>
                    <a:pt x="5" y="31"/>
                  </a:cubicBezTo>
                  <a:cubicBezTo>
                    <a:pt x="13" y="31"/>
                    <a:pt x="20" y="24"/>
                    <a:pt x="20" y="15"/>
                  </a:cubicBezTo>
                  <a:moveTo>
                    <a:pt x="20" y="15"/>
                  </a:moveTo>
                  <a:cubicBezTo>
                    <a:pt x="20" y="15"/>
                    <a:pt x="20" y="15"/>
                    <a:pt x="20" y="15"/>
                  </a:cubicBezTo>
                  <a:cubicBezTo>
                    <a:pt x="20" y="15"/>
                    <a:pt x="20" y="15"/>
                    <a:pt x="20" y="15"/>
                  </a:cubicBezTo>
                  <a:moveTo>
                    <a:pt x="5" y="0"/>
                  </a:moveTo>
                  <a:cubicBezTo>
                    <a:pt x="3" y="0"/>
                    <a:pt x="1" y="0"/>
                    <a:pt x="0" y="1"/>
                  </a:cubicBezTo>
                  <a:cubicBezTo>
                    <a:pt x="0" y="5"/>
                    <a:pt x="0" y="5"/>
                    <a:pt x="0" y="5"/>
                  </a:cubicBezTo>
                  <a:cubicBezTo>
                    <a:pt x="1" y="4"/>
                    <a:pt x="3" y="4"/>
                    <a:pt x="5" y="4"/>
                  </a:cubicBezTo>
                  <a:cubicBezTo>
                    <a:pt x="11" y="4"/>
                    <a:pt x="16" y="9"/>
                    <a:pt x="16" y="15"/>
                  </a:cubicBezTo>
                  <a:cubicBezTo>
                    <a:pt x="18" y="15"/>
                    <a:pt x="18" y="15"/>
                    <a:pt x="18" y="15"/>
                  </a:cubicBezTo>
                  <a:cubicBezTo>
                    <a:pt x="20" y="15"/>
                    <a:pt x="20" y="15"/>
                    <a:pt x="20" y="15"/>
                  </a:cubicBezTo>
                  <a:cubicBezTo>
                    <a:pt x="20" y="15"/>
                    <a:pt x="20" y="15"/>
                    <a:pt x="20" y="15"/>
                  </a:cubicBezTo>
                  <a:cubicBezTo>
                    <a:pt x="20" y="7"/>
                    <a:pt x="13" y="0"/>
                    <a:pt x="5"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93" name="Freeform 171"/>
            <p:cNvSpPr/>
            <p:nvPr userDrawn="1"/>
          </p:nvSpPr>
          <p:spPr bwMode="auto">
            <a:xfrm>
              <a:off x="5134749" y="3088778"/>
              <a:ext cx="189387" cy="694419"/>
            </a:xfrm>
            <a:custGeom>
              <a:avLst/>
              <a:gdLst>
                <a:gd name="T0" fmla="*/ 73 w 73"/>
                <a:gd name="T1" fmla="*/ 0 h 268"/>
                <a:gd name="T2" fmla="*/ 27 w 73"/>
                <a:gd name="T3" fmla="*/ 0 h 268"/>
                <a:gd name="T4" fmla="*/ 0 w 73"/>
                <a:gd name="T5" fmla="*/ 27 h 268"/>
                <a:gd name="T6" fmla="*/ 0 w 73"/>
                <a:gd name="T7" fmla="*/ 241 h 268"/>
                <a:gd name="T8" fmla="*/ 27 w 73"/>
                <a:gd name="T9" fmla="*/ 268 h 268"/>
                <a:gd name="T10" fmla="*/ 73 w 73"/>
                <a:gd name="T11" fmla="*/ 268 h 268"/>
                <a:gd name="T12" fmla="*/ 73 w 73"/>
                <a:gd name="T13" fmla="*/ 264 h 268"/>
                <a:gd name="T14" fmla="*/ 27 w 73"/>
                <a:gd name="T15" fmla="*/ 264 h 268"/>
                <a:gd name="T16" fmla="*/ 10 w 73"/>
                <a:gd name="T17" fmla="*/ 258 h 268"/>
                <a:gd name="T18" fmla="*/ 4 w 73"/>
                <a:gd name="T19" fmla="*/ 241 h 268"/>
                <a:gd name="T20" fmla="*/ 4 w 73"/>
                <a:gd name="T21" fmla="*/ 27 h 268"/>
                <a:gd name="T22" fmla="*/ 10 w 73"/>
                <a:gd name="T23" fmla="*/ 11 h 268"/>
                <a:gd name="T24" fmla="*/ 27 w 73"/>
                <a:gd name="T25" fmla="*/ 4 h 268"/>
                <a:gd name="T26" fmla="*/ 73 w 73"/>
                <a:gd name="T27" fmla="*/ 4 h 268"/>
                <a:gd name="T28" fmla="*/ 73 w 73"/>
                <a:gd name="T2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268">
                  <a:moveTo>
                    <a:pt x="73" y="0"/>
                  </a:moveTo>
                  <a:cubicBezTo>
                    <a:pt x="27" y="0"/>
                    <a:pt x="27" y="0"/>
                    <a:pt x="27" y="0"/>
                  </a:cubicBezTo>
                  <a:cubicBezTo>
                    <a:pt x="12" y="0"/>
                    <a:pt x="0" y="12"/>
                    <a:pt x="0" y="27"/>
                  </a:cubicBezTo>
                  <a:cubicBezTo>
                    <a:pt x="0" y="241"/>
                    <a:pt x="0" y="241"/>
                    <a:pt x="0" y="241"/>
                  </a:cubicBezTo>
                  <a:cubicBezTo>
                    <a:pt x="0" y="256"/>
                    <a:pt x="12" y="268"/>
                    <a:pt x="27" y="268"/>
                  </a:cubicBezTo>
                  <a:cubicBezTo>
                    <a:pt x="73" y="268"/>
                    <a:pt x="73" y="268"/>
                    <a:pt x="73" y="268"/>
                  </a:cubicBezTo>
                  <a:cubicBezTo>
                    <a:pt x="73" y="264"/>
                    <a:pt x="73" y="264"/>
                    <a:pt x="73" y="264"/>
                  </a:cubicBezTo>
                  <a:cubicBezTo>
                    <a:pt x="27" y="264"/>
                    <a:pt x="27" y="264"/>
                    <a:pt x="27" y="264"/>
                  </a:cubicBezTo>
                  <a:cubicBezTo>
                    <a:pt x="20" y="264"/>
                    <a:pt x="15" y="262"/>
                    <a:pt x="10" y="258"/>
                  </a:cubicBezTo>
                  <a:cubicBezTo>
                    <a:pt x="6" y="254"/>
                    <a:pt x="4" y="248"/>
                    <a:pt x="4" y="241"/>
                  </a:cubicBezTo>
                  <a:cubicBezTo>
                    <a:pt x="4" y="27"/>
                    <a:pt x="4" y="27"/>
                    <a:pt x="4" y="27"/>
                  </a:cubicBezTo>
                  <a:cubicBezTo>
                    <a:pt x="4" y="21"/>
                    <a:pt x="6" y="15"/>
                    <a:pt x="10" y="11"/>
                  </a:cubicBezTo>
                  <a:cubicBezTo>
                    <a:pt x="15" y="7"/>
                    <a:pt x="20" y="4"/>
                    <a:pt x="27" y="4"/>
                  </a:cubicBezTo>
                  <a:cubicBezTo>
                    <a:pt x="73" y="4"/>
                    <a:pt x="73" y="4"/>
                    <a:pt x="73" y="4"/>
                  </a:cubicBezTo>
                  <a:cubicBezTo>
                    <a:pt x="73" y="0"/>
                    <a:pt x="73" y="0"/>
                    <a:pt x="73"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94" name="Freeform 172"/>
            <p:cNvSpPr/>
            <p:nvPr userDrawn="1"/>
          </p:nvSpPr>
          <p:spPr bwMode="auto">
            <a:xfrm>
              <a:off x="5249378" y="3464230"/>
              <a:ext cx="74759" cy="151178"/>
            </a:xfrm>
            <a:custGeom>
              <a:avLst/>
              <a:gdLst>
                <a:gd name="T0" fmla="*/ 29 w 29"/>
                <a:gd name="T1" fmla="*/ 0 h 58"/>
                <a:gd name="T2" fmla="*/ 1 w 29"/>
                <a:gd name="T3" fmla="*/ 55 h 58"/>
                <a:gd name="T4" fmla="*/ 1 w 29"/>
                <a:gd name="T5" fmla="*/ 57 h 58"/>
                <a:gd name="T6" fmla="*/ 2 w 29"/>
                <a:gd name="T7" fmla="*/ 58 h 58"/>
                <a:gd name="T8" fmla="*/ 29 w 29"/>
                <a:gd name="T9" fmla="*/ 58 h 58"/>
                <a:gd name="T10" fmla="*/ 29 w 29"/>
                <a:gd name="T11" fmla="*/ 54 h 58"/>
                <a:gd name="T12" fmla="*/ 6 w 29"/>
                <a:gd name="T13" fmla="*/ 54 h 58"/>
                <a:gd name="T14" fmla="*/ 29 w 29"/>
                <a:gd name="T15" fmla="*/ 9 h 58"/>
                <a:gd name="T16" fmla="*/ 29 w 2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8">
                  <a:moveTo>
                    <a:pt x="29" y="0"/>
                  </a:moveTo>
                  <a:cubicBezTo>
                    <a:pt x="1" y="55"/>
                    <a:pt x="1" y="55"/>
                    <a:pt x="1" y="55"/>
                  </a:cubicBezTo>
                  <a:cubicBezTo>
                    <a:pt x="0" y="56"/>
                    <a:pt x="0" y="57"/>
                    <a:pt x="1" y="57"/>
                  </a:cubicBezTo>
                  <a:cubicBezTo>
                    <a:pt x="1" y="58"/>
                    <a:pt x="2" y="58"/>
                    <a:pt x="2" y="58"/>
                  </a:cubicBezTo>
                  <a:cubicBezTo>
                    <a:pt x="29" y="58"/>
                    <a:pt x="29" y="58"/>
                    <a:pt x="29" y="58"/>
                  </a:cubicBezTo>
                  <a:cubicBezTo>
                    <a:pt x="29" y="54"/>
                    <a:pt x="29" y="54"/>
                    <a:pt x="29" y="54"/>
                  </a:cubicBezTo>
                  <a:cubicBezTo>
                    <a:pt x="6" y="54"/>
                    <a:pt x="6" y="54"/>
                    <a:pt x="6" y="54"/>
                  </a:cubicBezTo>
                  <a:cubicBezTo>
                    <a:pt x="29" y="9"/>
                    <a:pt x="29" y="9"/>
                    <a:pt x="29" y="9"/>
                  </a:cubicBezTo>
                  <a:cubicBezTo>
                    <a:pt x="29" y="0"/>
                    <a:pt x="29" y="0"/>
                    <a:pt x="29"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98" name="Freeform 176"/>
            <p:cNvSpPr>
              <a:spLocks noEditPoints="1"/>
            </p:cNvSpPr>
            <p:nvPr userDrawn="1"/>
          </p:nvSpPr>
          <p:spPr bwMode="auto">
            <a:xfrm>
              <a:off x="3033217" y="3974245"/>
              <a:ext cx="697742" cy="696081"/>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3"/>
                    <a:pt x="4" y="248"/>
                    <a:pt x="4" y="241"/>
                  </a:cubicBezTo>
                  <a:cubicBezTo>
                    <a:pt x="4" y="27"/>
                    <a:pt x="4" y="27"/>
                    <a:pt x="4" y="27"/>
                  </a:cubicBezTo>
                  <a:cubicBezTo>
                    <a:pt x="4" y="21"/>
                    <a:pt x="7" y="15"/>
                    <a:pt x="11" y="11"/>
                  </a:cubicBezTo>
                  <a:cubicBezTo>
                    <a:pt x="15" y="6"/>
                    <a:pt x="21" y="4"/>
                    <a:pt x="27" y="4"/>
                  </a:cubicBezTo>
                  <a:cubicBezTo>
                    <a:pt x="242" y="4"/>
                    <a:pt x="242" y="4"/>
                    <a:pt x="242" y="4"/>
                  </a:cubicBezTo>
                  <a:cubicBezTo>
                    <a:pt x="248" y="4"/>
                    <a:pt x="254" y="6"/>
                    <a:pt x="258" y="11"/>
                  </a:cubicBezTo>
                  <a:cubicBezTo>
                    <a:pt x="262" y="15"/>
                    <a:pt x="265" y="21"/>
                    <a:pt x="265" y="27"/>
                  </a:cubicBezTo>
                  <a:cubicBezTo>
                    <a:pt x="265" y="241"/>
                    <a:pt x="265" y="241"/>
                    <a:pt x="265" y="241"/>
                  </a:cubicBezTo>
                  <a:cubicBezTo>
                    <a:pt x="265" y="248"/>
                    <a:pt x="262" y="253"/>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3" y="0"/>
                    <a:pt x="0" y="12"/>
                    <a:pt x="0" y="27"/>
                  </a:cubicBezTo>
                  <a:cubicBezTo>
                    <a:pt x="0" y="241"/>
                    <a:pt x="0" y="241"/>
                    <a:pt x="0" y="241"/>
                  </a:cubicBezTo>
                  <a:cubicBezTo>
                    <a:pt x="0" y="256"/>
                    <a:pt x="13" y="268"/>
                    <a:pt x="27" y="268"/>
                  </a:cubicBezTo>
                  <a:cubicBezTo>
                    <a:pt x="242" y="268"/>
                    <a:pt x="242" y="268"/>
                    <a:pt x="242" y="268"/>
                  </a:cubicBezTo>
                  <a:cubicBezTo>
                    <a:pt x="257" y="268"/>
                    <a:pt x="269" y="256"/>
                    <a:pt x="269" y="241"/>
                  </a:cubicBezTo>
                  <a:cubicBezTo>
                    <a:pt x="269" y="27"/>
                    <a:pt x="269" y="27"/>
                    <a:pt x="269" y="27"/>
                  </a:cubicBezTo>
                  <a:cubicBezTo>
                    <a:pt x="269" y="12"/>
                    <a:pt x="257"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99" name="Freeform 177"/>
            <p:cNvSpPr>
              <a:spLocks noEditPoints="1"/>
            </p:cNvSpPr>
            <p:nvPr userDrawn="1"/>
          </p:nvSpPr>
          <p:spPr bwMode="auto">
            <a:xfrm>
              <a:off x="3149507" y="4171940"/>
              <a:ext cx="342226" cy="328935"/>
            </a:xfrm>
            <a:custGeom>
              <a:avLst/>
              <a:gdLst>
                <a:gd name="T0" fmla="*/ 6 w 132"/>
                <a:gd name="T1" fmla="*/ 123 h 127"/>
                <a:gd name="T2" fmla="*/ 66 w 132"/>
                <a:gd name="T3" fmla="*/ 6 h 127"/>
                <a:gd name="T4" fmla="*/ 127 w 132"/>
                <a:gd name="T5" fmla="*/ 123 h 127"/>
                <a:gd name="T6" fmla="*/ 6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1 w 132"/>
                <a:gd name="T23" fmla="*/ 126 h 127"/>
                <a:gd name="T24" fmla="*/ 2 w 132"/>
                <a:gd name="T25" fmla="*/ 127 h 127"/>
                <a:gd name="T26" fmla="*/ 130 w 132"/>
                <a:gd name="T27" fmla="*/ 127 h 127"/>
                <a:gd name="T28" fmla="*/ 132 w 132"/>
                <a:gd name="T29" fmla="*/ 126 h 127"/>
                <a:gd name="T30" fmla="*/ 132 w 132"/>
                <a:gd name="T31" fmla="*/ 124 h 127"/>
                <a:gd name="T32" fmla="*/ 68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6" y="123"/>
                  </a:moveTo>
                  <a:cubicBezTo>
                    <a:pt x="66" y="6"/>
                    <a:pt x="66" y="6"/>
                    <a:pt x="66" y="6"/>
                  </a:cubicBezTo>
                  <a:cubicBezTo>
                    <a:pt x="127" y="123"/>
                    <a:pt x="127" y="123"/>
                    <a:pt x="127" y="123"/>
                  </a:cubicBezTo>
                  <a:cubicBezTo>
                    <a:pt x="6" y="123"/>
                    <a:pt x="6" y="123"/>
                    <a:pt x="6" y="123"/>
                  </a:cubicBezTo>
                  <a:moveTo>
                    <a:pt x="64" y="3"/>
                  </a:moveTo>
                  <a:cubicBezTo>
                    <a:pt x="66" y="2"/>
                    <a:pt x="66" y="2"/>
                    <a:pt x="66" y="2"/>
                  </a:cubicBezTo>
                  <a:cubicBezTo>
                    <a:pt x="64" y="3"/>
                    <a:pt x="64" y="3"/>
                    <a:pt x="64" y="3"/>
                  </a:cubicBezTo>
                  <a:moveTo>
                    <a:pt x="66" y="0"/>
                  </a:moveTo>
                  <a:cubicBezTo>
                    <a:pt x="65" y="0"/>
                    <a:pt x="65" y="0"/>
                    <a:pt x="64" y="1"/>
                  </a:cubicBezTo>
                  <a:cubicBezTo>
                    <a:pt x="64" y="1"/>
                    <a:pt x="64" y="1"/>
                    <a:pt x="64" y="1"/>
                  </a:cubicBezTo>
                  <a:cubicBezTo>
                    <a:pt x="0" y="124"/>
                    <a:pt x="0" y="124"/>
                    <a:pt x="0" y="124"/>
                  </a:cubicBezTo>
                  <a:cubicBezTo>
                    <a:pt x="0" y="125"/>
                    <a:pt x="0" y="126"/>
                    <a:pt x="1" y="126"/>
                  </a:cubicBezTo>
                  <a:cubicBezTo>
                    <a:pt x="1" y="127"/>
                    <a:pt x="2" y="127"/>
                    <a:pt x="2" y="127"/>
                  </a:cubicBezTo>
                  <a:cubicBezTo>
                    <a:pt x="130" y="127"/>
                    <a:pt x="130" y="127"/>
                    <a:pt x="130" y="127"/>
                  </a:cubicBezTo>
                  <a:cubicBezTo>
                    <a:pt x="131" y="127"/>
                    <a:pt x="131" y="127"/>
                    <a:pt x="132" y="126"/>
                  </a:cubicBezTo>
                  <a:cubicBezTo>
                    <a:pt x="132" y="126"/>
                    <a:pt x="132" y="125"/>
                    <a:pt x="132" y="124"/>
                  </a:cubicBezTo>
                  <a:cubicBezTo>
                    <a:pt x="68" y="1"/>
                    <a:pt x="68" y="1"/>
                    <a:pt x="68" y="1"/>
                  </a:cubicBezTo>
                  <a:cubicBezTo>
                    <a:pt x="68" y="0"/>
                    <a:pt x="67"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00" name="Freeform 178"/>
            <p:cNvSpPr>
              <a:spLocks noEditPoints="1"/>
            </p:cNvSpPr>
            <p:nvPr userDrawn="1"/>
          </p:nvSpPr>
          <p:spPr bwMode="auto">
            <a:xfrm>
              <a:off x="3453523" y="4276600"/>
              <a:ext cx="161146" cy="224275"/>
            </a:xfrm>
            <a:custGeom>
              <a:avLst/>
              <a:gdLst>
                <a:gd name="T0" fmla="*/ 31 w 62"/>
                <a:gd name="T1" fmla="*/ 83 h 87"/>
                <a:gd name="T2" fmla="*/ 4 w 62"/>
                <a:gd name="T3" fmla="*/ 32 h 87"/>
                <a:gd name="T4" fmla="*/ 17 w 62"/>
                <a:gd name="T5" fmla="*/ 7 h 87"/>
                <a:gd name="T6" fmla="*/ 57 w 62"/>
                <a:gd name="T7" fmla="*/ 83 h 87"/>
                <a:gd name="T8" fmla="*/ 31 w 62"/>
                <a:gd name="T9" fmla="*/ 83 h 87"/>
                <a:gd name="T10" fmla="*/ 16 w 62"/>
                <a:gd name="T11" fmla="*/ 3 h 87"/>
                <a:gd name="T12" fmla="*/ 17 w 62"/>
                <a:gd name="T13" fmla="*/ 2 h 87"/>
                <a:gd name="T14" fmla="*/ 16 w 62"/>
                <a:gd name="T15" fmla="*/ 3 h 87"/>
                <a:gd name="T16" fmla="*/ 17 w 62"/>
                <a:gd name="T17" fmla="*/ 0 h 87"/>
                <a:gd name="T18" fmla="*/ 16 w 62"/>
                <a:gd name="T19" fmla="*/ 1 h 87"/>
                <a:gd name="T20" fmla="*/ 16 w 62"/>
                <a:gd name="T21" fmla="*/ 1 h 87"/>
                <a:gd name="T22" fmla="*/ 0 w 62"/>
                <a:gd name="T23" fmla="*/ 31 h 87"/>
                <a:gd name="T24" fmla="*/ 0 w 62"/>
                <a:gd name="T25" fmla="*/ 33 h 87"/>
                <a:gd name="T26" fmla="*/ 28 w 62"/>
                <a:gd name="T27" fmla="*/ 86 h 87"/>
                <a:gd name="T28" fmla="*/ 29 w 62"/>
                <a:gd name="T29" fmla="*/ 87 h 87"/>
                <a:gd name="T30" fmla="*/ 60 w 62"/>
                <a:gd name="T31" fmla="*/ 87 h 87"/>
                <a:gd name="T32" fmla="*/ 62 w 62"/>
                <a:gd name="T33" fmla="*/ 86 h 87"/>
                <a:gd name="T34" fmla="*/ 62 w 62"/>
                <a:gd name="T35" fmla="*/ 84 h 87"/>
                <a:gd name="T36" fmla="*/ 19 w 62"/>
                <a:gd name="T37" fmla="*/ 1 h 87"/>
                <a:gd name="T38" fmla="*/ 17 w 62"/>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87">
                  <a:moveTo>
                    <a:pt x="31" y="83"/>
                  </a:moveTo>
                  <a:cubicBezTo>
                    <a:pt x="4" y="32"/>
                    <a:pt x="4" y="32"/>
                    <a:pt x="4" y="32"/>
                  </a:cubicBezTo>
                  <a:cubicBezTo>
                    <a:pt x="17" y="7"/>
                    <a:pt x="17" y="7"/>
                    <a:pt x="17" y="7"/>
                  </a:cubicBezTo>
                  <a:cubicBezTo>
                    <a:pt x="57" y="83"/>
                    <a:pt x="57" y="83"/>
                    <a:pt x="57" y="83"/>
                  </a:cubicBezTo>
                  <a:cubicBezTo>
                    <a:pt x="31" y="83"/>
                    <a:pt x="31" y="83"/>
                    <a:pt x="31" y="83"/>
                  </a:cubicBezTo>
                  <a:moveTo>
                    <a:pt x="16" y="3"/>
                  </a:moveTo>
                  <a:cubicBezTo>
                    <a:pt x="17" y="2"/>
                    <a:pt x="17" y="2"/>
                    <a:pt x="17" y="2"/>
                  </a:cubicBezTo>
                  <a:cubicBezTo>
                    <a:pt x="16" y="3"/>
                    <a:pt x="16" y="3"/>
                    <a:pt x="16" y="3"/>
                  </a:cubicBezTo>
                  <a:moveTo>
                    <a:pt x="17" y="0"/>
                  </a:move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29" y="87"/>
                  </a:cubicBezTo>
                  <a:cubicBezTo>
                    <a:pt x="60" y="87"/>
                    <a:pt x="60" y="87"/>
                    <a:pt x="60" y="87"/>
                  </a:cubicBezTo>
                  <a:cubicBezTo>
                    <a:pt x="61" y="87"/>
                    <a:pt x="62" y="87"/>
                    <a:pt x="62" y="86"/>
                  </a:cubicBezTo>
                  <a:cubicBezTo>
                    <a:pt x="62" y="86"/>
                    <a:pt x="62" y="85"/>
                    <a:pt x="62" y="84"/>
                  </a:cubicBezTo>
                  <a:cubicBezTo>
                    <a:pt x="19" y="1"/>
                    <a:pt x="19" y="1"/>
                    <a:pt x="19" y="1"/>
                  </a:cubicBezTo>
                  <a:cubicBezTo>
                    <a:pt x="19" y="1"/>
                    <a:pt x="18" y="0"/>
                    <a:pt x="1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02" name="Freeform 180"/>
            <p:cNvSpPr>
              <a:spLocks noEditPoints="1"/>
            </p:cNvSpPr>
            <p:nvPr userDrawn="1"/>
          </p:nvSpPr>
          <p:spPr bwMode="auto">
            <a:xfrm>
              <a:off x="4084813" y="3974245"/>
              <a:ext cx="697742" cy="696081"/>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3"/>
                    <a:pt x="4" y="248"/>
                    <a:pt x="4" y="241"/>
                  </a:cubicBezTo>
                  <a:cubicBezTo>
                    <a:pt x="4" y="27"/>
                    <a:pt x="4" y="27"/>
                    <a:pt x="4" y="27"/>
                  </a:cubicBezTo>
                  <a:cubicBezTo>
                    <a:pt x="4" y="21"/>
                    <a:pt x="7" y="15"/>
                    <a:pt x="11" y="11"/>
                  </a:cubicBezTo>
                  <a:cubicBezTo>
                    <a:pt x="15" y="6"/>
                    <a:pt x="21" y="4"/>
                    <a:pt x="27" y="4"/>
                  </a:cubicBezTo>
                  <a:cubicBezTo>
                    <a:pt x="242" y="4"/>
                    <a:pt x="242" y="4"/>
                    <a:pt x="242" y="4"/>
                  </a:cubicBezTo>
                  <a:cubicBezTo>
                    <a:pt x="248" y="4"/>
                    <a:pt x="254" y="6"/>
                    <a:pt x="258" y="11"/>
                  </a:cubicBezTo>
                  <a:cubicBezTo>
                    <a:pt x="262" y="15"/>
                    <a:pt x="265" y="21"/>
                    <a:pt x="265" y="27"/>
                  </a:cubicBezTo>
                  <a:cubicBezTo>
                    <a:pt x="265" y="241"/>
                    <a:pt x="265" y="241"/>
                    <a:pt x="265" y="241"/>
                  </a:cubicBezTo>
                  <a:cubicBezTo>
                    <a:pt x="265" y="248"/>
                    <a:pt x="262" y="253"/>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2" y="0"/>
                    <a:pt x="0" y="12"/>
                    <a:pt x="0" y="27"/>
                  </a:cubicBezTo>
                  <a:cubicBezTo>
                    <a:pt x="0" y="241"/>
                    <a:pt x="0" y="241"/>
                    <a:pt x="0" y="241"/>
                  </a:cubicBezTo>
                  <a:cubicBezTo>
                    <a:pt x="0" y="256"/>
                    <a:pt x="12" y="268"/>
                    <a:pt x="27" y="268"/>
                  </a:cubicBezTo>
                  <a:cubicBezTo>
                    <a:pt x="242" y="268"/>
                    <a:pt x="242" y="268"/>
                    <a:pt x="242" y="268"/>
                  </a:cubicBezTo>
                  <a:cubicBezTo>
                    <a:pt x="256" y="268"/>
                    <a:pt x="269" y="256"/>
                    <a:pt x="269" y="241"/>
                  </a:cubicBezTo>
                  <a:cubicBezTo>
                    <a:pt x="269" y="27"/>
                    <a:pt x="269" y="27"/>
                    <a:pt x="269" y="27"/>
                  </a:cubicBezTo>
                  <a:cubicBezTo>
                    <a:pt x="269" y="12"/>
                    <a:pt x="256"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03" name="Freeform 181"/>
            <p:cNvSpPr>
              <a:spLocks noEditPoints="1"/>
            </p:cNvSpPr>
            <p:nvPr userDrawn="1"/>
          </p:nvSpPr>
          <p:spPr bwMode="auto">
            <a:xfrm>
              <a:off x="4201104" y="4171940"/>
              <a:ext cx="342226" cy="328935"/>
            </a:xfrm>
            <a:custGeom>
              <a:avLst/>
              <a:gdLst>
                <a:gd name="T0" fmla="*/ 5 w 132"/>
                <a:gd name="T1" fmla="*/ 123 h 127"/>
                <a:gd name="T2" fmla="*/ 66 w 132"/>
                <a:gd name="T3" fmla="*/ 6 h 127"/>
                <a:gd name="T4" fmla="*/ 126 w 132"/>
                <a:gd name="T5" fmla="*/ 123 h 127"/>
                <a:gd name="T6" fmla="*/ 5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0 w 132"/>
                <a:gd name="T23" fmla="*/ 126 h 127"/>
                <a:gd name="T24" fmla="*/ 2 w 132"/>
                <a:gd name="T25" fmla="*/ 127 h 127"/>
                <a:gd name="T26" fmla="*/ 130 w 132"/>
                <a:gd name="T27" fmla="*/ 127 h 127"/>
                <a:gd name="T28" fmla="*/ 131 w 132"/>
                <a:gd name="T29" fmla="*/ 126 h 127"/>
                <a:gd name="T30" fmla="*/ 131 w 132"/>
                <a:gd name="T31" fmla="*/ 124 h 127"/>
                <a:gd name="T32" fmla="*/ 67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5" y="123"/>
                  </a:moveTo>
                  <a:cubicBezTo>
                    <a:pt x="66" y="6"/>
                    <a:pt x="66" y="6"/>
                    <a:pt x="66" y="6"/>
                  </a:cubicBezTo>
                  <a:cubicBezTo>
                    <a:pt x="126" y="123"/>
                    <a:pt x="126" y="123"/>
                    <a:pt x="126" y="123"/>
                  </a:cubicBezTo>
                  <a:cubicBezTo>
                    <a:pt x="5" y="123"/>
                    <a:pt x="5" y="123"/>
                    <a:pt x="5" y="123"/>
                  </a:cubicBezTo>
                  <a:moveTo>
                    <a:pt x="64" y="3"/>
                  </a:moveTo>
                  <a:cubicBezTo>
                    <a:pt x="66" y="2"/>
                    <a:pt x="66" y="2"/>
                    <a:pt x="66" y="2"/>
                  </a:cubicBezTo>
                  <a:cubicBezTo>
                    <a:pt x="64" y="3"/>
                    <a:pt x="64" y="3"/>
                    <a:pt x="64" y="3"/>
                  </a:cubicBezTo>
                  <a:moveTo>
                    <a:pt x="66" y="0"/>
                  </a:moveTo>
                  <a:cubicBezTo>
                    <a:pt x="65" y="0"/>
                    <a:pt x="64" y="0"/>
                    <a:pt x="64" y="1"/>
                  </a:cubicBezTo>
                  <a:cubicBezTo>
                    <a:pt x="64" y="1"/>
                    <a:pt x="64" y="1"/>
                    <a:pt x="64" y="1"/>
                  </a:cubicBezTo>
                  <a:cubicBezTo>
                    <a:pt x="0" y="124"/>
                    <a:pt x="0" y="124"/>
                    <a:pt x="0" y="124"/>
                  </a:cubicBezTo>
                  <a:cubicBezTo>
                    <a:pt x="0" y="125"/>
                    <a:pt x="0" y="126"/>
                    <a:pt x="0" y="126"/>
                  </a:cubicBezTo>
                  <a:cubicBezTo>
                    <a:pt x="0" y="127"/>
                    <a:pt x="1" y="127"/>
                    <a:pt x="2" y="127"/>
                  </a:cubicBezTo>
                  <a:cubicBezTo>
                    <a:pt x="130" y="127"/>
                    <a:pt x="130" y="127"/>
                    <a:pt x="130" y="127"/>
                  </a:cubicBezTo>
                  <a:cubicBezTo>
                    <a:pt x="130" y="127"/>
                    <a:pt x="131" y="127"/>
                    <a:pt x="131" y="126"/>
                  </a:cubicBezTo>
                  <a:cubicBezTo>
                    <a:pt x="132" y="126"/>
                    <a:pt x="132" y="125"/>
                    <a:pt x="131" y="124"/>
                  </a:cubicBezTo>
                  <a:cubicBezTo>
                    <a:pt x="67" y="1"/>
                    <a:pt x="67" y="1"/>
                    <a:pt x="67" y="1"/>
                  </a:cubicBezTo>
                  <a:cubicBezTo>
                    <a:pt x="67" y="0"/>
                    <a:pt x="66"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04" name="Freeform 182"/>
            <p:cNvSpPr>
              <a:spLocks noEditPoints="1"/>
            </p:cNvSpPr>
            <p:nvPr userDrawn="1"/>
          </p:nvSpPr>
          <p:spPr bwMode="auto">
            <a:xfrm>
              <a:off x="4501798" y="4276600"/>
              <a:ext cx="164468" cy="224275"/>
            </a:xfrm>
            <a:custGeom>
              <a:avLst/>
              <a:gdLst>
                <a:gd name="T0" fmla="*/ 31 w 63"/>
                <a:gd name="T1" fmla="*/ 83 h 87"/>
                <a:gd name="T2" fmla="*/ 5 w 63"/>
                <a:gd name="T3" fmla="*/ 32 h 87"/>
                <a:gd name="T4" fmla="*/ 18 w 63"/>
                <a:gd name="T5" fmla="*/ 7 h 87"/>
                <a:gd name="T6" fmla="*/ 57 w 63"/>
                <a:gd name="T7" fmla="*/ 83 h 87"/>
                <a:gd name="T8" fmla="*/ 31 w 63"/>
                <a:gd name="T9" fmla="*/ 83 h 87"/>
                <a:gd name="T10" fmla="*/ 16 w 63"/>
                <a:gd name="T11" fmla="*/ 3 h 87"/>
                <a:gd name="T12" fmla="*/ 18 w 63"/>
                <a:gd name="T13" fmla="*/ 2 h 87"/>
                <a:gd name="T14" fmla="*/ 16 w 63"/>
                <a:gd name="T15" fmla="*/ 3 h 87"/>
                <a:gd name="T16" fmla="*/ 18 w 63"/>
                <a:gd name="T17" fmla="*/ 0 h 87"/>
                <a:gd name="T18" fmla="*/ 16 w 63"/>
                <a:gd name="T19" fmla="*/ 1 h 87"/>
                <a:gd name="T20" fmla="*/ 16 w 63"/>
                <a:gd name="T21" fmla="*/ 1 h 87"/>
                <a:gd name="T22" fmla="*/ 1 w 63"/>
                <a:gd name="T23" fmla="*/ 31 h 87"/>
                <a:gd name="T24" fmla="*/ 1 w 63"/>
                <a:gd name="T25" fmla="*/ 33 h 87"/>
                <a:gd name="T26" fmla="*/ 28 w 63"/>
                <a:gd name="T27" fmla="*/ 86 h 87"/>
                <a:gd name="T28" fmla="*/ 30 w 63"/>
                <a:gd name="T29" fmla="*/ 87 h 87"/>
                <a:gd name="T30" fmla="*/ 61 w 63"/>
                <a:gd name="T31" fmla="*/ 87 h 87"/>
                <a:gd name="T32" fmla="*/ 62 w 63"/>
                <a:gd name="T33" fmla="*/ 86 h 87"/>
                <a:gd name="T34" fmla="*/ 63 w 63"/>
                <a:gd name="T35" fmla="*/ 84 h 87"/>
                <a:gd name="T36" fmla="*/ 20 w 63"/>
                <a:gd name="T37" fmla="*/ 1 h 87"/>
                <a:gd name="T38" fmla="*/ 18 w 63"/>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87">
                  <a:moveTo>
                    <a:pt x="31" y="83"/>
                  </a:moveTo>
                  <a:cubicBezTo>
                    <a:pt x="5" y="32"/>
                    <a:pt x="5" y="32"/>
                    <a:pt x="5" y="32"/>
                  </a:cubicBezTo>
                  <a:cubicBezTo>
                    <a:pt x="18" y="7"/>
                    <a:pt x="18" y="7"/>
                    <a:pt x="18" y="7"/>
                  </a:cubicBezTo>
                  <a:cubicBezTo>
                    <a:pt x="57" y="83"/>
                    <a:pt x="57" y="83"/>
                    <a:pt x="57" y="83"/>
                  </a:cubicBezTo>
                  <a:cubicBezTo>
                    <a:pt x="31" y="83"/>
                    <a:pt x="31" y="83"/>
                    <a:pt x="31" y="83"/>
                  </a:cubicBezTo>
                  <a:moveTo>
                    <a:pt x="16" y="3"/>
                  </a:moveTo>
                  <a:cubicBezTo>
                    <a:pt x="18" y="2"/>
                    <a:pt x="18" y="2"/>
                    <a:pt x="18" y="2"/>
                  </a:cubicBezTo>
                  <a:cubicBezTo>
                    <a:pt x="16" y="3"/>
                    <a:pt x="16" y="3"/>
                    <a:pt x="16" y="3"/>
                  </a:cubicBezTo>
                  <a:moveTo>
                    <a:pt x="18" y="0"/>
                  </a:moveTo>
                  <a:cubicBezTo>
                    <a:pt x="17" y="0"/>
                    <a:pt x="16" y="1"/>
                    <a:pt x="16" y="1"/>
                  </a:cubicBezTo>
                  <a:cubicBezTo>
                    <a:pt x="16" y="1"/>
                    <a:pt x="16" y="1"/>
                    <a:pt x="16" y="1"/>
                  </a:cubicBezTo>
                  <a:cubicBezTo>
                    <a:pt x="1" y="31"/>
                    <a:pt x="1" y="31"/>
                    <a:pt x="1" y="31"/>
                  </a:cubicBezTo>
                  <a:cubicBezTo>
                    <a:pt x="0" y="32"/>
                    <a:pt x="0" y="32"/>
                    <a:pt x="1" y="33"/>
                  </a:cubicBezTo>
                  <a:cubicBezTo>
                    <a:pt x="28" y="86"/>
                    <a:pt x="28" y="86"/>
                    <a:pt x="28" y="86"/>
                  </a:cubicBezTo>
                  <a:cubicBezTo>
                    <a:pt x="29" y="87"/>
                    <a:pt x="29" y="87"/>
                    <a:pt x="30" y="87"/>
                  </a:cubicBezTo>
                  <a:cubicBezTo>
                    <a:pt x="61" y="87"/>
                    <a:pt x="61" y="87"/>
                    <a:pt x="61" y="87"/>
                  </a:cubicBezTo>
                  <a:cubicBezTo>
                    <a:pt x="61" y="87"/>
                    <a:pt x="62" y="87"/>
                    <a:pt x="62" y="86"/>
                  </a:cubicBezTo>
                  <a:cubicBezTo>
                    <a:pt x="63" y="86"/>
                    <a:pt x="63" y="85"/>
                    <a:pt x="63" y="84"/>
                  </a:cubicBezTo>
                  <a:cubicBezTo>
                    <a:pt x="20" y="1"/>
                    <a:pt x="20" y="1"/>
                    <a:pt x="20" y="1"/>
                  </a:cubicBezTo>
                  <a:cubicBezTo>
                    <a:pt x="19" y="1"/>
                    <a:pt x="19" y="0"/>
                    <a:pt x="18"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09" name="Rectangle 187"/>
            <p:cNvSpPr>
              <a:spLocks noChangeArrowheads="1"/>
            </p:cNvSpPr>
            <p:nvPr userDrawn="1"/>
          </p:nvSpPr>
          <p:spPr bwMode="auto">
            <a:xfrm>
              <a:off x="2489975" y="2733262"/>
              <a:ext cx="2834161" cy="9968"/>
            </a:xfrm>
            <a:prstGeom prst="rect">
              <a:avLst/>
            </a:prstGeom>
            <a:solidFill>
              <a:srgbClr val="3677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210" name="Rectangle 188"/>
            <p:cNvSpPr>
              <a:spLocks noChangeArrowheads="1"/>
            </p:cNvSpPr>
            <p:nvPr userDrawn="1"/>
          </p:nvSpPr>
          <p:spPr bwMode="auto">
            <a:xfrm>
              <a:off x="2489975" y="2733262"/>
              <a:ext cx="2834161"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211" name="Freeform 189"/>
            <p:cNvSpPr/>
            <p:nvPr userDrawn="1"/>
          </p:nvSpPr>
          <p:spPr bwMode="auto">
            <a:xfrm>
              <a:off x="2489975" y="2489052"/>
              <a:ext cx="2834161" cy="147855"/>
            </a:xfrm>
            <a:custGeom>
              <a:avLst/>
              <a:gdLst>
                <a:gd name="T0" fmla="*/ 1092 w 1092"/>
                <a:gd name="T1" fmla="*/ 0 h 57"/>
                <a:gd name="T2" fmla="*/ 28 w 1092"/>
                <a:gd name="T3" fmla="*/ 0 h 57"/>
                <a:gd name="T4" fmla="*/ 0 w 1092"/>
                <a:gd name="T5" fmla="*/ 23 h 57"/>
                <a:gd name="T6" fmla="*/ 0 w 1092"/>
                <a:gd name="T7" fmla="*/ 34 h 57"/>
                <a:gd name="T8" fmla="*/ 28 w 1092"/>
                <a:gd name="T9" fmla="*/ 57 h 57"/>
                <a:gd name="T10" fmla="*/ 1092 w 1092"/>
                <a:gd name="T11" fmla="*/ 57 h 57"/>
                <a:gd name="T12" fmla="*/ 1092 w 109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092" h="57">
                  <a:moveTo>
                    <a:pt x="1092" y="0"/>
                  </a:moveTo>
                  <a:cubicBezTo>
                    <a:pt x="28" y="0"/>
                    <a:pt x="28" y="0"/>
                    <a:pt x="28" y="0"/>
                  </a:cubicBezTo>
                  <a:cubicBezTo>
                    <a:pt x="14" y="0"/>
                    <a:pt x="3" y="10"/>
                    <a:pt x="0" y="23"/>
                  </a:cubicBezTo>
                  <a:cubicBezTo>
                    <a:pt x="0" y="34"/>
                    <a:pt x="0" y="34"/>
                    <a:pt x="0" y="34"/>
                  </a:cubicBezTo>
                  <a:cubicBezTo>
                    <a:pt x="3" y="47"/>
                    <a:pt x="14" y="57"/>
                    <a:pt x="28" y="57"/>
                  </a:cubicBezTo>
                  <a:cubicBezTo>
                    <a:pt x="1092" y="57"/>
                    <a:pt x="1092" y="57"/>
                    <a:pt x="1092" y="57"/>
                  </a:cubicBezTo>
                  <a:cubicBezTo>
                    <a:pt x="1092" y="0"/>
                    <a:pt x="1092" y="0"/>
                    <a:pt x="1092" y="0"/>
                  </a:cubicBezTo>
                </a:path>
              </a:pathLst>
            </a:custGeom>
            <a:solidFill>
              <a:srgbClr val="97BB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12" name="Rectangle 190"/>
            <p:cNvSpPr>
              <a:spLocks noChangeArrowheads="1"/>
            </p:cNvSpPr>
            <p:nvPr userDrawn="1"/>
          </p:nvSpPr>
          <p:spPr bwMode="auto">
            <a:xfrm>
              <a:off x="5221136" y="2876133"/>
              <a:ext cx="103000" cy="9968"/>
            </a:xfrm>
            <a:prstGeom prst="rect">
              <a:avLst/>
            </a:prstGeom>
            <a:solidFill>
              <a:srgbClr val="ADCA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213" name="Rectangle 191"/>
            <p:cNvSpPr>
              <a:spLocks noChangeArrowheads="1"/>
            </p:cNvSpPr>
            <p:nvPr userDrawn="1"/>
          </p:nvSpPr>
          <p:spPr bwMode="auto">
            <a:xfrm>
              <a:off x="5221136" y="2876133"/>
              <a:ext cx="103000"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219" name="Freeform 197"/>
            <p:cNvSpPr/>
            <p:nvPr userDrawn="1"/>
          </p:nvSpPr>
          <p:spPr bwMode="auto">
            <a:xfrm>
              <a:off x="2484991" y="2146826"/>
              <a:ext cx="2844129" cy="2531806"/>
            </a:xfrm>
            <a:custGeom>
              <a:avLst/>
              <a:gdLst>
                <a:gd name="T0" fmla="*/ 2 w 1096"/>
                <a:gd name="T1" fmla="*/ 974 h 976"/>
                <a:gd name="T2" fmla="*/ 4 w 1096"/>
                <a:gd name="T3" fmla="*/ 974 h 976"/>
                <a:gd name="T4" fmla="*/ 4 w 1096"/>
                <a:gd name="T5" fmla="*/ 4 h 976"/>
                <a:gd name="T6" fmla="*/ 1092 w 1096"/>
                <a:gd name="T7" fmla="*/ 4 h 976"/>
                <a:gd name="T8" fmla="*/ 1092 w 1096"/>
                <a:gd name="T9" fmla="*/ 972 h 976"/>
                <a:gd name="T10" fmla="*/ 2 w 1096"/>
                <a:gd name="T11" fmla="*/ 972 h 976"/>
                <a:gd name="T12" fmla="*/ 2 w 1096"/>
                <a:gd name="T13" fmla="*/ 974 h 976"/>
                <a:gd name="T14" fmla="*/ 4 w 1096"/>
                <a:gd name="T15" fmla="*/ 974 h 976"/>
                <a:gd name="T16" fmla="*/ 2 w 1096"/>
                <a:gd name="T17" fmla="*/ 974 h 976"/>
                <a:gd name="T18" fmla="*/ 2 w 1096"/>
                <a:gd name="T19" fmla="*/ 976 h 976"/>
                <a:gd name="T20" fmla="*/ 1094 w 1096"/>
                <a:gd name="T21" fmla="*/ 976 h 976"/>
                <a:gd name="T22" fmla="*/ 1096 w 1096"/>
                <a:gd name="T23" fmla="*/ 976 h 976"/>
                <a:gd name="T24" fmla="*/ 1096 w 1096"/>
                <a:gd name="T25" fmla="*/ 974 h 976"/>
                <a:gd name="T26" fmla="*/ 1096 w 1096"/>
                <a:gd name="T27" fmla="*/ 2 h 976"/>
                <a:gd name="T28" fmla="*/ 1096 w 1096"/>
                <a:gd name="T29" fmla="*/ 1 h 976"/>
                <a:gd name="T30" fmla="*/ 1094 w 1096"/>
                <a:gd name="T31" fmla="*/ 0 h 976"/>
                <a:gd name="T32" fmla="*/ 2 w 1096"/>
                <a:gd name="T33" fmla="*/ 0 h 976"/>
                <a:gd name="T34" fmla="*/ 0 w 1096"/>
                <a:gd name="T35" fmla="*/ 1 h 976"/>
                <a:gd name="T36" fmla="*/ 0 w 1096"/>
                <a:gd name="T37" fmla="*/ 2 h 976"/>
                <a:gd name="T38" fmla="*/ 0 w 1096"/>
                <a:gd name="T39" fmla="*/ 974 h 976"/>
                <a:gd name="T40" fmla="*/ 0 w 1096"/>
                <a:gd name="T41" fmla="*/ 976 h 976"/>
                <a:gd name="T42" fmla="*/ 2 w 1096"/>
                <a:gd name="T43" fmla="*/ 976 h 976"/>
                <a:gd name="T44" fmla="*/ 2 w 1096"/>
                <a:gd name="T45" fmla="*/ 974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6" h="976">
                  <a:moveTo>
                    <a:pt x="2" y="974"/>
                  </a:moveTo>
                  <a:cubicBezTo>
                    <a:pt x="4" y="974"/>
                    <a:pt x="4" y="974"/>
                    <a:pt x="4" y="974"/>
                  </a:cubicBezTo>
                  <a:cubicBezTo>
                    <a:pt x="4" y="4"/>
                    <a:pt x="4" y="4"/>
                    <a:pt x="4" y="4"/>
                  </a:cubicBezTo>
                  <a:cubicBezTo>
                    <a:pt x="1092" y="4"/>
                    <a:pt x="1092" y="4"/>
                    <a:pt x="1092" y="4"/>
                  </a:cubicBezTo>
                  <a:cubicBezTo>
                    <a:pt x="1092" y="972"/>
                    <a:pt x="1092" y="972"/>
                    <a:pt x="1092" y="972"/>
                  </a:cubicBezTo>
                  <a:cubicBezTo>
                    <a:pt x="2" y="972"/>
                    <a:pt x="2" y="972"/>
                    <a:pt x="2" y="972"/>
                  </a:cubicBezTo>
                  <a:cubicBezTo>
                    <a:pt x="2" y="974"/>
                    <a:pt x="2" y="974"/>
                    <a:pt x="2" y="974"/>
                  </a:cubicBezTo>
                  <a:cubicBezTo>
                    <a:pt x="4" y="974"/>
                    <a:pt x="4" y="974"/>
                    <a:pt x="4" y="974"/>
                  </a:cubicBezTo>
                  <a:cubicBezTo>
                    <a:pt x="2" y="974"/>
                    <a:pt x="2" y="974"/>
                    <a:pt x="2" y="974"/>
                  </a:cubicBezTo>
                  <a:cubicBezTo>
                    <a:pt x="2" y="976"/>
                    <a:pt x="2" y="976"/>
                    <a:pt x="2" y="976"/>
                  </a:cubicBezTo>
                  <a:cubicBezTo>
                    <a:pt x="1094" y="976"/>
                    <a:pt x="1094" y="976"/>
                    <a:pt x="1094" y="976"/>
                  </a:cubicBezTo>
                  <a:cubicBezTo>
                    <a:pt x="1095" y="976"/>
                    <a:pt x="1095" y="976"/>
                    <a:pt x="1096" y="976"/>
                  </a:cubicBezTo>
                  <a:cubicBezTo>
                    <a:pt x="1096" y="975"/>
                    <a:pt x="1096" y="975"/>
                    <a:pt x="1096" y="974"/>
                  </a:cubicBezTo>
                  <a:cubicBezTo>
                    <a:pt x="1096" y="2"/>
                    <a:pt x="1096" y="2"/>
                    <a:pt x="1096" y="2"/>
                  </a:cubicBezTo>
                  <a:cubicBezTo>
                    <a:pt x="1096" y="2"/>
                    <a:pt x="1096" y="1"/>
                    <a:pt x="1096" y="1"/>
                  </a:cubicBezTo>
                  <a:cubicBezTo>
                    <a:pt x="1095" y="1"/>
                    <a:pt x="1095" y="0"/>
                    <a:pt x="1094" y="0"/>
                  </a:cubicBezTo>
                  <a:cubicBezTo>
                    <a:pt x="2" y="0"/>
                    <a:pt x="2" y="0"/>
                    <a:pt x="2" y="0"/>
                  </a:cubicBezTo>
                  <a:cubicBezTo>
                    <a:pt x="1" y="0"/>
                    <a:pt x="1" y="1"/>
                    <a:pt x="0" y="1"/>
                  </a:cubicBezTo>
                  <a:cubicBezTo>
                    <a:pt x="0" y="1"/>
                    <a:pt x="0" y="2"/>
                    <a:pt x="0" y="2"/>
                  </a:cubicBezTo>
                  <a:cubicBezTo>
                    <a:pt x="0" y="974"/>
                    <a:pt x="0" y="974"/>
                    <a:pt x="0" y="974"/>
                  </a:cubicBezTo>
                  <a:cubicBezTo>
                    <a:pt x="0" y="975"/>
                    <a:pt x="0" y="975"/>
                    <a:pt x="0" y="976"/>
                  </a:cubicBezTo>
                  <a:cubicBezTo>
                    <a:pt x="1" y="976"/>
                    <a:pt x="1" y="976"/>
                    <a:pt x="2" y="976"/>
                  </a:cubicBezTo>
                  <a:lnTo>
                    <a:pt x="2" y="974"/>
                  </a:lnTo>
                  <a:close/>
                </a:path>
              </a:pathLst>
            </a:custGeom>
            <a:solidFill>
              <a:srgbClr val="498EF2"/>
            </a:solidFill>
            <a:ln w="9525">
              <a:solidFill>
                <a:schemeClr val="accent1"/>
              </a:solidFill>
              <a:round/>
            </a:ln>
          </p:spPr>
          <p:txBody>
            <a:bodyPr vert="horz" wrap="square" lIns="91440" tIns="45720" rIns="91440" bIns="45720" numCol="1" anchor="t" anchorCtr="0" compatLnSpc="1"/>
            <a:lstStyle/>
            <a:p>
              <a:endParaRPr lang="zh-CN" altLang="en-US"/>
            </a:p>
          </p:txBody>
        </p:sp>
        <p:sp>
          <p:nvSpPr>
            <p:cNvPr id="10221" name="Freeform 199"/>
            <p:cNvSpPr>
              <a:spLocks noEditPoints="1"/>
            </p:cNvSpPr>
            <p:nvPr userDrawn="1"/>
          </p:nvSpPr>
          <p:spPr bwMode="auto">
            <a:xfrm>
              <a:off x="2614572" y="2276407"/>
              <a:ext cx="2584968" cy="2270984"/>
            </a:xfrm>
            <a:custGeom>
              <a:avLst/>
              <a:gdLst>
                <a:gd name="T0" fmla="*/ 992 w 996"/>
                <a:gd name="T1" fmla="*/ 4 h 876"/>
                <a:gd name="T2" fmla="*/ 992 w 996"/>
                <a:gd name="T3" fmla="*/ 872 h 876"/>
                <a:gd name="T4" fmla="*/ 4 w 996"/>
                <a:gd name="T5" fmla="*/ 872 h 876"/>
                <a:gd name="T6" fmla="*/ 4 w 996"/>
                <a:gd name="T7" fmla="*/ 4 h 876"/>
                <a:gd name="T8" fmla="*/ 992 w 996"/>
                <a:gd name="T9" fmla="*/ 4 h 876"/>
                <a:gd name="T10" fmla="*/ 992 w 996"/>
                <a:gd name="T11" fmla="*/ 0 h 876"/>
                <a:gd name="T12" fmla="*/ 4 w 996"/>
                <a:gd name="T13" fmla="*/ 0 h 876"/>
                <a:gd name="T14" fmla="*/ 0 w 996"/>
                <a:gd name="T15" fmla="*/ 4 h 876"/>
                <a:gd name="T16" fmla="*/ 0 w 996"/>
                <a:gd name="T17" fmla="*/ 872 h 876"/>
                <a:gd name="T18" fmla="*/ 4 w 996"/>
                <a:gd name="T19" fmla="*/ 876 h 876"/>
                <a:gd name="T20" fmla="*/ 992 w 996"/>
                <a:gd name="T21" fmla="*/ 876 h 876"/>
                <a:gd name="T22" fmla="*/ 996 w 996"/>
                <a:gd name="T23" fmla="*/ 872 h 876"/>
                <a:gd name="T24" fmla="*/ 996 w 996"/>
                <a:gd name="T25" fmla="*/ 4 h 876"/>
                <a:gd name="T26" fmla="*/ 992 w 996"/>
                <a:gd name="T2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6" h="876">
                  <a:moveTo>
                    <a:pt x="992" y="4"/>
                  </a:moveTo>
                  <a:cubicBezTo>
                    <a:pt x="992" y="872"/>
                    <a:pt x="992" y="872"/>
                    <a:pt x="992" y="872"/>
                  </a:cubicBezTo>
                  <a:cubicBezTo>
                    <a:pt x="4" y="872"/>
                    <a:pt x="4" y="872"/>
                    <a:pt x="4" y="872"/>
                  </a:cubicBezTo>
                  <a:cubicBezTo>
                    <a:pt x="4" y="4"/>
                    <a:pt x="4" y="4"/>
                    <a:pt x="4" y="4"/>
                  </a:cubicBezTo>
                  <a:cubicBezTo>
                    <a:pt x="992" y="4"/>
                    <a:pt x="992" y="4"/>
                    <a:pt x="992" y="4"/>
                  </a:cubicBezTo>
                  <a:moveTo>
                    <a:pt x="992" y="0"/>
                  </a:moveTo>
                  <a:cubicBezTo>
                    <a:pt x="4" y="0"/>
                    <a:pt x="4" y="0"/>
                    <a:pt x="4" y="0"/>
                  </a:cubicBezTo>
                  <a:cubicBezTo>
                    <a:pt x="2" y="0"/>
                    <a:pt x="0" y="2"/>
                    <a:pt x="0" y="4"/>
                  </a:cubicBezTo>
                  <a:cubicBezTo>
                    <a:pt x="0" y="872"/>
                    <a:pt x="0" y="872"/>
                    <a:pt x="0" y="872"/>
                  </a:cubicBezTo>
                  <a:cubicBezTo>
                    <a:pt x="0" y="875"/>
                    <a:pt x="2" y="876"/>
                    <a:pt x="4" y="876"/>
                  </a:cubicBezTo>
                  <a:cubicBezTo>
                    <a:pt x="992" y="876"/>
                    <a:pt x="992" y="876"/>
                    <a:pt x="992" y="876"/>
                  </a:cubicBezTo>
                  <a:cubicBezTo>
                    <a:pt x="994" y="876"/>
                    <a:pt x="996" y="875"/>
                    <a:pt x="996" y="872"/>
                  </a:cubicBezTo>
                  <a:cubicBezTo>
                    <a:pt x="996" y="4"/>
                    <a:pt x="996" y="4"/>
                    <a:pt x="996" y="4"/>
                  </a:cubicBezTo>
                  <a:cubicBezTo>
                    <a:pt x="996" y="2"/>
                    <a:pt x="994" y="0"/>
                    <a:pt x="992" y="0"/>
                  </a:cubicBez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 name="Rectangle 207"/>
            <p:cNvSpPr>
              <a:spLocks noChangeArrowheads="1"/>
            </p:cNvSpPr>
            <p:nvPr userDrawn="1"/>
          </p:nvSpPr>
          <p:spPr bwMode="auto">
            <a:xfrm>
              <a:off x="684153" y="5886391"/>
              <a:ext cx="6447468" cy="9968"/>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 name="Freeform 208"/>
            <p:cNvSpPr/>
            <p:nvPr userDrawn="1"/>
          </p:nvSpPr>
          <p:spPr bwMode="auto">
            <a:xfrm>
              <a:off x="684153" y="5886391"/>
              <a:ext cx="6447468" cy="9968"/>
            </a:xfrm>
            <a:custGeom>
              <a:avLst/>
              <a:gdLst>
                <a:gd name="T0" fmla="*/ 0 w 3881"/>
                <a:gd name="T1" fmla="*/ 6 h 6"/>
                <a:gd name="T2" fmla="*/ 3881 w 3881"/>
                <a:gd name="T3" fmla="*/ 6 h 6"/>
                <a:gd name="T4" fmla="*/ 3881 w 3881"/>
                <a:gd name="T5" fmla="*/ 0 h 6"/>
                <a:gd name="T6" fmla="*/ 0 w 3881"/>
                <a:gd name="T7" fmla="*/ 0 h 6"/>
              </a:gdLst>
              <a:ahLst/>
              <a:cxnLst>
                <a:cxn ang="0">
                  <a:pos x="T0" y="T1"/>
                </a:cxn>
                <a:cxn ang="0">
                  <a:pos x="T2" y="T3"/>
                </a:cxn>
                <a:cxn ang="0">
                  <a:pos x="T4" y="T5"/>
                </a:cxn>
                <a:cxn ang="0">
                  <a:pos x="T6" y="T7"/>
                </a:cxn>
              </a:cxnLst>
              <a:rect l="0" t="0" r="r" b="b"/>
              <a:pathLst>
                <a:path w="3881" h="6">
                  <a:moveTo>
                    <a:pt x="0" y="6"/>
                  </a:moveTo>
                  <a:lnTo>
                    <a:pt x="3881" y="6"/>
                  </a:lnTo>
                  <a:lnTo>
                    <a:pt x="38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23" name="Rectangle 238"/>
            <p:cNvSpPr>
              <a:spLocks noChangeArrowheads="1"/>
            </p:cNvSpPr>
            <p:nvPr userDrawn="1"/>
          </p:nvSpPr>
          <p:spPr bwMode="auto">
            <a:xfrm>
              <a:off x="2132798" y="6230513"/>
              <a:ext cx="398710" cy="14952"/>
            </a:xfrm>
            <a:prstGeom prst="rect">
              <a:avLst/>
            </a:prstGeom>
            <a:solidFill>
              <a:srgbClr val="FFAC0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24" name="Freeform 239"/>
            <p:cNvSpPr/>
            <p:nvPr userDrawn="1"/>
          </p:nvSpPr>
          <p:spPr bwMode="auto">
            <a:xfrm>
              <a:off x="2129475" y="6087642"/>
              <a:ext cx="402032" cy="142871"/>
            </a:xfrm>
            <a:custGeom>
              <a:avLst/>
              <a:gdLst>
                <a:gd name="T0" fmla="*/ 21 w 155"/>
                <a:gd name="T1" fmla="*/ 0 h 55"/>
                <a:gd name="T2" fmla="*/ 9 w 155"/>
                <a:gd name="T3" fmla="*/ 3 h 55"/>
                <a:gd name="T4" fmla="*/ 2 w 155"/>
                <a:gd name="T5" fmla="*/ 31 h 55"/>
                <a:gd name="T6" fmla="*/ 1 w 155"/>
                <a:gd name="T7" fmla="*/ 55 h 55"/>
                <a:gd name="T8" fmla="*/ 155 w 155"/>
                <a:gd name="T9" fmla="*/ 55 h 55"/>
                <a:gd name="T10" fmla="*/ 108 w 155"/>
                <a:gd name="T11" fmla="*/ 19 h 55"/>
                <a:gd name="T12" fmla="*/ 87 w 155"/>
                <a:gd name="T13" fmla="*/ 4 h 55"/>
                <a:gd name="T14" fmla="*/ 21 w 155"/>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55">
                  <a:moveTo>
                    <a:pt x="21" y="0"/>
                  </a:moveTo>
                  <a:cubicBezTo>
                    <a:pt x="9" y="3"/>
                    <a:pt x="9" y="3"/>
                    <a:pt x="9" y="3"/>
                  </a:cubicBezTo>
                  <a:cubicBezTo>
                    <a:pt x="9" y="3"/>
                    <a:pt x="4" y="20"/>
                    <a:pt x="2" y="31"/>
                  </a:cubicBezTo>
                  <a:cubicBezTo>
                    <a:pt x="0" y="43"/>
                    <a:pt x="1" y="55"/>
                    <a:pt x="1" y="55"/>
                  </a:cubicBezTo>
                  <a:cubicBezTo>
                    <a:pt x="155" y="55"/>
                    <a:pt x="155" y="55"/>
                    <a:pt x="155" y="55"/>
                  </a:cubicBezTo>
                  <a:cubicBezTo>
                    <a:pt x="155" y="55"/>
                    <a:pt x="148" y="36"/>
                    <a:pt x="108" y="19"/>
                  </a:cubicBezTo>
                  <a:cubicBezTo>
                    <a:pt x="93" y="13"/>
                    <a:pt x="87" y="4"/>
                    <a:pt x="87" y="4"/>
                  </a:cubicBezTo>
                  <a:lnTo>
                    <a:pt x="21" y="0"/>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25" name="Freeform 240"/>
            <p:cNvSpPr/>
            <p:nvPr userDrawn="1"/>
          </p:nvSpPr>
          <p:spPr bwMode="auto">
            <a:xfrm>
              <a:off x="2129475" y="5891610"/>
              <a:ext cx="225935" cy="224275"/>
            </a:xfrm>
            <a:custGeom>
              <a:avLst/>
              <a:gdLst>
                <a:gd name="T0" fmla="*/ 0 w 87"/>
                <a:gd name="T1" fmla="*/ 31 h 87"/>
                <a:gd name="T2" fmla="*/ 9 w 87"/>
                <a:gd name="T3" fmla="*/ 79 h 87"/>
                <a:gd name="T4" fmla="*/ 40 w 87"/>
                <a:gd name="T5" fmla="*/ 87 h 87"/>
                <a:gd name="T6" fmla="*/ 87 w 87"/>
                <a:gd name="T7" fmla="*/ 80 h 87"/>
                <a:gd name="T8" fmla="*/ 86 w 87"/>
                <a:gd name="T9" fmla="*/ 0 h 87"/>
              </a:gdLst>
              <a:ahLst/>
              <a:cxnLst>
                <a:cxn ang="0">
                  <a:pos x="T0" y="T1"/>
                </a:cxn>
                <a:cxn ang="0">
                  <a:pos x="T2" y="T3"/>
                </a:cxn>
                <a:cxn ang="0">
                  <a:pos x="T4" y="T5"/>
                </a:cxn>
                <a:cxn ang="0">
                  <a:pos x="T6" y="T7"/>
                </a:cxn>
                <a:cxn ang="0">
                  <a:pos x="T8" y="T9"/>
                </a:cxn>
              </a:cxnLst>
              <a:rect l="0" t="0" r="r" b="b"/>
              <a:pathLst>
                <a:path w="87" h="87">
                  <a:moveTo>
                    <a:pt x="0" y="31"/>
                  </a:moveTo>
                  <a:cubicBezTo>
                    <a:pt x="9" y="79"/>
                    <a:pt x="9" y="79"/>
                    <a:pt x="9" y="79"/>
                  </a:cubicBezTo>
                  <a:cubicBezTo>
                    <a:pt x="9" y="79"/>
                    <a:pt x="15" y="87"/>
                    <a:pt x="40" y="87"/>
                  </a:cubicBezTo>
                  <a:cubicBezTo>
                    <a:pt x="64" y="87"/>
                    <a:pt x="87" y="80"/>
                    <a:pt x="87" y="80"/>
                  </a:cubicBezTo>
                  <a:cubicBezTo>
                    <a:pt x="86" y="0"/>
                    <a:pt x="86" y="0"/>
                    <a:pt x="86" y="0"/>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22" name="Freeform 24"/>
            <p:cNvSpPr/>
            <p:nvPr userDrawn="1"/>
          </p:nvSpPr>
          <p:spPr bwMode="auto">
            <a:xfrm>
              <a:off x="4505120" y="1713230"/>
              <a:ext cx="310662" cy="312323"/>
            </a:xfrm>
            <a:custGeom>
              <a:avLst/>
              <a:gdLst>
                <a:gd name="T0" fmla="*/ 109 w 120"/>
                <a:gd name="T1" fmla="*/ 120 h 120"/>
                <a:gd name="T2" fmla="*/ 11 w 120"/>
                <a:gd name="T3" fmla="*/ 120 h 120"/>
                <a:gd name="T4" fmla="*/ 0 w 120"/>
                <a:gd name="T5" fmla="*/ 109 h 120"/>
                <a:gd name="T6" fmla="*/ 0 w 120"/>
                <a:gd name="T7" fmla="*/ 11 h 120"/>
                <a:gd name="T8" fmla="*/ 11 w 120"/>
                <a:gd name="T9" fmla="*/ 0 h 120"/>
                <a:gd name="T10" fmla="*/ 109 w 120"/>
                <a:gd name="T11" fmla="*/ 0 h 120"/>
                <a:gd name="T12" fmla="*/ 120 w 120"/>
                <a:gd name="T13" fmla="*/ 11 h 120"/>
                <a:gd name="T14" fmla="*/ 120 w 120"/>
                <a:gd name="T15" fmla="*/ 109 h 120"/>
                <a:gd name="T16" fmla="*/ 109 w 120"/>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20">
                  <a:moveTo>
                    <a:pt x="109" y="120"/>
                  </a:moveTo>
                  <a:cubicBezTo>
                    <a:pt x="11" y="120"/>
                    <a:pt x="11" y="120"/>
                    <a:pt x="11" y="120"/>
                  </a:cubicBezTo>
                  <a:cubicBezTo>
                    <a:pt x="5" y="120"/>
                    <a:pt x="0" y="115"/>
                    <a:pt x="0" y="109"/>
                  </a:cubicBezTo>
                  <a:cubicBezTo>
                    <a:pt x="0" y="11"/>
                    <a:pt x="0" y="11"/>
                    <a:pt x="0" y="11"/>
                  </a:cubicBezTo>
                  <a:cubicBezTo>
                    <a:pt x="0" y="5"/>
                    <a:pt x="5" y="0"/>
                    <a:pt x="11" y="0"/>
                  </a:cubicBezTo>
                  <a:cubicBezTo>
                    <a:pt x="109" y="0"/>
                    <a:pt x="109" y="0"/>
                    <a:pt x="109" y="0"/>
                  </a:cubicBezTo>
                  <a:cubicBezTo>
                    <a:pt x="115" y="0"/>
                    <a:pt x="120" y="5"/>
                    <a:pt x="120" y="11"/>
                  </a:cubicBezTo>
                  <a:cubicBezTo>
                    <a:pt x="120" y="109"/>
                    <a:pt x="120" y="109"/>
                    <a:pt x="120" y="109"/>
                  </a:cubicBezTo>
                  <a:cubicBezTo>
                    <a:pt x="120" y="115"/>
                    <a:pt x="115" y="120"/>
                    <a:pt x="109" y="120"/>
                  </a:cubicBezTo>
                  <a:close/>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23" name="Freeform 25"/>
            <p:cNvSpPr/>
            <p:nvPr userDrawn="1"/>
          </p:nvSpPr>
          <p:spPr bwMode="auto">
            <a:xfrm>
              <a:off x="4571572" y="1773037"/>
              <a:ext cx="177759" cy="192710"/>
            </a:xfrm>
            <a:custGeom>
              <a:avLst/>
              <a:gdLst>
                <a:gd name="T0" fmla="*/ 107 w 107"/>
                <a:gd name="T1" fmla="*/ 67 h 116"/>
                <a:gd name="T2" fmla="*/ 53 w 107"/>
                <a:gd name="T3" fmla="*/ 0 h 116"/>
                <a:gd name="T4" fmla="*/ 0 w 107"/>
                <a:gd name="T5" fmla="*/ 67 h 116"/>
                <a:gd name="T6" fmla="*/ 30 w 107"/>
                <a:gd name="T7" fmla="*/ 67 h 116"/>
                <a:gd name="T8" fmla="*/ 30 w 107"/>
                <a:gd name="T9" fmla="*/ 116 h 116"/>
                <a:gd name="T10" fmla="*/ 77 w 107"/>
                <a:gd name="T11" fmla="*/ 116 h 116"/>
                <a:gd name="T12" fmla="*/ 77 w 107"/>
                <a:gd name="T13" fmla="*/ 67 h 116"/>
                <a:gd name="T14" fmla="*/ 107 w 107"/>
                <a:gd name="T15" fmla="*/ 67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16">
                  <a:moveTo>
                    <a:pt x="107" y="67"/>
                  </a:moveTo>
                  <a:lnTo>
                    <a:pt x="53" y="0"/>
                  </a:lnTo>
                  <a:lnTo>
                    <a:pt x="0" y="67"/>
                  </a:lnTo>
                  <a:lnTo>
                    <a:pt x="30" y="67"/>
                  </a:lnTo>
                  <a:lnTo>
                    <a:pt x="30" y="116"/>
                  </a:lnTo>
                  <a:lnTo>
                    <a:pt x="77" y="116"/>
                  </a:lnTo>
                  <a:lnTo>
                    <a:pt x="77" y="67"/>
                  </a:lnTo>
                  <a:lnTo>
                    <a:pt x="107" y="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76" name="Rectangle 54"/>
            <p:cNvSpPr>
              <a:spLocks noChangeArrowheads="1"/>
            </p:cNvSpPr>
            <p:nvPr userDrawn="1"/>
          </p:nvSpPr>
          <p:spPr bwMode="auto">
            <a:xfrm>
              <a:off x="4197781" y="1675020"/>
              <a:ext cx="11630" cy="614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77" name="Freeform 55"/>
            <p:cNvSpPr/>
            <p:nvPr userDrawn="1"/>
          </p:nvSpPr>
          <p:spPr bwMode="auto">
            <a:xfrm>
              <a:off x="4197781" y="1675020"/>
              <a:ext cx="11630" cy="61468"/>
            </a:xfrm>
            <a:custGeom>
              <a:avLst/>
              <a:gdLst>
                <a:gd name="T0" fmla="*/ 0 w 7"/>
                <a:gd name="T1" fmla="*/ 0 h 37"/>
                <a:gd name="T2" fmla="*/ 0 w 7"/>
                <a:gd name="T3" fmla="*/ 37 h 37"/>
                <a:gd name="T4" fmla="*/ 7 w 7"/>
                <a:gd name="T5" fmla="*/ 37 h 37"/>
                <a:gd name="T6" fmla="*/ 7 w 7"/>
                <a:gd name="T7" fmla="*/ 0 h 37"/>
              </a:gdLst>
              <a:ahLst/>
              <a:cxnLst>
                <a:cxn ang="0">
                  <a:pos x="T0" y="T1"/>
                </a:cxn>
                <a:cxn ang="0">
                  <a:pos x="T2" y="T3"/>
                </a:cxn>
                <a:cxn ang="0">
                  <a:pos x="T4" y="T5"/>
                </a:cxn>
                <a:cxn ang="0">
                  <a:pos x="T6" y="T7"/>
                </a:cxn>
              </a:cxnLst>
              <a:rect l="0" t="0" r="r" b="b"/>
              <a:pathLst>
                <a:path w="7" h="37">
                  <a:moveTo>
                    <a:pt x="0" y="0"/>
                  </a:moveTo>
                  <a:lnTo>
                    <a:pt x="0" y="37"/>
                  </a:lnTo>
                  <a:lnTo>
                    <a:pt x="7" y="37"/>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78" name="Rectangle 56"/>
            <p:cNvSpPr>
              <a:spLocks noChangeArrowheads="1"/>
            </p:cNvSpPr>
            <p:nvPr userDrawn="1"/>
          </p:nvSpPr>
          <p:spPr bwMode="auto">
            <a:xfrm>
              <a:off x="4172862" y="1701601"/>
              <a:ext cx="59806"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79" name="Freeform 57"/>
            <p:cNvSpPr/>
            <p:nvPr userDrawn="1"/>
          </p:nvSpPr>
          <p:spPr bwMode="auto">
            <a:xfrm>
              <a:off x="4172862" y="1701601"/>
              <a:ext cx="59806" cy="9968"/>
            </a:xfrm>
            <a:custGeom>
              <a:avLst/>
              <a:gdLst>
                <a:gd name="T0" fmla="*/ 36 w 36"/>
                <a:gd name="T1" fmla="*/ 0 h 6"/>
                <a:gd name="T2" fmla="*/ 0 w 36"/>
                <a:gd name="T3" fmla="*/ 0 h 6"/>
                <a:gd name="T4" fmla="*/ 0 w 36"/>
                <a:gd name="T5" fmla="*/ 6 h 6"/>
                <a:gd name="T6" fmla="*/ 36 w 36"/>
                <a:gd name="T7" fmla="*/ 6 h 6"/>
              </a:gdLst>
              <a:ahLst/>
              <a:cxnLst>
                <a:cxn ang="0">
                  <a:pos x="T0" y="T1"/>
                </a:cxn>
                <a:cxn ang="0">
                  <a:pos x="T2" y="T3"/>
                </a:cxn>
                <a:cxn ang="0">
                  <a:pos x="T4" y="T5"/>
                </a:cxn>
                <a:cxn ang="0">
                  <a:pos x="T6" y="T7"/>
                </a:cxn>
              </a:cxnLst>
              <a:rect l="0" t="0" r="r" b="b"/>
              <a:pathLst>
                <a:path w="36" h="6">
                  <a:moveTo>
                    <a:pt x="36" y="0"/>
                  </a:moveTo>
                  <a:lnTo>
                    <a:pt x="0" y="0"/>
                  </a:lnTo>
                  <a:lnTo>
                    <a:pt x="0" y="6"/>
                  </a:lnTo>
                  <a:lnTo>
                    <a:pt x="3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5" name="Freeform 83"/>
            <p:cNvSpPr>
              <a:spLocks noEditPoints="1"/>
            </p:cNvSpPr>
            <p:nvPr userDrawn="1"/>
          </p:nvSpPr>
          <p:spPr bwMode="auto">
            <a:xfrm>
              <a:off x="2392402" y="3389471"/>
              <a:ext cx="88049" cy="225935"/>
            </a:xfrm>
            <a:custGeom>
              <a:avLst/>
              <a:gdLst>
                <a:gd name="T0" fmla="*/ 16 w 34"/>
                <a:gd name="T1" fmla="*/ 3 h 87"/>
                <a:gd name="T2" fmla="*/ 18 w 34"/>
                <a:gd name="T3" fmla="*/ 2 h 87"/>
                <a:gd name="T4" fmla="*/ 16 w 34"/>
                <a:gd name="T5" fmla="*/ 3 h 87"/>
                <a:gd name="T6" fmla="*/ 18 w 34"/>
                <a:gd name="T7" fmla="*/ 0 h 87"/>
                <a:gd name="T8" fmla="*/ 16 w 34"/>
                <a:gd name="T9" fmla="*/ 1 h 87"/>
                <a:gd name="T10" fmla="*/ 16 w 34"/>
                <a:gd name="T11" fmla="*/ 1 h 87"/>
                <a:gd name="T12" fmla="*/ 1 w 34"/>
                <a:gd name="T13" fmla="*/ 31 h 87"/>
                <a:gd name="T14" fmla="*/ 1 w 34"/>
                <a:gd name="T15" fmla="*/ 33 h 87"/>
                <a:gd name="T16" fmla="*/ 28 w 34"/>
                <a:gd name="T17" fmla="*/ 86 h 87"/>
                <a:gd name="T18" fmla="*/ 30 w 34"/>
                <a:gd name="T19" fmla="*/ 87 h 87"/>
                <a:gd name="T20" fmla="*/ 34 w 34"/>
                <a:gd name="T21" fmla="*/ 87 h 87"/>
                <a:gd name="T22" fmla="*/ 34 w 34"/>
                <a:gd name="T23" fmla="*/ 83 h 87"/>
                <a:gd name="T24" fmla="*/ 31 w 34"/>
                <a:gd name="T25" fmla="*/ 83 h 87"/>
                <a:gd name="T26" fmla="*/ 5 w 34"/>
                <a:gd name="T27" fmla="*/ 32 h 87"/>
                <a:gd name="T28" fmla="*/ 18 w 34"/>
                <a:gd name="T29" fmla="*/ 7 h 87"/>
                <a:gd name="T30" fmla="*/ 34 w 34"/>
                <a:gd name="T31" fmla="*/ 38 h 87"/>
                <a:gd name="T32" fmla="*/ 34 w 34"/>
                <a:gd name="T33" fmla="*/ 29 h 87"/>
                <a:gd name="T34" fmla="*/ 19 w 34"/>
                <a:gd name="T35" fmla="*/ 1 h 87"/>
                <a:gd name="T36" fmla="*/ 18 w 34"/>
                <a:gd name="T3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87">
                  <a:moveTo>
                    <a:pt x="16" y="3"/>
                  </a:moveTo>
                  <a:cubicBezTo>
                    <a:pt x="18" y="2"/>
                    <a:pt x="18" y="2"/>
                    <a:pt x="18" y="2"/>
                  </a:cubicBezTo>
                  <a:cubicBezTo>
                    <a:pt x="16" y="3"/>
                    <a:pt x="16" y="3"/>
                    <a:pt x="16" y="3"/>
                  </a:cubicBezTo>
                  <a:moveTo>
                    <a:pt x="18" y="0"/>
                  </a:moveTo>
                  <a:cubicBezTo>
                    <a:pt x="17" y="0"/>
                    <a:pt x="16" y="1"/>
                    <a:pt x="16" y="1"/>
                  </a:cubicBezTo>
                  <a:cubicBezTo>
                    <a:pt x="16" y="1"/>
                    <a:pt x="16" y="1"/>
                    <a:pt x="16" y="1"/>
                  </a:cubicBezTo>
                  <a:cubicBezTo>
                    <a:pt x="1" y="31"/>
                    <a:pt x="1" y="31"/>
                    <a:pt x="1" y="31"/>
                  </a:cubicBezTo>
                  <a:cubicBezTo>
                    <a:pt x="0" y="32"/>
                    <a:pt x="0" y="32"/>
                    <a:pt x="1" y="33"/>
                  </a:cubicBezTo>
                  <a:cubicBezTo>
                    <a:pt x="28" y="86"/>
                    <a:pt x="28" y="86"/>
                    <a:pt x="28" y="86"/>
                  </a:cubicBezTo>
                  <a:cubicBezTo>
                    <a:pt x="28" y="87"/>
                    <a:pt x="29" y="87"/>
                    <a:pt x="30" y="87"/>
                  </a:cubicBezTo>
                  <a:cubicBezTo>
                    <a:pt x="34" y="87"/>
                    <a:pt x="34" y="87"/>
                    <a:pt x="34" y="87"/>
                  </a:cubicBezTo>
                  <a:cubicBezTo>
                    <a:pt x="34" y="83"/>
                    <a:pt x="34" y="83"/>
                    <a:pt x="34" y="83"/>
                  </a:cubicBezTo>
                  <a:cubicBezTo>
                    <a:pt x="31" y="83"/>
                    <a:pt x="31" y="83"/>
                    <a:pt x="31" y="83"/>
                  </a:cubicBezTo>
                  <a:cubicBezTo>
                    <a:pt x="5" y="32"/>
                    <a:pt x="5" y="32"/>
                    <a:pt x="5" y="32"/>
                  </a:cubicBezTo>
                  <a:cubicBezTo>
                    <a:pt x="18" y="7"/>
                    <a:pt x="18" y="7"/>
                    <a:pt x="18" y="7"/>
                  </a:cubicBezTo>
                  <a:cubicBezTo>
                    <a:pt x="34" y="38"/>
                    <a:pt x="34" y="38"/>
                    <a:pt x="34" y="38"/>
                  </a:cubicBezTo>
                  <a:cubicBezTo>
                    <a:pt x="34" y="29"/>
                    <a:pt x="34" y="29"/>
                    <a:pt x="34" y="29"/>
                  </a:cubicBezTo>
                  <a:cubicBezTo>
                    <a:pt x="19" y="1"/>
                    <a:pt x="19" y="1"/>
                    <a:pt x="19" y="1"/>
                  </a:cubicBezTo>
                  <a:cubicBezTo>
                    <a:pt x="19" y="1"/>
                    <a:pt x="18" y="0"/>
                    <a:pt x="18"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10231" name="组合 10230"/>
            <p:cNvGrpSpPr/>
            <p:nvPr userDrawn="1"/>
          </p:nvGrpSpPr>
          <p:grpSpPr>
            <a:xfrm>
              <a:off x="3061620" y="4888786"/>
              <a:ext cx="1693688" cy="89710"/>
              <a:chOff x="2984654" y="5138738"/>
              <a:chExt cx="1618459" cy="85725"/>
            </a:xfrm>
          </p:grpSpPr>
          <p:sp>
            <p:nvSpPr>
              <p:cNvPr id="10230" name="Freeform 274"/>
              <p:cNvSpPr/>
              <p:nvPr userDrawn="1"/>
            </p:nvSpPr>
            <p:spPr bwMode="auto">
              <a:xfrm>
                <a:off x="4421344"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173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9" name="Freeform 274"/>
              <p:cNvSpPr/>
              <p:nvPr userDrawn="1"/>
            </p:nvSpPr>
            <p:spPr bwMode="auto">
              <a:xfrm>
                <a:off x="4277675"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173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0" name="Freeform 274"/>
              <p:cNvSpPr/>
              <p:nvPr userDrawn="1"/>
            </p:nvSpPr>
            <p:spPr bwMode="auto">
              <a:xfrm>
                <a:off x="4134006"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173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1" name="Freeform 274"/>
              <p:cNvSpPr/>
              <p:nvPr userDrawn="1"/>
            </p:nvSpPr>
            <p:spPr bwMode="auto">
              <a:xfrm>
                <a:off x="3990337"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282" name="Freeform 274"/>
              <p:cNvSpPr/>
              <p:nvPr userDrawn="1"/>
            </p:nvSpPr>
            <p:spPr bwMode="auto">
              <a:xfrm>
                <a:off x="3846668"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283" name="Freeform 274"/>
              <p:cNvSpPr/>
              <p:nvPr userDrawn="1"/>
            </p:nvSpPr>
            <p:spPr bwMode="auto">
              <a:xfrm>
                <a:off x="3702999"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284" name="Freeform 274"/>
              <p:cNvSpPr/>
              <p:nvPr userDrawn="1"/>
            </p:nvSpPr>
            <p:spPr bwMode="auto">
              <a:xfrm>
                <a:off x="3559330"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285" name="Freeform 274"/>
              <p:cNvSpPr/>
              <p:nvPr userDrawn="1"/>
            </p:nvSpPr>
            <p:spPr bwMode="auto">
              <a:xfrm>
                <a:off x="3415661"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286" name="Freeform 274"/>
              <p:cNvSpPr/>
              <p:nvPr userDrawn="1"/>
            </p:nvSpPr>
            <p:spPr bwMode="auto">
              <a:xfrm>
                <a:off x="3271992"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287" name="Freeform 274"/>
              <p:cNvSpPr/>
              <p:nvPr userDrawn="1"/>
            </p:nvSpPr>
            <p:spPr bwMode="auto">
              <a:xfrm>
                <a:off x="3128323"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288" name="Freeform 274"/>
              <p:cNvSpPr/>
              <p:nvPr userDrawn="1"/>
            </p:nvSpPr>
            <p:spPr bwMode="auto">
              <a:xfrm>
                <a:off x="2984654"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grpSp>
        <p:sp>
          <p:nvSpPr>
            <p:cNvPr id="10183" name="Freeform 161"/>
            <p:cNvSpPr/>
            <p:nvPr userDrawn="1"/>
          </p:nvSpPr>
          <p:spPr bwMode="auto">
            <a:xfrm>
              <a:off x="2489975" y="3464230"/>
              <a:ext cx="76419" cy="151178"/>
            </a:xfrm>
            <a:custGeom>
              <a:avLst/>
              <a:gdLst>
                <a:gd name="T0" fmla="*/ 0 w 29"/>
                <a:gd name="T1" fmla="*/ 0 h 58"/>
                <a:gd name="T2" fmla="*/ 0 w 29"/>
                <a:gd name="T3" fmla="*/ 9 h 58"/>
                <a:gd name="T4" fmla="*/ 23 w 29"/>
                <a:gd name="T5" fmla="*/ 54 h 58"/>
                <a:gd name="T6" fmla="*/ 0 w 29"/>
                <a:gd name="T7" fmla="*/ 54 h 58"/>
                <a:gd name="T8" fmla="*/ 0 w 29"/>
                <a:gd name="T9" fmla="*/ 58 h 58"/>
                <a:gd name="T10" fmla="*/ 27 w 29"/>
                <a:gd name="T11" fmla="*/ 58 h 58"/>
                <a:gd name="T12" fmla="*/ 28 w 29"/>
                <a:gd name="T13" fmla="*/ 57 h 58"/>
                <a:gd name="T14" fmla="*/ 28 w 29"/>
                <a:gd name="T15" fmla="*/ 55 h 58"/>
                <a:gd name="T16" fmla="*/ 0 w 2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8">
                  <a:moveTo>
                    <a:pt x="0" y="0"/>
                  </a:moveTo>
                  <a:cubicBezTo>
                    <a:pt x="0" y="9"/>
                    <a:pt x="0" y="9"/>
                    <a:pt x="0" y="9"/>
                  </a:cubicBezTo>
                  <a:cubicBezTo>
                    <a:pt x="23" y="54"/>
                    <a:pt x="23" y="54"/>
                    <a:pt x="23" y="54"/>
                  </a:cubicBezTo>
                  <a:cubicBezTo>
                    <a:pt x="0" y="54"/>
                    <a:pt x="0" y="54"/>
                    <a:pt x="0" y="54"/>
                  </a:cubicBezTo>
                  <a:cubicBezTo>
                    <a:pt x="0" y="58"/>
                    <a:pt x="0" y="58"/>
                    <a:pt x="0" y="58"/>
                  </a:cubicBezTo>
                  <a:cubicBezTo>
                    <a:pt x="27" y="58"/>
                    <a:pt x="27" y="58"/>
                    <a:pt x="27" y="58"/>
                  </a:cubicBezTo>
                  <a:cubicBezTo>
                    <a:pt x="27" y="58"/>
                    <a:pt x="28" y="58"/>
                    <a:pt x="28" y="57"/>
                  </a:cubicBezTo>
                  <a:cubicBezTo>
                    <a:pt x="29" y="57"/>
                    <a:pt x="29" y="56"/>
                    <a:pt x="28" y="55"/>
                  </a:cubicBezTo>
                  <a:cubicBezTo>
                    <a:pt x="0" y="0"/>
                    <a:pt x="0" y="0"/>
                    <a:pt x="0"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11" name="Freeform 89"/>
            <p:cNvSpPr>
              <a:spLocks noEditPoints="1"/>
            </p:cNvSpPr>
            <p:nvPr userDrawn="1"/>
          </p:nvSpPr>
          <p:spPr bwMode="auto">
            <a:xfrm>
              <a:off x="1984942" y="3974245"/>
              <a:ext cx="505032" cy="696081"/>
            </a:xfrm>
            <a:custGeom>
              <a:avLst/>
              <a:gdLst>
                <a:gd name="T0" fmla="*/ 0 w 195"/>
                <a:gd name="T1" fmla="*/ 108 h 268"/>
                <a:gd name="T2" fmla="*/ 0 w 195"/>
                <a:gd name="T3" fmla="*/ 241 h 268"/>
                <a:gd name="T4" fmla="*/ 27 w 195"/>
                <a:gd name="T5" fmla="*/ 268 h 268"/>
                <a:gd name="T6" fmla="*/ 195 w 195"/>
                <a:gd name="T7" fmla="*/ 268 h 268"/>
                <a:gd name="T8" fmla="*/ 195 w 195"/>
                <a:gd name="T9" fmla="*/ 264 h 268"/>
                <a:gd name="T10" fmla="*/ 27 w 195"/>
                <a:gd name="T11" fmla="*/ 264 h 268"/>
                <a:gd name="T12" fmla="*/ 11 w 195"/>
                <a:gd name="T13" fmla="*/ 258 h 268"/>
                <a:gd name="T14" fmla="*/ 4 w 195"/>
                <a:gd name="T15" fmla="*/ 241 h 268"/>
                <a:gd name="T16" fmla="*/ 4 w 195"/>
                <a:gd name="T17" fmla="*/ 111 h 268"/>
                <a:gd name="T18" fmla="*/ 0 w 195"/>
                <a:gd name="T19" fmla="*/ 108 h 268"/>
                <a:gd name="T20" fmla="*/ 195 w 195"/>
                <a:gd name="T21" fmla="*/ 0 h 268"/>
                <a:gd name="T22" fmla="*/ 57 w 195"/>
                <a:gd name="T23" fmla="*/ 0 h 268"/>
                <a:gd name="T24" fmla="*/ 59 w 195"/>
                <a:gd name="T25" fmla="*/ 4 h 268"/>
                <a:gd name="T26" fmla="*/ 195 w 195"/>
                <a:gd name="T27" fmla="*/ 4 h 268"/>
                <a:gd name="T28" fmla="*/ 195 w 195"/>
                <a:gd name="T2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268">
                  <a:moveTo>
                    <a:pt x="0" y="108"/>
                  </a:moveTo>
                  <a:cubicBezTo>
                    <a:pt x="0" y="241"/>
                    <a:pt x="0" y="241"/>
                    <a:pt x="0" y="241"/>
                  </a:cubicBezTo>
                  <a:cubicBezTo>
                    <a:pt x="0" y="256"/>
                    <a:pt x="12" y="268"/>
                    <a:pt x="27" y="268"/>
                  </a:cubicBezTo>
                  <a:cubicBezTo>
                    <a:pt x="195" y="268"/>
                    <a:pt x="195" y="268"/>
                    <a:pt x="195" y="268"/>
                  </a:cubicBezTo>
                  <a:cubicBezTo>
                    <a:pt x="195" y="264"/>
                    <a:pt x="195" y="264"/>
                    <a:pt x="195" y="264"/>
                  </a:cubicBezTo>
                  <a:cubicBezTo>
                    <a:pt x="27" y="264"/>
                    <a:pt x="27" y="264"/>
                    <a:pt x="27" y="264"/>
                  </a:cubicBezTo>
                  <a:cubicBezTo>
                    <a:pt x="21" y="264"/>
                    <a:pt x="15" y="262"/>
                    <a:pt x="11" y="258"/>
                  </a:cubicBezTo>
                  <a:cubicBezTo>
                    <a:pt x="6" y="253"/>
                    <a:pt x="4" y="248"/>
                    <a:pt x="4" y="241"/>
                  </a:cubicBezTo>
                  <a:cubicBezTo>
                    <a:pt x="4" y="111"/>
                    <a:pt x="4" y="111"/>
                    <a:pt x="4" y="111"/>
                  </a:cubicBezTo>
                  <a:cubicBezTo>
                    <a:pt x="2" y="110"/>
                    <a:pt x="1" y="109"/>
                    <a:pt x="0" y="108"/>
                  </a:cubicBezTo>
                  <a:moveTo>
                    <a:pt x="195" y="0"/>
                  </a:moveTo>
                  <a:cubicBezTo>
                    <a:pt x="57" y="0"/>
                    <a:pt x="57" y="0"/>
                    <a:pt x="57" y="0"/>
                  </a:cubicBezTo>
                  <a:cubicBezTo>
                    <a:pt x="58" y="1"/>
                    <a:pt x="59" y="3"/>
                    <a:pt x="59" y="4"/>
                  </a:cubicBezTo>
                  <a:cubicBezTo>
                    <a:pt x="195" y="4"/>
                    <a:pt x="195" y="4"/>
                    <a:pt x="195" y="4"/>
                  </a:cubicBezTo>
                  <a:cubicBezTo>
                    <a:pt x="195" y="0"/>
                    <a:pt x="195" y="0"/>
                    <a:pt x="195"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95" name="Freeform 173"/>
            <p:cNvSpPr>
              <a:spLocks noEditPoints="1"/>
            </p:cNvSpPr>
            <p:nvPr userDrawn="1"/>
          </p:nvSpPr>
          <p:spPr bwMode="auto">
            <a:xfrm>
              <a:off x="2489975" y="3974245"/>
              <a:ext cx="189387" cy="696081"/>
            </a:xfrm>
            <a:custGeom>
              <a:avLst/>
              <a:gdLst>
                <a:gd name="T0" fmla="*/ 73 w 73"/>
                <a:gd name="T1" fmla="*/ 26 h 268"/>
                <a:gd name="T2" fmla="*/ 69 w 73"/>
                <a:gd name="T3" fmla="*/ 28 h 268"/>
                <a:gd name="T4" fmla="*/ 69 w 73"/>
                <a:gd name="T5" fmla="*/ 241 h 268"/>
                <a:gd name="T6" fmla="*/ 63 w 73"/>
                <a:gd name="T7" fmla="*/ 258 h 268"/>
                <a:gd name="T8" fmla="*/ 46 w 73"/>
                <a:gd name="T9" fmla="*/ 264 h 268"/>
                <a:gd name="T10" fmla="*/ 46 w 73"/>
                <a:gd name="T11" fmla="*/ 264 h 268"/>
                <a:gd name="T12" fmla="*/ 0 w 73"/>
                <a:gd name="T13" fmla="*/ 264 h 268"/>
                <a:gd name="T14" fmla="*/ 0 w 73"/>
                <a:gd name="T15" fmla="*/ 268 h 268"/>
                <a:gd name="T16" fmla="*/ 46 w 73"/>
                <a:gd name="T17" fmla="*/ 268 h 268"/>
                <a:gd name="T18" fmla="*/ 73 w 73"/>
                <a:gd name="T19" fmla="*/ 241 h 268"/>
                <a:gd name="T20" fmla="*/ 73 w 73"/>
                <a:gd name="T21" fmla="*/ 27 h 268"/>
                <a:gd name="T22" fmla="*/ 73 w 73"/>
                <a:gd name="T23" fmla="*/ 26 h 268"/>
                <a:gd name="T24" fmla="*/ 32 w 73"/>
                <a:gd name="T25" fmla="*/ 0 h 268"/>
                <a:gd name="T26" fmla="*/ 0 w 73"/>
                <a:gd name="T27" fmla="*/ 0 h 268"/>
                <a:gd name="T28" fmla="*/ 0 w 73"/>
                <a:gd name="T29" fmla="*/ 4 h 268"/>
                <a:gd name="T30" fmla="*/ 21 w 73"/>
                <a:gd name="T31" fmla="*/ 4 h 268"/>
                <a:gd name="T32" fmla="*/ 32 w 73"/>
                <a:gd name="T3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268">
                  <a:moveTo>
                    <a:pt x="73" y="26"/>
                  </a:moveTo>
                  <a:cubicBezTo>
                    <a:pt x="72" y="27"/>
                    <a:pt x="71" y="28"/>
                    <a:pt x="69" y="28"/>
                  </a:cubicBezTo>
                  <a:cubicBezTo>
                    <a:pt x="69" y="241"/>
                    <a:pt x="69" y="241"/>
                    <a:pt x="69" y="241"/>
                  </a:cubicBezTo>
                  <a:cubicBezTo>
                    <a:pt x="69" y="248"/>
                    <a:pt x="67" y="253"/>
                    <a:pt x="63" y="258"/>
                  </a:cubicBezTo>
                  <a:cubicBezTo>
                    <a:pt x="58" y="262"/>
                    <a:pt x="53" y="264"/>
                    <a:pt x="46" y="264"/>
                  </a:cubicBezTo>
                  <a:cubicBezTo>
                    <a:pt x="46" y="264"/>
                    <a:pt x="46" y="264"/>
                    <a:pt x="46" y="264"/>
                  </a:cubicBezTo>
                  <a:cubicBezTo>
                    <a:pt x="0" y="264"/>
                    <a:pt x="0" y="264"/>
                    <a:pt x="0" y="264"/>
                  </a:cubicBezTo>
                  <a:cubicBezTo>
                    <a:pt x="0" y="268"/>
                    <a:pt x="0" y="268"/>
                    <a:pt x="0" y="268"/>
                  </a:cubicBezTo>
                  <a:cubicBezTo>
                    <a:pt x="46" y="268"/>
                    <a:pt x="46" y="268"/>
                    <a:pt x="46" y="268"/>
                  </a:cubicBezTo>
                  <a:cubicBezTo>
                    <a:pt x="61" y="268"/>
                    <a:pt x="73" y="256"/>
                    <a:pt x="73" y="241"/>
                  </a:cubicBezTo>
                  <a:cubicBezTo>
                    <a:pt x="73" y="27"/>
                    <a:pt x="73" y="27"/>
                    <a:pt x="73" y="27"/>
                  </a:cubicBezTo>
                  <a:cubicBezTo>
                    <a:pt x="73" y="27"/>
                    <a:pt x="73" y="26"/>
                    <a:pt x="73" y="26"/>
                  </a:cubicBezTo>
                  <a:moveTo>
                    <a:pt x="32" y="0"/>
                  </a:moveTo>
                  <a:cubicBezTo>
                    <a:pt x="0" y="0"/>
                    <a:pt x="0" y="0"/>
                    <a:pt x="0" y="0"/>
                  </a:cubicBezTo>
                  <a:cubicBezTo>
                    <a:pt x="0" y="4"/>
                    <a:pt x="0" y="4"/>
                    <a:pt x="0" y="4"/>
                  </a:cubicBezTo>
                  <a:cubicBezTo>
                    <a:pt x="21" y="4"/>
                    <a:pt x="21" y="4"/>
                    <a:pt x="21" y="4"/>
                  </a:cubicBezTo>
                  <a:cubicBezTo>
                    <a:pt x="25" y="2"/>
                    <a:pt x="29" y="1"/>
                    <a:pt x="3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1" name="Freeform 149"/>
            <p:cNvSpPr/>
            <p:nvPr userDrawn="1"/>
          </p:nvSpPr>
          <p:spPr bwMode="auto">
            <a:xfrm>
              <a:off x="1820475" y="3936272"/>
              <a:ext cx="825662" cy="661193"/>
            </a:xfrm>
            <a:custGeom>
              <a:avLst/>
              <a:gdLst>
                <a:gd name="T0" fmla="*/ 7 w 318"/>
                <a:gd name="T1" fmla="*/ 16 h 255"/>
                <a:gd name="T2" fmla="*/ 89 w 318"/>
                <a:gd name="T3" fmla="*/ 221 h 255"/>
                <a:gd name="T4" fmla="*/ 318 w 318"/>
                <a:gd name="T5" fmla="*/ 185 h 255"/>
                <a:gd name="T6" fmla="*/ 298 w 318"/>
                <a:gd name="T7" fmla="*/ 92 h 255"/>
                <a:gd name="T8" fmla="*/ 139 w 318"/>
                <a:gd name="T9" fmla="*/ 120 h 255"/>
                <a:gd name="T10" fmla="*/ 97 w 318"/>
                <a:gd name="T11" fmla="*/ 0 h 255"/>
                <a:gd name="T12" fmla="*/ 7 w 318"/>
                <a:gd name="T13" fmla="*/ 16 h 255"/>
              </a:gdLst>
              <a:ahLst/>
              <a:cxnLst>
                <a:cxn ang="0">
                  <a:pos x="T0" y="T1"/>
                </a:cxn>
                <a:cxn ang="0">
                  <a:pos x="T2" y="T3"/>
                </a:cxn>
                <a:cxn ang="0">
                  <a:pos x="T4" y="T5"/>
                </a:cxn>
                <a:cxn ang="0">
                  <a:pos x="T6" y="T7"/>
                </a:cxn>
                <a:cxn ang="0">
                  <a:pos x="T8" y="T9"/>
                </a:cxn>
                <a:cxn ang="0">
                  <a:pos x="T10" y="T11"/>
                </a:cxn>
                <a:cxn ang="0">
                  <a:pos x="T12" y="T13"/>
                </a:cxn>
              </a:cxnLst>
              <a:rect l="0" t="0" r="r" b="b"/>
              <a:pathLst>
                <a:path w="318" h="255">
                  <a:moveTo>
                    <a:pt x="7" y="16"/>
                  </a:moveTo>
                  <a:cubicBezTo>
                    <a:pt x="7" y="16"/>
                    <a:pt x="0" y="183"/>
                    <a:pt x="89" y="221"/>
                  </a:cubicBezTo>
                  <a:cubicBezTo>
                    <a:pt x="168" y="255"/>
                    <a:pt x="318" y="185"/>
                    <a:pt x="318" y="185"/>
                  </a:cubicBezTo>
                  <a:cubicBezTo>
                    <a:pt x="298" y="92"/>
                    <a:pt x="298" y="92"/>
                    <a:pt x="298" y="92"/>
                  </a:cubicBezTo>
                  <a:cubicBezTo>
                    <a:pt x="298" y="92"/>
                    <a:pt x="181" y="142"/>
                    <a:pt x="139" y="120"/>
                  </a:cubicBezTo>
                  <a:cubicBezTo>
                    <a:pt x="110" y="105"/>
                    <a:pt x="97" y="0"/>
                    <a:pt x="97" y="0"/>
                  </a:cubicBezTo>
                  <a:cubicBezTo>
                    <a:pt x="7" y="16"/>
                    <a:pt x="7" y="16"/>
                    <a:pt x="7" y="16"/>
                  </a:cubicBezTo>
                </a:path>
              </a:pathLst>
            </a:custGeom>
            <a:solidFill>
              <a:srgbClr val="ED910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0" name="Freeform 148"/>
            <p:cNvSpPr/>
            <p:nvPr userDrawn="1"/>
          </p:nvSpPr>
          <p:spPr bwMode="auto">
            <a:xfrm>
              <a:off x="2573039" y="4135627"/>
              <a:ext cx="187726" cy="152839"/>
            </a:xfrm>
            <a:custGeom>
              <a:avLst/>
              <a:gdLst>
                <a:gd name="T0" fmla="*/ 0 w 72"/>
                <a:gd name="T1" fmla="*/ 21 h 59"/>
                <a:gd name="T2" fmla="*/ 51 w 72"/>
                <a:gd name="T3" fmla="*/ 2 h 59"/>
                <a:gd name="T4" fmla="*/ 42 w 72"/>
                <a:gd name="T5" fmla="*/ 12 h 59"/>
                <a:gd name="T6" fmla="*/ 53 w 72"/>
                <a:gd name="T7" fmla="*/ 10 h 59"/>
                <a:gd name="T8" fmla="*/ 66 w 72"/>
                <a:gd name="T9" fmla="*/ 7 h 59"/>
                <a:gd name="T10" fmla="*/ 47 w 72"/>
                <a:gd name="T11" fmla="*/ 18 h 59"/>
                <a:gd name="T12" fmla="*/ 71 w 72"/>
                <a:gd name="T13" fmla="*/ 15 h 59"/>
                <a:gd name="T14" fmla="*/ 48 w 72"/>
                <a:gd name="T15" fmla="*/ 27 h 59"/>
                <a:gd name="T16" fmla="*/ 68 w 72"/>
                <a:gd name="T17" fmla="*/ 24 h 59"/>
                <a:gd name="T18" fmla="*/ 48 w 72"/>
                <a:gd name="T19" fmla="*/ 35 h 59"/>
                <a:gd name="T20" fmla="*/ 65 w 72"/>
                <a:gd name="T21" fmla="*/ 32 h 59"/>
                <a:gd name="T22" fmla="*/ 11 w 72"/>
                <a:gd name="T23" fmla="*/ 59 h 59"/>
                <a:gd name="T24" fmla="*/ 0 w 72"/>
                <a:gd name="T25" fmla="*/ 2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9">
                  <a:moveTo>
                    <a:pt x="0" y="21"/>
                  </a:moveTo>
                  <a:cubicBezTo>
                    <a:pt x="13" y="17"/>
                    <a:pt x="49" y="0"/>
                    <a:pt x="51" y="2"/>
                  </a:cubicBezTo>
                  <a:cubicBezTo>
                    <a:pt x="53" y="4"/>
                    <a:pt x="40" y="11"/>
                    <a:pt x="42" y="12"/>
                  </a:cubicBezTo>
                  <a:cubicBezTo>
                    <a:pt x="43" y="13"/>
                    <a:pt x="48" y="11"/>
                    <a:pt x="53" y="10"/>
                  </a:cubicBezTo>
                  <a:cubicBezTo>
                    <a:pt x="59" y="8"/>
                    <a:pt x="65" y="6"/>
                    <a:pt x="66" y="7"/>
                  </a:cubicBezTo>
                  <a:cubicBezTo>
                    <a:pt x="68" y="11"/>
                    <a:pt x="47" y="18"/>
                    <a:pt x="47" y="18"/>
                  </a:cubicBezTo>
                  <a:cubicBezTo>
                    <a:pt x="47" y="18"/>
                    <a:pt x="70" y="11"/>
                    <a:pt x="71" y="15"/>
                  </a:cubicBezTo>
                  <a:cubicBezTo>
                    <a:pt x="72" y="17"/>
                    <a:pt x="54" y="23"/>
                    <a:pt x="48" y="27"/>
                  </a:cubicBezTo>
                  <a:cubicBezTo>
                    <a:pt x="55" y="24"/>
                    <a:pt x="68" y="21"/>
                    <a:pt x="68" y="24"/>
                  </a:cubicBezTo>
                  <a:cubicBezTo>
                    <a:pt x="69" y="26"/>
                    <a:pt x="57" y="31"/>
                    <a:pt x="48" y="35"/>
                  </a:cubicBezTo>
                  <a:cubicBezTo>
                    <a:pt x="54" y="33"/>
                    <a:pt x="65" y="30"/>
                    <a:pt x="65" y="32"/>
                  </a:cubicBezTo>
                  <a:cubicBezTo>
                    <a:pt x="66" y="34"/>
                    <a:pt x="38" y="47"/>
                    <a:pt x="11" y="59"/>
                  </a:cubicBezTo>
                  <a:cubicBezTo>
                    <a:pt x="0" y="21"/>
                    <a:pt x="0" y="21"/>
                    <a:pt x="0" y="21"/>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14" name="Freeform 192"/>
            <p:cNvSpPr/>
            <p:nvPr userDrawn="1"/>
          </p:nvSpPr>
          <p:spPr bwMode="auto">
            <a:xfrm>
              <a:off x="2596297" y="4140610"/>
              <a:ext cx="164468" cy="139548"/>
            </a:xfrm>
            <a:custGeom>
              <a:avLst/>
              <a:gdLst>
                <a:gd name="T0" fmla="*/ 41 w 63"/>
                <a:gd name="T1" fmla="*/ 0 h 54"/>
                <a:gd name="T2" fmla="*/ 0 w 63"/>
                <a:gd name="T3" fmla="*/ 16 h 54"/>
                <a:gd name="T4" fmla="*/ 8 w 63"/>
                <a:gd name="T5" fmla="*/ 54 h 54"/>
                <a:gd name="T6" fmla="*/ 28 w 63"/>
                <a:gd name="T7" fmla="*/ 45 h 54"/>
                <a:gd name="T8" fmla="*/ 32 w 63"/>
                <a:gd name="T9" fmla="*/ 43 h 54"/>
                <a:gd name="T10" fmla="*/ 56 w 63"/>
                <a:gd name="T11" fmla="*/ 30 h 54"/>
                <a:gd name="T12" fmla="*/ 54 w 63"/>
                <a:gd name="T13" fmla="*/ 29 h 54"/>
                <a:gd name="T14" fmla="*/ 39 w 63"/>
                <a:gd name="T15" fmla="*/ 33 h 54"/>
                <a:gd name="T16" fmla="*/ 59 w 63"/>
                <a:gd name="T17" fmla="*/ 22 h 54"/>
                <a:gd name="T18" fmla="*/ 56 w 63"/>
                <a:gd name="T19" fmla="*/ 21 h 54"/>
                <a:gd name="T20" fmla="*/ 39 w 63"/>
                <a:gd name="T21" fmla="*/ 25 h 54"/>
                <a:gd name="T22" fmla="*/ 62 w 63"/>
                <a:gd name="T23" fmla="*/ 13 h 54"/>
                <a:gd name="T24" fmla="*/ 59 w 63"/>
                <a:gd name="T25" fmla="*/ 12 h 54"/>
                <a:gd name="T26" fmla="*/ 38 w 63"/>
                <a:gd name="T27" fmla="*/ 16 h 54"/>
                <a:gd name="T28" fmla="*/ 57 w 63"/>
                <a:gd name="T29" fmla="*/ 5 h 54"/>
                <a:gd name="T30" fmla="*/ 55 w 63"/>
                <a:gd name="T31" fmla="*/ 5 h 54"/>
                <a:gd name="T32" fmla="*/ 44 w 63"/>
                <a:gd name="T33" fmla="*/ 8 h 54"/>
                <a:gd name="T34" fmla="*/ 34 w 63"/>
                <a:gd name="T35" fmla="*/ 10 h 54"/>
                <a:gd name="T36" fmla="*/ 33 w 63"/>
                <a:gd name="T37" fmla="*/ 10 h 54"/>
                <a:gd name="T38" fmla="*/ 42 w 63"/>
                <a:gd name="T39" fmla="*/ 0 h 54"/>
                <a:gd name="T40" fmla="*/ 41 w 63"/>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54">
                  <a:moveTo>
                    <a:pt x="41" y="0"/>
                  </a:moveTo>
                  <a:cubicBezTo>
                    <a:pt x="37" y="0"/>
                    <a:pt x="15" y="10"/>
                    <a:pt x="0" y="16"/>
                  </a:cubicBezTo>
                  <a:cubicBezTo>
                    <a:pt x="8" y="54"/>
                    <a:pt x="8" y="54"/>
                    <a:pt x="8" y="54"/>
                  </a:cubicBezTo>
                  <a:cubicBezTo>
                    <a:pt x="15" y="51"/>
                    <a:pt x="22" y="48"/>
                    <a:pt x="28" y="45"/>
                  </a:cubicBezTo>
                  <a:cubicBezTo>
                    <a:pt x="30" y="45"/>
                    <a:pt x="31" y="44"/>
                    <a:pt x="32" y="43"/>
                  </a:cubicBezTo>
                  <a:cubicBezTo>
                    <a:pt x="46" y="37"/>
                    <a:pt x="57" y="31"/>
                    <a:pt x="56" y="30"/>
                  </a:cubicBezTo>
                  <a:cubicBezTo>
                    <a:pt x="56" y="29"/>
                    <a:pt x="55" y="29"/>
                    <a:pt x="54" y="29"/>
                  </a:cubicBezTo>
                  <a:cubicBezTo>
                    <a:pt x="50" y="29"/>
                    <a:pt x="43" y="31"/>
                    <a:pt x="39" y="33"/>
                  </a:cubicBezTo>
                  <a:cubicBezTo>
                    <a:pt x="48" y="29"/>
                    <a:pt x="60" y="24"/>
                    <a:pt x="59" y="22"/>
                  </a:cubicBezTo>
                  <a:cubicBezTo>
                    <a:pt x="59" y="21"/>
                    <a:pt x="58" y="21"/>
                    <a:pt x="56" y="21"/>
                  </a:cubicBezTo>
                  <a:cubicBezTo>
                    <a:pt x="52" y="21"/>
                    <a:pt x="44" y="23"/>
                    <a:pt x="39" y="25"/>
                  </a:cubicBezTo>
                  <a:cubicBezTo>
                    <a:pt x="45" y="21"/>
                    <a:pt x="63" y="15"/>
                    <a:pt x="62" y="13"/>
                  </a:cubicBezTo>
                  <a:cubicBezTo>
                    <a:pt x="62" y="12"/>
                    <a:pt x="61" y="12"/>
                    <a:pt x="59" y="12"/>
                  </a:cubicBezTo>
                  <a:cubicBezTo>
                    <a:pt x="53" y="12"/>
                    <a:pt x="38" y="16"/>
                    <a:pt x="38" y="16"/>
                  </a:cubicBezTo>
                  <a:cubicBezTo>
                    <a:pt x="38" y="16"/>
                    <a:pt x="59" y="9"/>
                    <a:pt x="57" y="5"/>
                  </a:cubicBezTo>
                  <a:cubicBezTo>
                    <a:pt x="57" y="5"/>
                    <a:pt x="56" y="5"/>
                    <a:pt x="55" y="5"/>
                  </a:cubicBezTo>
                  <a:cubicBezTo>
                    <a:pt x="53" y="5"/>
                    <a:pt x="49" y="6"/>
                    <a:pt x="44" y="8"/>
                  </a:cubicBezTo>
                  <a:cubicBezTo>
                    <a:pt x="40" y="9"/>
                    <a:pt x="36" y="10"/>
                    <a:pt x="34" y="10"/>
                  </a:cubicBezTo>
                  <a:cubicBezTo>
                    <a:pt x="34" y="10"/>
                    <a:pt x="34" y="10"/>
                    <a:pt x="33" y="10"/>
                  </a:cubicBezTo>
                  <a:cubicBezTo>
                    <a:pt x="31" y="9"/>
                    <a:pt x="44" y="2"/>
                    <a:pt x="42" y="0"/>
                  </a:cubicBezTo>
                  <a:cubicBezTo>
                    <a:pt x="42" y="0"/>
                    <a:pt x="42" y="0"/>
                    <a:pt x="41" y="0"/>
                  </a:cubicBezTo>
                </a:path>
              </a:pathLst>
            </a:custGeom>
            <a:solidFill>
              <a:srgbClr val="BAB0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15" name="Freeform 193"/>
            <p:cNvSpPr/>
            <p:nvPr userDrawn="1"/>
          </p:nvSpPr>
          <p:spPr bwMode="auto">
            <a:xfrm>
              <a:off x="2489975" y="4173836"/>
              <a:ext cx="156161" cy="300694"/>
            </a:xfrm>
            <a:custGeom>
              <a:avLst/>
              <a:gdLst>
                <a:gd name="T0" fmla="*/ 40 w 60"/>
                <a:gd name="T1" fmla="*/ 0 h 116"/>
                <a:gd name="T2" fmla="*/ 32 w 60"/>
                <a:gd name="T3" fmla="*/ 4 h 116"/>
                <a:gd name="T4" fmla="*/ 21 w 60"/>
                <a:gd name="T5" fmla="*/ 8 h 116"/>
                <a:gd name="T6" fmla="*/ 0 w 60"/>
                <a:gd name="T7" fmla="*/ 15 h 116"/>
                <a:gd name="T8" fmla="*/ 0 w 60"/>
                <a:gd name="T9" fmla="*/ 116 h 116"/>
                <a:gd name="T10" fmla="*/ 6 w 60"/>
                <a:gd name="T11" fmla="*/ 114 h 116"/>
                <a:gd name="T12" fmla="*/ 13 w 60"/>
                <a:gd name="T13" fmla="*/ 112 h 116"/>
                <a:gd name="T14" fmla="*/ 60 w 60"/>
                <a:gd name="T15" fmla="*/ 93 h 116"/>
                <a:gd name="T16" fmla="*/ 49 w 60"/>
                <a:gd name="T17" fmla="*/ 41 h 116"/>
                <a:gd name="T18" fmla="*/ 41 w 60"/>
                <a:gd name="T19" fmla="*/ 3 h 116"/>
                <a:gd name="T20" fmla="*/ 40 w 6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16">
                  <a:moveTo>
                    <a:pt x="40" y="0"/>
                  </a:moveTo>
                  <a:cubicBezTo>
                    <a:pt x="40" y="0"/>
                    <a:pt x="37" y="2"/>
                    <a:pt x="32" y="4"/>
                  </a:cubicBezTo>
                  <a:cubicBezTo>
                    <a:pt x="29" y="5"/>
                    <a:pt x="25" y="6"/>
                    <a:pt x="21" y="8"/>
                  </a:cubicBezTo>
                  <a:cubicBezTo>
                    <a:pt x="15" y="10"/>
                    <a:pt x="8" y="13"/>
                    <a:pt x="0" y="15"/>
                  </a:cubicBezTo>
                  <a:cubicBezTo>
                    <a:pt x="0" y="116"/>
                    <a:pt x="0" y="116"/>
                    <a:pt x="0" y="116"/>
                  </a:cubicBezTo>
                  <a:cubicBezTo>
                    <a:pt x="2" y="116"/>
                    <a:pt x="4" y="115"/>
                    <a:pt x="6" y="114"/>
                  </a:cubicBezTo>
                  <a:cubicBezTo>
                    <a:pt x="8" y="114"/>
                    <a:pt x="10" y="113"/>
                    <a:pt x="13" y="112"/>
                  </a:cubicBezTo>
                  <a:cubicBezTo>
                    <a:pt x="41" y="102"/>
                    <a:pt x="60" y="93"/>
                    <a:pt x="60" y="93"/>
                  </a:cubicBezTo>
                  <a:cubicBezTo>
                    <a:pt x="49" y="41"/>
                    <a:pt x="49" y="41"/>
                    <a:pt x="49" y="41"/>
                  </a:cubicBezTo>
                  <a:cubicBezTo>
                    <a:pt x="41" y="3"/>
                    <a:pt x="41" y="3"/>
                    <a:pt x="41" y="3"/>
                  </a:cubicBezTo>
                  <a:cubicBezTo>
                    <a:pt x="40" y="0"/>
                    <a:pt x="40" y="0"/>
                    <a:pt x="40" y="0"/>
                  </a:cubicBezTo>
                </a:path>
              </a:pathLst>
            </a:custGeom>
            <a:solidFill>
              <a:srgbClr val="B17A0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98" name="Freeform 76"/>
            <p:cNvSpPr/>
            <p:nvPr userDrawn="1"/>
          </p:nvSpPr>
          <p:spPr bwMode="auto">
            <a:xfrm>
              <a:off x="3315636" y="5298294"/>
              <a:ext cx="18275" cy="217630"/>
            </a:xfrm>
            <a:custGeom>
              <a:avLst/>
              <a:gdLst>
                <a:gd name="T0" fmla="*/ 7 w 7"/>
                <a:gd name="T1" fmla="*/ 0 h 84"/>
                <a:gd name="T2" fmla="*/ 7 w 7"/>
                <a:gd name="T3" fmla="*/ 0 h 84"/>
                <a:gd name="T4" fmla="*/ 0 w 7"/>
                <a:gd name="T5" fmla="*/ 84 h 84"/>
                <a:gd name="T6" fmla="*/ 0 w 7"/>
                <a:gd name="T7" fmla="*/ 84 h 84"/>
                <a:gd name="T8" fmla="*/ 7 w 7"/>
                <a:gd name="T9" fmla="*/ 0 h 84"/>
              </a:gdLst>
              <a:ahLst/>
              <a:cxnLst>
                <a:cxn ang="0">
                  <a:pos x="T0" y="T1"/>
                </a:cxn>
                <a:cxn ang="0">
                  <a:pos x="T2" y="T3"/>
                </a:cxn>
                <a:cxn ang="0">
                  <a:pos x="T4" y="T5"/>
                </a:cxn>
                <a:cxn ang="0">
                  <a:pos x="T6" y="T7"/>
                </a:cxn>
                <a:cxn ang="0">
                  <a:pos x="T8" y="T9"/>
                </a:cxn>
              </a:cxnLst>
              <a:rect l="0" t="0" r="r" b="b"/>
              <a:pathLst>
                <a:path w="7" h="84">
                  <a:moveTo>
                    <a:pt x="7" y="0"/>
                  </a:moveTo>
                  <a:cubicBezTo>
                    <a:pt x="7" y="0"/>
                    <a:pt x="7" y="0"/>
                    <a:pt x="7" y="0"/>
                  </a:cubicBezTo>
                  <a:cubicBezTo>
                    <a:pt x="6" y="27"/>
                    <a:pt x="4" y="56"/>
                    <a:pt x="0" y="84"/>
                  </a:cubicBezTo>
                  <a:cubicBezTo>
                    <a:pt x="0" y="84"/>
                    <a:pt x="0" y="84"/>
                    <a:pt x="0" y="84"/>
                  </a:cubicBezTo>
                  <a:cubicBezTo>
                    <a:pt x="4" y="56"/>
                    <a:pt x="6" y="27"/>
                    <a:pt x="7" y="0"/>
                  </a:cubicBezTo>
                </a:path>
              </a:pathLst>
            </a:custGeom>
            <a:solidFill>
              <a:srgbClr val="9BBAF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14" name="Freeform 92"/>
            <p:cNvSpPr>
              <a:spLocks noEditPoints="1"/>
            </p:cNvSpPr>
            <p:nvPr userDrawn="1"/>
          </p:nvSpPr>
          <p:spPr bwMode="auto">
            <a:xfrm>
              <a:off x="5324136" y="3974245"/>
              <a:ext cx="506694" cy="696081"/>
            </a:xfrm>
            <a:custGeom>
              <a:avLst/>
              <a:gdLst>
                <a:gd name="T0" fmla="*/ 195 w 195"/>
                <a:gd name="T1" fmla="*/ 53 h 268"/>
                <a:gd name="T2" fmla="*/ 191 w 195"/>
                <a:gd name="T3" fmla="*/ 55 h 268"/>
                <a:gd name="T4" fmla="*/ 191 w 195"/>
                <a:gd name="T5" fmla="*/ 241 h 268"/>
                <a:gd name="T6" fmla="*/ 184 w 195"/>
                <a:gd name="T7" fmla="*/ 258 h 268"/>
                <a:gd name="T8" fmla="*/ 168 w 195"/>
                <a:gd name="T9" fmla="*/ 264 h 268"/>
                <a:gd name="T10" fmla="*/ 168 w 195"/>
                <a:gd name="T11" fmla="*/ 264 h 268"/>
                <a:gd name="T12" fmla="*/ 135 w 195"/>
                <a:gd name="T13" fmla="*/ 264 h 268"/>
                <a:gd name="T14" fmla="*/ 134 w 195"/>
                <a:gd name="T15" fmla="*/ 268 h 268"/>
                <a:gd name="T16" fmla="*/ 168 w 195"/>
                <a:gd name="T17" fmla="*/ 268 h 268"/>
                <a:gd name="T18" fmla="*/ 195 w 195"/>
                <a:gd name="T19" fmla="*/ 241 h 268"/>
                <a:gd name="T20" fmla="*/ 195 w 195"/>
                <a:gd name="T21" fmla="*/ 53 h 268"/>
                <a:gd name="T22" fmla="*/ 68 w 195"/>
                <a:gd name="T23" fmla="*/ 0 h 268"/>
                <a:gd name="T24" fmla="*/ 0 w 195"/>
                <a:gd name="T25" fmla="*/ 0 h 268"/>
                <a:gd name="T26" fmla="*/ 0 w 195"/>
                <a:gd name="T27" fmla="*/ 4 h 268"/>
                <a:gd name="T28" fmla="*/ 54 w 195"/>
                <a:gd name="T29" fmla="*/ 4 h 268"/>
                <a:gd name="T30" fmla="*/ 68 w 195"/>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5" h="268">
                  <a:moveTo>
                    <a:pt x="195" y="53"/>
                  </a:moveTo>
                  <a:cubicBezTo>
                    <a:pt x="194" y="54"/>
                    <a:pt x="192" y="55"/>
                    <a:pt x="191" y="55"/>
                  </a:cubicBezTo>
                  <a:cubicBezTo>
                    <a:pt x="191" y="241"/>
                    <a:pt x="191" y="241"/>
                    <a:pt x="191" y="241"/>
                  </a:cubicBezTo>
                  <a:cubicBezTo>
                    <a:pt x="191" y="248"/>
                    <a:pt x="189" y="253"/>
                    <a:pt x="184" y="258"/>
                  </a:cubicBezTo>
                  <a:cubicBezTo>
                    <a:pt x="180" y="262"/>
                    <a:pt x="174" y="264"/>
                    <a:pt x="168" y="264"/>
                  </a:cubicBezTo>
                  <a:cubicBezTo>
                    <a:pt x="168" y="264"/>
                    <a:pt x="168" y="264"/>
                    <a:pt x="168" y="264"/>
                  </a:cubicBezTo>
                  <a:cubicBezTo>
                    <a:pt x="135" y="264"/>
                    <a:pt x="135" y="264"/>
                    <a:pt x="135" y="264"/>
                  </a:cubicBezTo>
                  <a:cubicBezTo>
                    <a:pt x="135" y="266"/>
                    <a:pt x="135" y="267"/>
                    <a:pt x="134" y="268"/>
                  </a:cubicBezTo>
                  <a:cubicBezTo>
                    <a:pt x="168" y="268"/>
                    <a:pt x="168" y="268"/>
                    <a:pt x="168" y="268"/>
                  </a:cubicBezTo>
                  <a:cubicBezTo>
                    <a:pt x="183" y="268"/>
                    <a:pt x="195" y="256"/>
                    <a:pt x="195" y="241"/>
                  </a:cubicBezTo>
                  <a:cubicBezTo>
                    <a:pt x="195" y="53"/>
                    <a:pt x="195" y="53"/>
                    <a:pt x="195" y="53"/>
                  </a:cubicBezTo>
                  <a:moveTo>
                    <a:pt x="68" y="0"/>
                  </a:moveTo>
                  <a:cubicBezTo>
                    <a:pt x="0" y="0"/>
                    <a:pt x="0" y="0"/>
                    <a:pt x="0" y="0"/>
                  </a:cubicBezTo>
                  <a:cubicBezTo>
                    <a:pt x="0" y="4"/>
                    <a:pt x="0" y="4"/>
                    <a:pt x="0" y="4"/>
                  </a:cubicBezTo>
                  <a:cubicBezTo>
                    <a:pt x="54" y="4"/>
                    <a:pt x="54" y="4"/>
                    <a:pt x="54" y="4"/>
                  </a:cubicBezTo>
                  <a:cubicBezTo>
                    <a:pt x="59" y="3"/>
                    <a:pt x="63" y="1"/>
                    <a:pt x="68"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81" name="Freeform 159"/>
            <p:cNvSpPr>
              <a:spLocks noEditPoints="1"/>
            </p:cNvSpPr>
            <p:nvPr userDrawn="1"/>
          </p:nvSpPr>
          <p:spPr bwMode="auto">
            <a:xfrm>
              <a:off x="2489975" y="2577101"/>
              <a:ext cx="3202967" cy="2435451"/>
            </a:xfrm>
            <a:custGeom>
              <a:avLst/>
              <a:gdLst>
                <a:gd name="T0" fmla="*/ 1234 w 1234"/>
                <a:gd name="T1" fmla="*/ 738 h 939"/>
                <a:gd name="T2" fmla="*/ 388 w 1234"/>
                <a:gd name="T3" fmla="*/ 662 h 939"/>
                <a:gd name="T4" fmla="*/ 1190 w 1234"/>
                <a:gd name="T5" fmla="*/ 738 h 939"/>
                <a:gd name="T6" fmla="*/ 424 w 1234"/>
                <a:gd name="T7" fmla="*/ 634 h 939"/>
                <a:gd name="T8" fmla="*/ 827 w 1234"/>
                <a:gd name="T9" fmla="*/ 634 h 939"/>
                <a:gd name="T10" fmla="*/ 381 w 1234"/>
                <a:gd name="T11" fmla="*/ 738 h 939"/>
                <a:gd name="T12" fmla="*/ 1029 w 1234"/>
                <a:gd name="T13" fmla="*/ 797 h 939"/>
                <a:gd name="T14" fmla="*/ 1180 w 1234"/>
                <a:gd name="T15" fmla="*/ 686 h 939"/>
                <a:gd name="T16" fmla="*/ 1195 w 1234"/>
                <a:gd name="T17" fmla="*/ 739 h 939"/>
                <a:gd name="T18" fmla="*/ 1073 w 1234"/>
                <a:gd name="T19" fmla="*/ 597 h 939"/>
                <a:gd name="T20" fmla="*/ 1030 w 1234"/>
                <a:gd name="T21" fmla="*/ 581 h 939"/>
                <a:gd name="T22" fmla="*/ 49 w 1234"/>
                <a:gd name="T23" fmla="*/ 576 h 939"/>
                <a:gd name="T24" fmla="*/ 27 w 1234"/>
                <a:gd name="T25" fmla="*/ 742 h 939"/>
                <a:gd name="T26" fmla="*/ 1023 w 1234"/>
                <a:gd name="T27" fmla="*/ 566 h 939"/>
                <a:gd name="T28" fmla="*/ 387 w 1234"/>
                <a:gd name="T29" fmla="*/ 656 h 939"/>
                <a:gd name="T30" fmla="*/ 371 w 1234"/>
                <a:gd name="T31" fmla="*/ 688 h 939"/>
                <a:gd name="T32" fmla="*/ 424 w 1234"/>
                <a:gd name="T33" fmla="*/ 634 h 939"/>
                <a:gd name="T34" fmla="*/ 256 w 1234"/>
                <a:gd name="T35" fmla="*/ 742 h 939"/>
                <a:gd name="T36" fmla="*/ 213 w 1234"/>
                <a:gd name="T37" fmla="*/ 780 h 939"/>
                <a:gd name="T38" fmla="*/ 451 w 1234"/>
                <a:gd name="T39" fmla="*/ 543 h 939"/>
                <a:gd name="T40" fmla="*/ 803 w 1234"/>
                <a:gd name="T41" fmla="*/ 741 h 939"/>
                <a:gd name="T42" fmla="*/ 829 w 1234"/>
                <a:gd name="T43" fmla="*/ 634 h 939"/>
                <a:gd name="T44" fmla="*/ 789 w 1234"/>
                <a:gd name="T45" fmla="*/ 742 h 939"/>
                <a:gd name="T46" fmla="*/ 618 w 1234"/>
                <a:gd name="T47" fmla="*/ 566 h 939"/>
                <a:gd name="T48" fmla="*/ 872 w 1234"/>
                <a:gd name="T49" fmla="*/ 550 h 939"/>
                <a:gd name="T50" fmla="*/ 1059 w 1234"/>
                <a:gd name="T51" fmla="*/ 559 h 939"/>
                <a:gd name="T52" fmla="*/ 1092 w 1234"/>
                <a:gd name="T53" fmla="*/ 351 h 939"/>
                <a:gd name="T54" fmla="*/ 428 w 1234"/>
                <a:gd name="T55" fmla="*/ 396 h 939"/>
                <a:gd name="T56" fmla="*/ 0 w 1234"/>
                <a:gd name="T57" fmla="*/ 282 h 939"/>
                <a:gd name="T58" fmla="*/ 16 w 1234"/>
                <a:gd name="T59" fmla="*/ 292 h 939"/>
                <a:gd name="T60" fmla="*/ 424 w 1234"/>
                <a:gd name="T61" fmla="*/ 292 h 939"/>
                <a:gd name="T62" fmla="*/ 827 w 1234"/>
                <a:gd name="T63" fmla="*/ 292 h 939"/>
                <a:gd name="T64" fmla="*/ 785 w 1234"/>
                <a:gd name="T65" fmla="*/ 396 h 939"/>
                <a:gd name="T66" fmla="*/ 0 w 1234"/>
                <a:gd name="T67" fmla="*/ 278 h 939"/>
                <a:gd name="T68" fmla="*/ 28 w 1234"/>
                <a:gd name="T69" fmla="*/ 397 h 939"/>
                <a:gd name="T70" fmla="*/ 69 w 1234"/>
                <a:gd name="T71" fmla="*/ 224 h 939"/>
                <a:gd name="T72" fmla="*/ 431 w 1234"/>
                <a:gd name="T73" fmla="*/ 400 h 939"/>
                <a:gd name="T74" fmla="*/ 409 w 1234"/>
                <a:gd name="T75" fmla="*/ 277 h 939"/>
                <a:gd name="T76" fmla="*/ 386 w 1234"/>
                <a:gd name="T77" fmla="*/ 397 h 939"/>
                <a:gd name="T78" fmla="*/ 236 w 1234"/>
                <a:gd name="T79" fmla="*/ 201 h 939"/>
                <a:gd name="T80" fmla="*/ 474 w 1234"/>
                <a:gd name="T81" fmla="*/ 438 h 939"/>
                <a:gd name="T82" fmla="*/ 837 w 1234"/>
                <a:gd name="T83" fmla="*/ 399 h 939"/>
                <a:gd name="T84" fmla="*/ 798 w 1234"/>
                <a:gd name="T85" fmla="*/ 292 h 939"/>
                <a:gd name="T86" fmla="*/ 726 w 1234"/>
                <a:gd name="T87" fmla="*/ 274 h 939"/>
                <a:gd name="T88" fmla="*/ 856 w 1234"/>
                <a:gd name="T89" fmla="*/ 201 h 939"/>
                <a:gd name="T90" fmla="*/ 872 w 1234"/>
                <a:gd name="T91" fmla="*/ 455 h 939"/>
                <a:gd name="T92" fmla="*/ 1023 w 1234"/>
                <a:gd name="T93" fmla="*/ 224 h 939"/>
                <a:gd name="T94" fmla="*/ 1064 w 1234"/>
                <a:gd name="T95" fmla="*/ 397 h 939"/>
                <a:gd name="T96" fmla="*/ 478 w 1234"/>
                <a:gd name="T97" fmla="*/ 566 h 939"/>
                <a:gd name="T98" fmla="*/ 641 w 1234"/>
                <a:gd name="T99" fmla="*/ 539 h 939"/>
                <a:gd name="T100" fmla="*/ 209 w 1234"/>
                <a:gd name="T101" fmla="*/ 438 h 939"/>
                <a:gd name="T102" fmla="*/ 236 w 1234"/>
                <a:gd name="T103" fmla="*/ 465 h 939"/>
                <a:gd name="T104" fmla="*/ 856 w 1234"/>
                <a:gd name="T105" fmla="*/ 465 h 939"/>
                <a:gd name="T106" fmla="*/ 73 w 1234"/>
                <a:gd name="T107" fmla="*/ 438 h 939"/>
                <a:gd name="T108" fmla="*/ 82 w 1234"/>
                <a:gd name="T109" fmla="*/ 522 h 939"/>
                <a:gd name="T110" fmla="*/ 100 w 1234"/>
                <a:gd name="T111" fmla="*/ 534 h 939"/>
                <a:gd name="T112" fmla="*/ 73 w 1234"/>
                <a:gd name="T113" fmla="*/ 565 h 939"/>
                <a:gd name="T114" fmla="*/ 1048 w 1234"/>
                <a:gd name="T115" fmla="*/ 939 h 939"/>
                <a:gd name="T116" fmla="*/ 1010 w 1234"/>
                <a:gd name="T117" fmla="*/ 586 h 939"/>
                <a:gd name="T118" fmla="*/ 1019 w 1234"/>
                <a:gd name="T119" fmla="*/ 566 h 939"/>
                <a:gd name="T120" fmla="*/ 1019 w 1234"/>
                <a:gd name="T121" fmla="*/ 438 h 939"/>
                <a:gd name="T122" fmla="*/ 1092 w 1234"/>
                <a:gd name="T123" fmla="*/ 64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4" h="939">
                  <a:moveTo>
                    <a:pt x="0" y="693"/>
                  </a:moveTo>
                  <a:cubicBezTo>
                    <a:pt x="0" y="738"/>
                    <a:pt x="0" y="738"/>
                    <a:pt x="0" y="738"/>
                  </a:cubicBezTo>
                  <a:cubicBezTo>
                    <a:pt x="23" y="738"/>
                    <a:pt x="23" y="738"/>
                    <a:pt x="23" y="738"/>
                  </a:cubicBezTo>
                  <a:cubicBezTo>
                    <a:pt x="0" y="693"/>
                    <a:pt x="0" y="693"/>
                    <a:pt x="0" y="693"/>
                  </a:cubicBezTo>
                  <a:moveTo>
                    <a:pt x="1197" y="662"/>
                  </a:moveTo>
                  <a:cubicBezTo>
                    <a:pt x="1184" y="687"/>
                    <a:pt x="1184" y="687"/>
                    <a:pt x="1184" y="687"/>
                  </a:cubicBezTo>
                  <a:cubicBezTo>
                    <a:pt x="1211" y="738"/>
                    <a:pt x="1211" y="738"/>
                    <a:pt x="1211" y="738"/>
                  </a:cubicBezTo>
                  <a:cubicBezTo>
                    <a:pt x="1234" y="738"/>
                    <a:pt x="1234" y="738"/>
                    <a:pt x="1234" y="738"/>
                  </a:cubicBezTo>
                  <a:cubicBezTo>
                    <a:pt x="1234" y="736"/>
                    <a:pt x="1233" y="733"/>
                    <a:pt x="1233" y="730"/>
                  </a:cubicBezTo>
                  <a:cubicBezTo>
                    <a:pt x="1197" y="662"/>
                    <a:pt x="1197" y="662"/>
                    <a:pt x="1197" y="662"/>
                  </a:cubicBezTo>
                  <a:moveTo>
                    <a:pt x="793" y="662"/>
                  </a:moveTo>
                  <a:cubicBezTo>
                    <a:pt x="780" y="687"/>
                    <a:pt x="780" y="687"/>
                    <a:pt x="780" y="687"/>
                  </a:cubicBezTo>
                  <a:cubicBezTo>
                    <a:pt x="806" y="738"/>
                    <a:pt x="806" y="738"/>
                    <a:pt x="806" y="738"/>
                  </a:cubicBezTo>
                  <a:cubicBezTo>
                    <a:pt x="832" y="738"/>
                    <a:pt x="832" y="738"/>
                    <a:pt x="832" y="738"/>
                  </a:cubicBezTo>
                  <a:cubicBezTo>
                    <a:pt x="793" y="662"/>
                    <a:pt x="793" y="662"/>
                    <a:pt x="793" y="662"/>
                  </a:cubicBezTo>
                  <a:moveTo>
                    <a:pt x="388" y="662"/>
                  </a:moveTo>
                  <a:cubicBezTo>
                    <a:pt x="375" y="687"/>
                    <a:pt x="375" y="687"/>
                    <a:pt x="375" y="687"/>
                  </a:cubicBezTo>
                  <a:cubicBezTo>
                    <a:pt x="402" y="738"/>
                    <a:pt x="402" y="738"/>
                    <a:pt x="402" y="738"/>
                  </a:cubicBezTo>
                  <a:cubicBezTo>
                    <a:pt x="428" y="738"/>
                    <a:pt x="428" y="738"/>
                    <a:pt x="428" y="738"/>
                  </a:cubicBezTo>
                  <a:cubicBezTo>
                    <a:pt x="388" y="662"/>
                    <a:pt x="388" y="662"/>
                    <a:pt x="388" y="662"/>
                  </a:cubicBezTo>
                  <a:moveTo>
                    <a:pt x="1137" y="637"/>
                  </a:moveTo>
                  <a:cubicBezTo>
                    <a:pt x="1131" y="638"/>
                    <a:pt x="1125" y="639"/>
                    <a:pt x="1120" y="639"/>
                  </a:cubicBezTo>
                  <a:cubicBezTo>
                    <a:pt x="1069" y="738"/>
                    <a:pt x="1069" y="738"/>
                    <a:pt x="1069" y="738"/>
                  </a:cubicBezTo>
                  <a:cubicBezTo>
                    <a:pt x="1190" y="738"/>
                    <a:pt x="1190" y="738"/>
                    <a:pt x="1190" y="738"/>
                  </a:cubicBezTo>
                  <a:cubicBezTo>
                    <a:pt x="1137" y="637"/>
                    <a:pt x="1137" y="637"/>
                    <a:pt x="1137" y="637"/>
                  </a:cubicBezTo>
                  <a:moveTo>
                    <a:pt x="409" y="623"/>
                  </a:moveTo>
                  <a:cubicBezTo>
                    <a:pt x="403" y="623"/>
                    <a:pt x="398" y="628"/>
                    <a:pt x="398" y="634"/>
                  </a:cubicBezTo>
                  <a:cubicBezTo>
                    <a:pt x="398" y="640"/>
                    <a:pt x="403" y="645"/>
                    <a:pt x="409" y="646"/>
                  </a:cubicBezTo>
                  <a:cubicBezTo>
                    <a:pt x="415" y="645"/>
                    <a:pt x="420" y="640"/>
                    <a:pt x="420" y="634"/>
                  </a:cubicBezTo>
                  <a:cubicBezTo>
                    <a:pt x="422" y="634"/>
                    <a:pt x="422" y="634"/>
                    <a:pt x="422" y="634"/>
                  </a:cubicBezTo>
                  <a:cubicBezTo>
                    <a:pt x="424" y="634"/>
                    <a:pt x="424" y="634"/>
                    <a:pt x="424" y="634"/>
                  </a:cubicBezTo>
                  <a:cubicBezTo>
                    <a:pt x="424" y="634"/>
                    <a:pt x="424" y="634"/>
                    <a:pt x="424" y="634"/>
                  </a:cubicBezTo>
                  <a:cubicBezTo>
                    <a:pt x="422" y="634"/>
                    <a:pt x="422" y="634"/>
                    <a:pt x="422" y="634"/>
                  </a:cubicBezTo>
                  <a:cubicBezTo>
                    <a:pt x="420" y="634"/>
                    <a:pt x="420" y="634"/>
                    <a:pt x="420" y="634"/>
                  </a:cubicBezTo>
                  <a:cubicBezTo>
                    <a:pt x="420" y="628"/>
                    <a:pt x="415" y="623"/>
                    <a:pt x="409" y="623"/>
                  </a:cubicBezTo>
                  <a:moveTo>
                    <a:pt x="814" y="623"/>
                  </a:moveTo>
                  <a:cubicBezTo>
                    <a:pt x="807" y="623"/>
                    <a:pt x="802" y="628"/>
                    <a:pt x="802" y="634"/>
                  </a:cubicBezTo>
                  <a:cubicBezTo>
                    <a:pt x="802" y="640"/>
                    <a:pt x="807" y="645"/>
                    <a:pt x="814" y="646"/>
                  </a:cubicBezTo>
                  <a:cubicBezTo>
                    <a:pt x="820" y="645"/>
                    <a:pt x="825" y="640"/>
                    <a:pt x="825" y="634"/>
                  </a:cubicBezTo>
                  <a:cubicBezTo>
                    <a:pt x="827" y="634"/>
                    <a:pt x="827" y="634"/>
                    <a:pt x="827" y="634"/>
                  </a:cubicBezTo>
                  <a:cubicBezTo>
                    <a:pt x="829" y="634"/>
                    <a:pt x="829" y="634"/>
                    <a:pt x="829" y="634"/>
                  </a:cubicBezTo>
                  <a:cubicBezTo>
                    <a:pt x="829" y="634"/>
                    <a:pt x="829" y="634"/>
                    <a:pt x="829" y="634"/>
                  </a:cubicBezTo>
                  <a:cubicBezTo>
                    <a:pt x="827" y="634"/>
                    <a:pt x="827" y="634"/>
                    <a:pt x="827" y="634"/>
                  </a:cubicBezTo>
                  <a:cubicBezTo>
                    <a:pt x="825" y="634"/>
                    <a:pt x="825" y="634"/>
                    <a:pt x="825" y="634"/>
                  </a:cubicBezTo>
                  <a:cubicBezTo>
                    <a:pt x="825" y="628"/>
                    <a:pt x="820" y="623"/>
                    <a:pt x="814" y="623"/>
                  </a:cubicBezTo>
                  <a:moveTo>
                    <a:pt x="320" y="621"/>
                  </a:moveTo>
                  <a:cubicBezTo>
                    <a:pt x="260" y="738"/>
                    <a:pt x="260" y="738"/>
                    <a:pt x="260" y="738"/>
                  </a:cubicBezTo>
                  <a:cubicBezTo>
                    <a:pt x="381" y="738"/>
                    <a:pt x="381" y="738"/>
                    <a:pt x="381" y="738"/>
                  </a:cubicBezTo>
                  <a:cubicBezTo>
                    <a:pt x="320" y="621"/>
                    <a:pt x="320" y="621"/>
                    <a:pt x="320" y="621"/>
                  </a:cubicBezTo>
                  <a:moveTo>
                    <a:pt x="725" y="621"/>
                  </a:moveTo>
                  <a:cubicBezTo>
                    <a:pt x="664" y="738"/>
                    <a:pt x="664" y="738"/>
                    <a:pt x="664" y="738"/>
                  </a:cubicBezTo>
                  <a:cubicBezTo>
                    <a:pt x="785" y="738"/>
                    <a:pt x="785" y="738"/>
                    <a:pt x="785" y="738"/>
                  </a:cubicBezTo>
                  <a:cubicBezTo>
                    <a:pt x="725" y="621"/>
                    <a:pt x="725" y="621"/>
                    <a:pt x="725" y="621"/>
                  </a:cubicBezTo>
                  <a:moveTo>
                    <a:pt x="1023" y="595"/>
                  </a:moveTo>
                  <a:cubicBezTo>
                    <a:pt x="1023" y="780"/>
                    <a:pt x="1023" y="780"/>
                    <a:pt x="1023" y="780"/>
                  </a:cubicBezTo>
                  <a:cubicBezTo>
                    <a:pt x="1023" y="787"/>
                    <a:pt x="1025" y="792"/>
                    <a:pt x="1029" y="797"/>
                  </a:cubicBezTo>
                  <a:cubicBezTo>
                    <a:pt x="1034" y="801"/>
                    <a:pt x="1039" y="803"/>
                    <a:pt x="1046" y="803"/>
                  </a:cubicBezTo>
                  <a:cubicBezTo>
                    <a:pt x="1227" y="803"/>
                    <a:pt x="1227" y="803"/>
                    <a:pt x="1227" y="803"/>
                  </a:cubicBezTo>
                  <a:cubicBezTo>
                    <a:pt x="1232" y="787"/>
                    <a:pt x="1234" y="770"/>
                    <a:pt x="1234" y="753"/>
                  </a:cubicBezTo>
                  <a:cubicBezTo>
                    <a:pt x="1234" y="749"/>
                    <a:pt x="1234" y="746"/>
                    <a:pt x="1234" y="742"/>
                  </a:cubicBezTo>
                  <a:cubicBezTo>
                    <a:pt x="1210" y="742"/>
                    <a:pt x="1210" y="742"/>
                    <a:pt x="1210" y="742"/>
                  </a:cubicBezTo>
                  <a:cubicBezTo>
                    <a:pt x="1209" y="742"/>
                    <a:pt x="1208" y="742"/>
                    <a:pt x="1208" y="741"/>
                  </a:cubicBezTo>
                  <a:cubicBezTo>
                    <a:pt x="1180" y="688"/>
                    <a:pt x="1180" y="688"/>
                    <a:pt x="1180" y="688"/>
                  </a:cubicBezTo>
                  <a:cubicBezTo>
                    <a:pt x="1180" y="687"/>
                    <a:pt x="1180" y="687"/>
                    <a:pt x="1180" y="686"/>
                  </a:cubicBezTo>
                  <a:cubicBezTo>
                    <a:pt x="1196" y="656"/>
                    <a:pt x="1196" y="656"/>
                    <a:pt x="1196" y="656"/>
                  </a:cubicBezTo>
                  <a:cubicBezTo>
                    <a:pt x="1196" y="656"/>
                    <a:pt x="1197" y="655"/>
                    <a:pt x="1197" y="655"/>
                  </a:cubicBezTo>
                  <a:cubicBezTo>
                    <a:pt x="1197" y="655"/>
                    <a:pt x="1197" y="655"/>
                    <a:pt x="1197" y="655"/>
                  </a:cubicBezTo>
                  <a:cubicBezTo>
                    <a:pt x="1198" y="655"/>
                    <a:pt x="1199" y="656"/>
                    <a:pt x="1199" y="656"/>
                  </a:cubicBezTo>
                  <a:cubicBezTo>
                    <a:pt x="1231" y="718"/>
                    <a:pt x="1231" y="718"/>
                    <a:pt x="1231" y="718"/>
                  </a:cubicBezTo>
                  <a:cubicBezTo>
                    <a:pt x="1225" y="683"/>
                    <a:pt x="1208" y="652"/>
                    <a:pt x="1185" y="627"/>
                  </a:cubicBezTo>
                  <a:cubicBezTo>
                    <a:pt x="1170" y="631"/>
                    <a:pt x="1155" y="634"/>
                    <a:pt x="1142" y="636"/>
                  </a:cubicBezTo>
                  <a:cubicBezTo>
                    <a:pt x="1195" y="739"/>
                    <a:pt x="1195" y="739"/>
                    <a:pt x="1195" y="739"/>
                  </a:cubicBezTo>
                  <a:cubicBezTo>
                    <a:pt x="1195" y="740"/>
                    <a:pt x="1195" y="741"/>
                    <a:pt x="1195" y="741"/>
                  </a:cubicBezTo>
                  <a:cubicBezTo>
                    <a:pt x="1195" y="742"/>
                    <a:pt x="1194" y="742"/>
                    <a:pt x="1193" y="742"/>
                  </a:cubicBezTo>
                  <a:cubicBezTo>
                    <a:pt x="1065" y="742"/>
                    <a:pt x="1065" y="742"/>
                    <a:pt x="1065" y="742"/>
                  </a:cubicBezTo>
                  <a:cubicBezTo>
                    <a:pt x="1065" y="742"/>
                    <a:pt x="1064" y="742"/>
                    <a:pt x="1064" y="741"/>
                  </a:cubicBezTo>
                  <a:cubicBezTo>
                    <a:pt x="1063" y="741"/>
                    <a:pt x="1063" y="740"/>
                    <a:pt x="1064" y="739"/>
                  </a:cubicBezTo>
                  <a:cubicBezTo>
                    <a:pt x="1115" y="640"/>
                    <a:pt x="1115" y="640"/>
                    <a:pt x="1115" y="640"/>
                  </a:cubicBezTo>
                  <a:cubicBezTo>
                    <a:pt x="1093" y="643"/>
                    <a:pt x="1079" y="644"/>
                    <a:pt x="1079" y="644"/>
                  </a:cubicBezTo>
                  <a:cubicBezTo>
                    <a:pt x="1073" y="597"/>
                    <a:pt x="1073" y="597"/>
                    <a:pt x="1073" y="597"/>
                  </a:cubicBezTo>
                  <a:cubicBezTo>
                    <a:pt x="1053" y="597"/>
                    <a:pt x="1033" y="596"/>
                    <a:pt x="1023" y="595"/>
                  </a:cubicBezTo>
                  <a:moveTo>
                    <a:pt x="1023" y="589"/>
                  </a:moveTo>
                  <a:cubicBezTo>
                    <a:pt x="1023" y="590"/>
                    <a:pt x="1023" y="590"/>
                    <a:pt x="1023" y="590"/>
                  </a:cubicBezTo>
                  <a:cubicBezTo>
                    <a:pt x="1026" y="589"/>
                    <a:pt x="1030" y="589"/>
                    <a:pt x="1033" y="589"/>
                  </a:cubicBezTo>
                  <a:cubicBezTo>
                    <a:pt x="1030" y="589"/>
                    <a:pt x="1026" y="589"/>
                    <a:pt x="1023" y="589"/>
                  </a:cubicBezTo>
                  <a:moveTo>
                    <a:pt x="1023" y="581"/>
                  </a:moveTo>
                  <a:cubicBezTo>
                    <a:pt x="1023" y="582"/>
                    <a:pt x="1023" y="582"/>
                    <a:pt x="1023" y="582"/>
                  </a:cubicBezTo>
                  <a:cubicBezTo>
                    <a:pt x="1025" y="582"/>
                    <a:pt x="1028" y="581"/>
                    <a:pt x="1030" y="581"/>
                  </a:cubicBezTo>
                  <a:cubicBezTo>
                    <a:pt x="1028" y="581"/>
                    <a:pt x="1026" y="581"/>
                    <a:pt x="1023" y="581"/>
                  </a:cubicBezTo>
                  <a:moveTo>
                    <a:pt x="1028" y="573"/>
                  </a:moveTo>
                  <a:cubicBezTo>
                    <a:pt x="1028" y="573"/>
                    <a:pt x="1026" y="573"/>
                    <a:pt x="1023" y="573"/>
                  </a:cubicBezTo>
                  <a:cubicBezTo>
                    <a:pt x="1023" y="573"/>
                    <a:pt x="1023" y="573"/>
                    <a:pt x="1023" y="573"/>
                  </a:cubicBezTo>
                  <a:cubicBezTo>
                    <a:pt x="1023" y="574"/>
                    <a:pt x="1023" y="574"/>
                    <a:pt x="1023" y="574"/>
                  </a:cubicBezTo>
                  <a:cubicBezTo>
                    <a:pt x="1026" y="573"/>
                    <a:pt x="1028" y="573"/>
                    <a:pt x="1028" y="573"/>
                  </a:cubicBezTo>
                  <a:moveTo>
                    <a:pt x="69" y="567"/>
                  </a:moveTo>
                  <a:cubicBezTo>
                    <a:pt x="63" y="570"/>
                    <a:pt x="56" y="573"/>
                    <a:pt x="49" y="576"/>
                  </a:cubicBezTo>
                  <a:cubicBezTo>
                    <a:pt x="60" y="628"/>
                    <a:pt x="60" y="628"/>
                    <a:pt x="60" y="628"/>
                  </a:cubicBezTo>
                  <a:cubicBezTo>
                    <a:pt x="60" y="628"/>
                    <a:pt x="41" y="637"/>
                    <a:pt x="13" y="647"/>
                  </a:cubicBezTo>
                  <a:cubicBezTo>
                    <a:pt x="11" y="648"/>
                    <a:pt x="8" y="649"/>
                    <a:pt x="6" y="649"/>
                  </a:cubicBezTo>
                  <a:cubicBezTo>
                    <a:pt x="4" y="650"/>
                    <a:pt x="2" y="651"/>
                    <a:pt x="0" y="651"/>
                  </a:cubicBezTo>
                  <a:cubicBezTo>
                    <a:pt x="0" y="684"/>
                    <a:pt x="0" y="684"/>
                    <a:pt x="0" y="684"/>
                  </a:cubicBezTo>
                  <a:cubicBezTo>
                    <a:pt x="28" y="739"/>
                    <a:pt x="28" y="739"/>
                    <a:pt x="28" y="739"/>
                  </a:cubicBezTo>
                  <a:cubicBezTo>
                    <a:pt x="29" y="740"/>
                    <a:pt x="29" y="741"/>
                    <a:pt x="28" y="741"/>
                  </a:cubicBezTo>
                  <a:cubicBezTo>
                    <a:pt x="28" y="742"/>
                    <a:pt x="27" y="742"/>
                    <a:pt x="27" y="742"/>
                  </a:cubicBezTo>
                  <a:cubicBezTo>
                    <a:pt x="0" y="742"/>
                    <a:pt x="0" y="742"/>
                    <a:pt x="0" y="742"/>
                  </a:cubicBezTo>
                  <a:cubicBezTo>
                    <a:pt x="0" y="803"/>
                    <a:pt x="0" y="803"/>
                    <a:pt x="0" y="803"/>
                  </a:cubicBezTo>
                  <a:cubicBezTo>
                    <a:pt x="46" y="803"/>
                    <a:pt x="46" y="803"/>
                    <a:pt x="46" y="803"/>
                  </a:cubicBezTo>
                  <a:cubicBezTo>
                    <a:pt x="53" y="803"/>
                    <a:pt x="58" y="801"/>
                    <a:pt x="63" y="797"/>
                  </a:cubicBezTo>
                  <a:cubicBezTo>
                    <a:pt x="67" y="792"/>
                    <a:pt x="69" y="787"/>
                    <a:pt x="69" y="780"/>
                  </a:cubicBezTo>
                  <a:cubicBezTo>
                    <a:pt x="69" y="567"/>
                    <a:pt x="69" y="567"/>
                    <a:pt x="69" y="567"/>
                  </a:cubicBezTo>
                  <a:moveTo>
                    <a:pt x="1023" y="563"/>
                  </a:moveTo>
                  <a:cubicBezTo>
                    <a:pt x="1023" y="564"/>
                    <a:pt x="1023" y="565"/>
                    <a:pt x="1023" y="566"/>
                  </a:cubicBezTo>
                  <a:cubicBezTo>
                    <a:pt x="1023" y="567"/>
                    <a:pt x="1023" y="567"/>
                    <a:pt x="1023" y="567"/>
                  </a:cubicBezTo>
                  <a:cubicBezTo>
                    <a:pt x="1026" y="567"/>
                    <a:pt x="1029" y="567"/>
                    <a:pt x="1030" y="566"/>
                  </a:cubicBezTo>
                  <a:cubicBezTo>
                    <a:pt x="1031" y="565"/>
                    <a:pt x="1026" y="564"/>
                    <a:pt x="1023" y="563"/>
                  </a:cubicBezTo>
                  <a:moveTo>
                    <a:pt x="21" y="543"/>
                  </a:moveTo>
                  <a:cubicBezTo>
                    <a:pt x="0" y="543"/>
                    <a:pt x="0" y="543"/>
                    <a:pt x="0" y="543"/>
                  </a:cubicBezTo>
                  <a:cubicBezTo>
                    <a:pt x="0" y="550"/>
                    <a:pt x="0" y="550"/>
                    <a:pt x="0" y="550"/>
                  </a:cubicBezTo>
                  <a:cubicBezTo>
                    <a:pt x="8" y="548"/>
                    <a:pt x="15" y="545"/>
                    <a:pt x="21" y="543"/>
                  </a:cubicBezTo>
                  <a:moveTo>
                    <a:pt x="387" y="656"/>
                  </a:moveTo>
                  <a:cubicBezTo>
                    <a:pt x="387" y="656"/>
                    <a:pt x="388" y="655"/>
                    <a:pt x="388" y="655"/>
                  </a:cubicBezTo>
                  <a:cubicBezTo>
                    <a:pt x="389" y="655"/>
                    <a:pt x="390" y="656"/>
                    <a:pt x="390" y="656"/>
                  </a:cubicBezTo>
                  <a:cubicBezTo>
                    <a:pt x="433" y="739"/>
                    <a:pt x="433" y="739"/>
                    <a:pt x="433" y="739"/>
                  </a:cubicBezTo>
                  <a:cubicBezTo>
                    <a:pt x="433" y="740"/>
                    <a:pt x="433" y="741"/>
                    <a:pt x="433" y="741"/>
                  </a:cubicBezTo>
                  <a:cubicBezTo>
                    <a:pt x="433" y="742"/>
                    <a:pt x="432" y="742"/>
                    <a:pt x="431" y="742"/>
                  </a:cubicBezTo>
                  <a:cubicBezTo>
                    <a:pt x="400" y="742"/>
                    <a:pt x="400" y="742"/>
                    <a:pt x="400" y="742"/>
                  </a:cubicBezTo>
                  <a:cubicBezTo>
                    <a:pt x="400" y="742"/>
                    <a:pt x="399" y="742"/>
                    <a:pt x="399" y="741"/>
                  </a:cubicBezTo>
                  <a:cubicBezTo>
                    <a:pt x="371" y="688"/>
                    <a:pt x="371" y="688"/>
                    <a:pt x="371" y="688"/>
                  </a:cubicBezTo>
                  <a:cubicBezTo>
                    <a:pt x="371" y="687"/>
                    <a:pt x="371" y="687"/>
                    <a:pt x="371" y="686"/>
                  </a:cubicBezTo>
                  <a:cubicBezTo>
                    <a:pt x="387" y="656"/>
                    <a:pt x="387" y="656"/>
                    <a:pt x="387" y="656"/>
                  </a:cubicBezTo>
                  <a:moveTo>
                    <a:pt x="409" y="650"/>
                  </a:moveTo>
                  <a:cubicBezTo>
                    <a:pt x="401" y="650"/>
                    <a:pt x="394" y="643"/>
                    <a:pt x="394" y="634"/>
                  </a:cubicBezTo>
                  <a:cubicBezTo>
                    <a:pt x="394" y="626"/>
                    <a:pt x="401" y="619"/>
                    <a:pt x="409" y="619"/>
                  </a:cubicBezTo>
                  <a:cubicBezTo>
                    <a:pt x="418" y="619"/>
                    <a:pt x="424" y="626"/>
                    <a:pt x="424" y="634"/>
                  </a:cubicBezTo>
                  <a:cubicBezTo>
                    <a:pt x="424" y="634"/>
                    <a:pt x="424" y="634"/>
                    <a:pt x="424" y="634"/>
                  </a:cubicBezTo>
                  <a:cubicBezTo>
                    <a:pt x="424" y="634"/>
                    <a:pt x="424" y="634"/>
                    <a:pt x="424" y="634"/>
                  </a:cubicBezTo>
                  <a:cubicBezTo>
                    <a:pt x="424" y="643"/>
                    <a:pt x="418" y="650"/>
                    <a:pt x="409" y="650"/>
                  </a:cubicBezTo>
                  <a:moveTo>
                    <a:pt x="318" y="616"/>
                  </a:moveTo>
                  <a:cubicBezTo>
                    <a:pt x="319" y="615"/>
                    <a:pt x="319" y="615"/>
                    <a:pt x="320" y="615"/>
                  </a:cubicBezTo>
                  <a:cubicBezTo>
                    <a:pt x="321" y="615"/>
                    <a:pt x="322" y="615"/>
                    <a:pt x="322" y="616"/>
                  </a:cubicBezTo>
                  <a:cubicBezTo>
                    <a:pt x="386" y="739"/>
                    <a:pt x="386" y="739"/>
                    <a:pt x="386" y="739"/>
                  </a:cubicBezTo>
                  <a:cubicBezTo>
                    <a:pt x="386" y="740"/>
                    <a:pt x="386" y="741"/>
                    <a:pt x="386" y="741"/>
                  </a:cubicBezTo>
                  <a:cubicBezTo>
                    <a:pt x="385" y="742"/>
                    <a:pt x="385" y="742"/>
                    <a:pt x="384" y="742"/>
                  </a:cubicBezTo>
                  <a:cubicBezTo>
                    <a:pt x="256" y="742"/>
                    <a:pt x="256" y="742"/>
                    <a:pt x="256" y="742"/>
                  </a:cubicBezTo>
                  <a:cubicBezTo>
                    <a:pt x="256" y="742"/>
                    <a:pt x="255" y="742"/>
                    <a:pt x="255" y="741"/>
                  </a:cubicBezTo>
                  <a:cubicBezTo>
                    <a:pt x="254" y="741"/>
                    <a:pt x="254" y="740"/>
                    <a:pt x="254" y="739"/>
                  </a:cubicBezTo>
                  <a:cubicBezTo>
                    <a:pt x="318" y="616"/>
                    <a:pt x="318" y="616"/>
                    <a:pt x="318" y="616"/>
                  </a:cubicBezTo>
                  <a:moveTo>
                    <a:pt x="451" y="543"/>
                  </a:moveTo>
                  <a:cubicBezTo>
                    <a:pt x="236" y="543"/>
                    <a:pt x="236" y="543"/>
                    <a:pt x="236" y="543"/>
                  </a:cubicBezTo>
                  <a:cubicBezTo>
                    <a:pt x="230" y="543"/>
                    <a:pt x="224" y="545"/>
                    <a:pt x="220" y="550"/>
                  </a:cubicBezTo>
                  <a:cubicBezTo>
                    <a:pt x="216" y="554"/>
                    <a:pt x="213" y="560"/>
                    <a:pt x="213" y="566"/>
                  </a:cubicBezTo>
                  <a:cubicBezTo>
                    <a:pt x="213" y="780"/>
                    <a:pt x="213" y="780"/>
                    <a:pt x="213" y="780"/>
                  </a:cubicBezTo>
                  <a:cubicBezTo>
                    <a:pt x="213" y="787"/>
                    <a:pt x="216" y="792"/>
                    <a:pt x="220" y="797"/>
                  </a:cubicBezTo>
                  <a:cubicBezTo>
                    <a:pt x="224" y="801"/>
                    <a:pt x="230" y="803"/>
                    <a:pt x="236" y="803"/>
                  </a:cubicBezTo>
                  <a:cubicBezTo>
                    <a:pt x="451" y="803"/>
                    <a:pt x="451" y="803"/>
                    <a:pt x="451" y="803"/>
                  </a:cubicBezTo>
                  <a:cubicBezTo>
                    <a:pt x="457" y="803"/>
                    <a:pt x="463" y="801"/>
                    <a:pt x="467" y="797"/>
                  </a:cubicBezTo>
                  <a:cubicBezTo>
                    <a:pt x="471" y="792"/>
                    <a:pt x="474" y="787"/>
                    <a:pt x="474" y="780"/>
                  </a:cubicBezTo>
                  <a:cubicBezTo>
                    <a:pt x="474" y="566"/>
                    <a:pt x="474" y="566"/>
                    <a:pt x="474" y="566"/>
                  </a:cubicBezTo>
                  <a:cubicBezTo>
                    <a:pt x="474" y="560"/>
                    <a:pt x="471" y="554"/>
                    <a:pt x="467" y="550"/>
                  </a:cubicBezTo>
                  <a:cubicBezTo>
                    <a:pt x="463" y="545"/>
                    <a:pt x="457" y="543"/>
                    <a:pt x="451" y="543"/>
                  </a:cubicBezTo>
                  <a:moveTo>
                    <a:pt x="791" y="656"/>
                  </a:moveTo>
                  <a:cubicBezTo>
                    <a:pt x="791" y="656"/>
                    <a:pt x="792" y="655"/>
                    <a:pt x="793" y="655"/>
                  </a:cubicBezTo>
                  <a:cubicBezTo>
                    <a:pt x="794" y="655"/>
                    <a:pt x="794" y="656"/>
                    <a:pt x="795" y="656"/>
                  </a:cubicBezTo>
                  <a:cubicBezTo>
                    <a:pt x="838" y="739"/>
                    <a:pt x="838" y="739"/>
                    <a:pt x="838" y="739"/>
                  </a:cubicBezTo>
                  <a:cubicBezTo>
                    <a:pt x="838" y="740"/>
                    <a:pt x="838" y="741"/>
                    <a:pt x="837" y="741"/>
                  </a:cubicBezTo>
                  <a:cubicBezTo>
                    <a:pt x="837" y="742"/>
                    <a:pt x="836" y="742"/>
                    <a:pt x="836" y="742"/>
                  </a:cubicBezTo>
                  <a:cubicBezTo>
                    <a:pt x="805" y="742"/>
                    <a:pt x="805" y="742"/>
                    <a:pt x="805" y="742"/>
                  </a:cubicBezTo>
                  <a:cubicBezTo>
                    <a:pt x="804" y="742"/>
                    <a:pt x="804" y="742"/>
                    <a:pt x="803" y="741"/>
                  </a:cubicBezTo>
                  <a:cubicBezTo>
                    <a:pt x="776" y="688"/>
                    <a:pt x="776" y="688"/>
                    <a:pt x="776" y="688"/>
                  </a:cubicBezTo>
                  <a:cubicBezTo>
                    <a:pt x="775" y="687"/>
                    <a:pt x="775" y="687"/>
                    <a:pt x="776" y="686"/>
                  </a:cubicBezTo>
                  <a:cubicBezTo>
                    <a:pt x="791" y="656"/>
                    <a:pt x="791" y="656"/>
                    <a:pt x="791" y="656"/>
                  </a:cubicBezTo>
                  <a:moveTo>
                    <a:pt x="814" y="650"/>
                  </a:moveTo>
                  <a:cubicBezTo>
                    <a:pt x="805" y="650"/>
                    <a:pt x="798" y="643"/>
                    <a:pt x="798" y="634"/>
                  </a:cubicBezTo>
                  <a:cubicBezTo>
                    <a:pt x="798" y="626"/>
                    <a:pt x="805" y="619"/>
                    <a:pt x="814" y="619"/>
                  </a:cubicBezTo>
                  <a:cubicBezTo>
                    <a:pt x="822" y="619"/>
                    <a:pt x="829" y="626"/>
                    <a:pt x="829" y="634"/>
                  </a:cubicBezTo>
                  <a:cubicBezTo>
                    <a:pt x="829" y="634"/>
                    <a:pt x="829" y="634"/>
                    <a:pt x="829" y="634"/>
                  </a:cubicBezTo>
                  <a:cubicBezTo>
                    <a:pt x="829" y="634"/>
                    <a:pt x="829" y="634"/>
                    <a:pt x="829" y="634"/>
                  </a:cubicBezTo>
                  <a:cubicBezTo>
                    <a:pt x="829" y="643"/>
                    <a:pt x="822" y="650"/>
                    <a:pt x="814" y="650"/>
                  </a:cubicBezTo>
                  <a:moveTo>
                    <a:pt x="723" y="616"/>
                  </a:moveTo>
                  <a:cubicBezTo>
                    <a:pt x="723" y="615"/>
                    <a:pt x="724" y="615"/>
                    <a:pt x="725" y="615"/>
                  </a:cubicBezTo>
                  <a:cubicBezTo>
                    <a:pt x="725" y="615"/>
                    <a:pt x="726" y="615"/>
                    <a:pt x="726" y="616"/>
                  </a:cubicBezTo>
                  <a:cubicBezTo>
                    <a:pt x="790" y="739"/>
                    <a:pt x="790" y="739"/>
                    <a:pt x="790" y="739"/>
                  </a:cubicBezTo>
                  <a:cubicBezTo>
                    <a:pt x="791" y="740"/>
                    <a:pt x="791" y="741"/>
                    <a:pt x="790" y="741"/>
                  </a:cubicBezTo>
                  <a:cubicBezTo>
                    <a:pt x="790" y="742"/>
                    <a:pt x="789" y="742"/>
                    <a:pt x="789" y="742"/>
                  </a:cubicBezTo>
                  <a:cubicBezTo>
                    <a:pt x="661" y="742"/>
                    <a:pt x="661" y="742"/>
                    <a:pt x="661" y="742"/>
                  </a:cubicBezTo>
                  <a:cubicBezTo>
                    <a:pt x="660" y="742"/>
                    <a:pt x="659" y="742"/>
                    <a:pt x="659" y="741"/>
                  </a:cubicBezTo>
                  <a:cubicBezTo>
                    <a:pt x="659" y="741"/>
                    <a:pt x="659" y="740"/>
                    <a:pt x="659" y="739"/>
                  </a:cubicBezTo>
                  <a:cubicBezTo>
                    <a:pt x="723" y="616"/>
                    <a:pt x="723" y="616"/>
                    <a:pt x="723" y="616"/>
                  </a:cubicBezTo>
                  <a:moveTo>
                    <a:pt x="856" y="543"/>
                  </a:moveTo>
                  <a:cubicBezTo>
                    <a:pt x="641" y="543"/>
                    <a:pt x="641" y="543"/>
                    <a:pt x="641" y="543"/>
                  </a:cubicBezTo>
                  <a:cubicBezTo>
                    <a:pt x="635" y="543"/>
                    <a:pt x="629" y="545"/>
                    <a:pt x="625" y="550"/>
                  </a:cubicBezTo>
                  <a:cubicBezTo>
                    <a:pt x="621" y="554"/>
                    <a:pt x="618" y="560"/>
                    <a:pt x="618" y="566"/>
                  </a:cubicBezTo>
                  <a:cubicBezTo>
                    <a:pt x="618" y="780"/>
                    <a:pt x="618" y="780"/>
                    <a:pt x="618" y="780"/>
                  </a:cubicBezTo>
                  <a:cubicBezTo>
                    <a:pt x="618" y="787"/>
                    <a:pt x="621" y="792"/>
                    <a:pt x="625" y="797"/>
                  </a:cubicBezTo>
                  <a:cubicBezTo>
                    <a:pt x="629" y="801"/>
                    <a:pt x="635" y="803"/>
                    <a:pt x="641" y="803"/>
                  </a:cubicBezTo>
                  <a:cubicBezTo>
                    <a:pt x="856" y="803"/>
                    <a:pt x="856" y="803"/>
                    <a:pt x="856" y="803"/>
                  </a:cubicBezTo>
                  <a:cubicBezTo>
                    <a:pt x="862" y="803"/>
                    <a:pt x="868" y="801"/>
                    <a:pt x="872" y="797"/>
                  </a:cubicBezTo>
                  <a:cubicBezTo>
                    <a:pt x="876" y="792"/>
                    <a:pt x="879" y="787"/>
                    <a:pt x="879" y="780"/>
                  </a:cubicBezTo>
                  <a:cubicBezTo>
                    <a:pt x="879" y="566"/>
                    <a:pt x="879" y="566"/>
                    <a:pt x="879" y="566"/>
                  </a:cubicBezTo>
                  <a:cubicBezTo>
                    <a:pt x="879" y="560"/>
                    <a:pt x="876" y="554"/>
                    <a:pt x="872" y="550"/>
                  </a:cubicBezTo>
                  <a:cubicBezTo>
                    <a:pt x="868" y="545"/>
                    <a:pt x="862" y="543"/>
                    <a:pt x="856" y="543"/>
                  </a:cubicBezTo>
                  <a:moveTo>
                    <a:pt x="1092" y="543"/>
                  </a:moveTo>
                  <a:cubicBezTo>
                    <a:pt x="1046" y="543"/>
                    <a:pt x="1046" y="543"/>
                    <a:pt x="1046" y="543"/>
                  </a:cubicBezTo>
                  <a:cubicBezTo>
                    <a:pt x="1039" y="543"/>
                    <a:pt x="1034" y="545"/>
                    <a:pt x="1029" y="550"/>
                  </a:cubicBezTo>
                  <a:cubicBezTo>
                    <a:pt x="1027" y="552"/>
                    <a:pt x="1025" y="555"/>
                    <a:pt x="1024" y="559"/>
                  </a:cubicBezTo>
                  <a:cubicBezTo>
                    <a:pt x="1026" y="559"/>
                    <a:pt x="1030" y="559"/>
                    <a:pt x="1034" y="559"/>
                  </a:cubicBezTo>
                  <a:cubicBezTo>
                    <a:pt x="1038" y="559"/>
                    <a:pt x="1042" y="559"/>
                    <a:pt x="1046" y="559"/>
                  </a:cubicBezTo>
                  <a:cubicBezTo>
                    <a:pt x="1050" y="559"/>
                    <a:pt x="1055" y="559"/>
                    <a:pt x="1059" y="559"/>
                  </a:cubicBezTo>
                  <a:cubicBezTo>
                    <a:pt x="1062" y="559"/>
                    <a:pt x="1065" y="559"/>
                    <a:pt x="1068" y="559"/>
                  </a:cubicBezTo>
                  <a:cubicBezTo>
                    <a:pt x="1068" y="558"/>
                    <a:pt x="1068" y="558"/>
                    <a:pt x="1068" y="558"/>
                  </a:cubicBezTo>
                  <a:cubicBezTo>
                    <a:pt x="1076" y="557"/>
                    <a:pt x="1084" y="556"/>
                    <a:pt x="1092" y="554"/>
                  </a:cubicBezTo>
                  <a:cubicBezTo>
                    <a:pt x="1092" y="543"/>
                    <a:pt x="1092" y="543"/>
                    <a:pt x="1092" y="543"/>
                  </a:cubicBezTo>
                  <a:moveTo>
                    <a:pt x="1092" y="351"/>
                  </a:moveTo>
                  <a:cubicBezTo>
                    <a:pt x="1069" y="396"/>
                    <a:pt x="1069" y="396"/>
                    <a:pt x="1069" y="396"/>
                  </a:cubicBezTo>
                  <a:cubicBezTo>
                    <a:pt x="1092" y="396"/>
                    <a:pt x="1092" y="396"/>
                    <a:pt x="1092" y="396"/>
                  </a:cubicBezTo>
                  <a:cubicBezTo>
                    <a:pt x="1092" y="351"/>
                    <a:pt x="1092" y="351"/>
                    <a:pt x="1092" y="351"/>
                  </a:cubicBezTo>
                  <a:moveTo>
                    <a:pt x="0" y="351"/>
                  </a:moveTo>
                  <a:cubicBezTo>
                    <a:pt x="0" y="396"/>
                    <a:pt x="0" y="396"/>
                    <a:pt x="0" y="396"/>
                  </a:cubicBezTo>
                  <a:cubicBezTo>
                    <a:pt x="23" y="396"/>
                    <a:pt x="23" y="396"/>
                    <a:pt x="23" y="396"/>
                  </a:cubicBezTo>
                  <a:cubicBezTo>
                    <a:pt x="0" y="351"/>
                    <a:pt x="0" y="351"/>
                    <a:pt x="0" y="351"/>
                  </a:cubicBezTo>
                  <a:moveTo>
                    <a:pt x="388" y="320"/>
                  </a:moveTo>
                  <a:cubicBezTo>
                    <a:pt x="375" y="345"/>
                    <a:pt x="375" y="345"/>
                    <a:pt x="375" y="345"/>
                  </a:cubicBezTo>
                  <a:cubicBezTo>
                    <a:pt x="402" y="396"/>
                    <a:pt x="402" y="396"/>
                    <a:pt x="402" y="396"/>
                  </a:cubicBezTo>
                  <a:cubicBezTo>
                    <a:pt x="428" y="396"/>
                    <a:pt x="428" y="396"/>
                    <a:pt x="428" y="396"/>
                  </a:cubicBezTo>
                  <a:cubicBezTo>
                    <a:pt x="388" y="320"/>
                    <a:pt x="388" y="320"/>
                    <a:pt x="388" y="320"/>
                  </a:cubicBezTo>
                  <a:moveTo>
                    <a:pt x="793" y="320"/>
                  </a:moveTo>
                  <a:cubicBezTo>
                    <a:pt x="780" y="345"/>
                    <a:pt x="780" y="345"/>
                    <a:pt x="780" y="345"/>
                  </a:cubicBezTo>
                  <a:cubicBezTo>
                    <a:pt x="806" y="396"/>
                    <a:pt x="806" y="396"/>
                    <a:pt x="806" y="396"/>
                  </a:cubicBezTo>
                  <a:cubicBezTo>
                    <a:pt x="832" y="396"/>
                    <a:pt x="832" y="396"/>
                    <a:pt x="832" y="396"/>
                  </a:cubicBezTo>
                  <a:cubicBezTo>
                    <a:pt x="793" y="320"/>
                    <a:pt x="793" y="320"/>
                    <a:pt x="793" y="320"/>
                  </a:cubicBezTo>
                  <a:moveTo>
                    <a:pt x="5" y="281"/>
                  </a:moveTo>
                  <a:cubicBezTo>
                    <a:pt x="3" y="281"/>
                    <a:pt x="1" y="281"/>
                    <a:pt x="0" y="282"/>
                  </a:cubicBezTo>
                  <a:cubicBezTo>
                    <a:pt x="0" y="303"/>
                    <a:pt x="0" y="303"/>
                    <a:pt x="0" y="303"/>
                  </a:cubicBezTo>
                  <a:cubicBezTo>
                    <a:pt x="1" y="303"/>
                    <a:pt x="3" y="304"/>
                    <a:pt x="5" y="304"/>
                  </a:cubicBezTo>
                  <a:cubicBezTo>
                    <a:pt x="11" y="304"/>
                    <a:pt x="16" y="299"/>
                    <a:pt x="16" y="292"/>
                  </a:cubicBezTo>
                  <a:cubicBezTo>
                    <a:pt x="18" y="292"/>
                    <a:pt x="18" y="292"/>
                    <a:pt x="18" y="292"/>
                  </a:cubicBezTo>
                  <a:cubicBezTo>
                    <a:pt x="20" y="292"/>
                    <a:pt x="20" y="292"/>
                    <a:pt x="20" y="292"/>
                  </a:cubicBezTo>
                  <a:cubicBezTo>
                    <a:pt x="20" y="292"/>
                    <a:pt x="20" y="292"/>
                    <a:pt x="20" y="292"/>
                  </a:cubicBezTo>
                  <a:cubicBezTo>
                    <a:pt x="18" y="292"/>
                    <a:pt x="18" y="292"/>
                    <a:pt x="18" y="292"/>
                  </a:cubicBezTo>
                  <a:cubicBezTo>
                    <a:pt x="16" y="292"/>
                    <a:pt x="16" y="292"/>
                    <a:pt x="16" y="292"/>
                  </a:cubicBezTo>
                  <a:cubicBezTo>
                    <a:pt x="16" y="286"/>
                    <a:pt x="11" y="281"/>
                    <a:pt x="5" y="281"/>
                  </a:cubicBezTo>
                  <a:moveTo>
                    <a:pt x="409" y="281"/>
                  </a:moveTo>
                  <a:cubicBezTo>
                    <a:pt x="403" y="281"/>
                    <a:pt x="398" y="286"/>
                    <a:pt x="398" y="292"/>
                  </a:cubicBezTo>
                  <a:cubicBezTo>
                    <a:pt x="398" y="299"/>
                    <a:pt x="403" y="304"/>
                    <a:pt x="409" y="304"/>
                  </a:cubicBezTo>
                  <a:cubicBezTo>
                    <a:pt x="415" y="304"/>
                    <a:pt x="420" y="299"/>
                    <a:pt x="420" y="292"/>
                  </a:cubicBezTo>
                  <a:cubicBezTo>
                    <a:pt x="422" y="292"/>
                    <a:pt x="422" y="292"/>
                    <a:pt x="422" y="292"/>
                  </a:cubicBezTo>
                  <a:cubicBezTo>
                    <a:pt x="424" y="292"/>
                    <a:pt x="424" y="292"/>
                    <a:pt x="424" y="292"/>
                  </a:cubicBezTo>
                  <a:cubicBezTo>
                    <a:pt x="424" y="292"/>
                    <a:pt x="424" y="292"/>
                    <a:pt x="424" y="292"/>
                  </a:cubicBezTo>
                  <a:cubicBezTo>
                    <a:pt x="422" y="292"/>
                    <a:pt x="422" y="292"/>
                    <a:pt x="422" y="292"/>
                  </a:cubicBezTo>
                  <a:cubicBezTo>
                    <a:pt x="420" y="292"/>
                    <a:pt x="420" y="292"/>
                    <a:pt x="420" y="292"/>
                  </a:cubicBezTo>
                  <a:cubicBezTo>
                    <a:pt x="420" y="286"/>
                    <a:pt x="415" y="281"/>
                    <a:pt x="409" y="281"/>
                  </a:cubicBezTo>
                  <a:moveTo>
                    <a:pt x="814" y="281"/>
                  </a:moveTo>
                  <a:cubicBezTo>
                    <a:pt x="807" y="281"/>
                    <a:pt x="802" y="286"/>
                    <a:pt x="802" y="292"/>
                  </a:cubicBezTo>
                  <a:cubicBezTo>
                    <a:pt x="802" y="299"/>
                    <a:pt x="807" y="304"/>
                    <a:pt x="814" y="304"/>
                  </a:cubicBezTo>
                  <a:cubicBezTo>
                    <a:pt x="820" y="304"/>
                    <a:pt x="825" y="299"/>
                    <a:pt x="825" y="292"/>
                  </a:cubicBezTo>
                  <a:cubicBezTo>
                    <a:pt x="827" y="292"/>
                    <a:pt x="827" y="292"/>
                    <a:pt x="827" y="292"/>
                  </a:cubicBezTo>
                  <a:cubicBezTo>
                    <a:pt x="829" y="292"/>
                    <a:pt x="829" y="292"/>
                    <a:pt x="829" y="292"/>
                  </a:cubicBezTo>
                  <a:cubicBezTo>
                    <a:pt x="829" y="292"/>
                    <a:pt x="829" y="292"/>
                    <a:pt x="829" y="292"/>
                  </a:cubicBezTo>
                  <a:cubicBezTo>
                    <a:pt x="827" y="292"/>
                    <a:pt x="827" y="292"/>
                    <a:pt x="827" y="292"/>
                  </a:cubicBezTo>
                  <a:cubicBezTo>
                    <a:pt x="825" y="292"/>
                    <a:pt x="825" y="292"/>
                    <a:pt x="825" y="292"/>
                  </a:cubicBezTo>
                  <a:cubicBezTo>
                    <a:pt x="825" y="286"/>
                    <a:pt x="820" y="281"/>
                    <a:pt x="814" y="281"/>
                  </a:cubicBezTo>
                  <a:moveTo>
                    <a:pt x="725" y="279"/>
                  </a:moveTo>
                  <a:cubicBezTo>
                    <a:pt x="664" y="396"/>
                    <a:pt x="664" y="396"/>
                    <a:pt x="664" y="396"/>
                  </a:cubicBezTo>
                  <a:cubicBezTo>
                    <a:pt x="785" y="396"/>
                    <a:pt x="785" y="396"/>
                    <a:pt x="785" y="396"/>
                  </a:cubicBezTo>
                  <a:cubicBezTo>
                    <a:pt x="725" y="279"/>
                    <a:pt x="725" y="279"/>
                    <a:pt x="725" y="279"/>
                  </a:cubicBezTo>
                  <a:moveTo>
                    <a:pt x="320" y="279"/>
                  </a:moveTo>
                  <a:cubicBezTo>
                    <a:pt x="260" y="396"/>
                    <a:pt x="260" y="396"/>
                    <a:pt x="260" y="396"/>
                  </a:cubicBezTo>
                  <a:cubicBezTo>
                    <a:pt x="381" y="396"/>
                    <a:pt x="381" y="396"/>
                    <a:pt x="381" y="396"/>
                  </a:cubicBezTo>
                  <a:cubicBezTo>
                    <a:pt x="320" y="279"/>
                    <a:pt x="320" y="279"/>
                    <a:pt x="320" y="279"/>
                  </a:cubicBezTo>
                  <a:moveTo>
                    <a:pt x="46" y="201"/>
                  </a:moveTo>
                  <a:cubicBezTo>
                    <a:pt x="0" y="201"/>
                    <a:pt x="0" y="201"/>
                    <a:pt x="0" y="201"/>
                  </a:cubicBezTo>
                  <a:cubicBezTo>
                    <a:pt x="0" y="278"/>
                    <a:pt x="0" y="278"/>
                    <a:pt x="0" y="278"/>
                  </a:cubicBezTo>
                  <a:cubicBezTo>
                    <a:pt x="1" y="277"/>
                    <a:pt x="3" y="277"/>
                    <a:pt x="5" y="277"/>
                  </a:cubicBezTo>
                  <a:cubicBezTo>
                    <a:pt x="13" y="277"/>
                    <a:pt x="20" y="284"/>
                    <a:pt x="20" y="292"/>
                  </a:cubicBezTo>
                  <a:cubicBezTo>
                    <a:pt x="20" y="292"/>
                    <a:pt x="20" y="292"/>
                    <a:pt x="20" y="292"/>
                  </a:cubicBezTo>
                  <a:cubicBezTo>
                    <a:pt x="20" y="292"/>
                    <a:pt x="20" y="292"/>
                    <a:pt x="20" y="292"/>
                  </a:cubicBezTo>
                  <a:cubicBezTo>
                    <a:pt x="20" y="301"/>
                    <a:pt x="13" y="308"/>
                    <a:pt x="5" y="308"/>
                  </a:cubicBezTo>
                  <a:cubicBezTo>
                    <a:pt x="3" y="308"/>
                    <a:pt x="1" y="307"/>
                    <a:pt x="0" y="307"/>
                  </a:cubicBezTo>
                  <a:cubicBezTo>
                    <a:pt x="0" y="342"/>
                    <a:pt x="0" y="342"/>
                    <a:pt x="0" y="342"/>
                  </a:cubicBezTo>
                  <a:cubicBezTo>
                    <a:pt x="28" y="397"/>
                    <a:pt x="28" y="397"/>
                    <a:pt x="28" y="397"/>
                  </a:cubicBezTo>
                  <a:cubicBezTo>
                    <a:pt x="29" y="398"/>
                    <a:pt x="29" y="399"/>
                    <a:pt x="28" y="399"/>
                  </a:cubicBezTo>
                  <a:cubicBezTo>
                    <a:pt x="28" y="400"/>
                    <a:pt x="27" y="400"/>
                    <a:pt x="27" y="400"/>
                  </a:cubicBezTo>
                  <a:cubicBezTo>
                    <a:pt x="0" y="400"/>
                    <a:pt x="0" y="400"/>
                    <a:pt x="0" y="400"/>
                  </a:cubicBezTo>
                  <a:cubicBezTo>
                    <a:pt x="0" y="461"/>
                    <a:pt x="0" y="461"/>
                    <a:pt x="0" y="461"/>
                  </a:cubicBezTo>
                  <a:cubicBezTo>
                    <a:pt x="46" y="461"/>
                    <a:pt x="46" y="461"/>
                    <a:pt x="46" y="461"/>
                  </a:cubicBezTo>
                  <a:cubicBezTo>
                    <a:pt x="53" y="461"/>
                    <a:pt x="58" y="459"/>
                    <a:pt x="63" y="455"/>
                  </a:cubicBezTo>
                  <a:cubicBezTo>
                    <a:pt x="67" y="451"/>
                    <a:pt x="69" y="445"/>
                    <a:pt x="69" y="438"/>
                  </a:cubicBezTo>
                  <a:cubicBezTo>
                    <a:pt x="69" y="224"/>
                    <a:pt x="69" y="224"/>
                    <a:pt x="69" y="224"/>
                  </a:cubicBezTo>
                  <a:cubicBezTo>
                    <a:pt x="69" y="218"/>
                    <a:pt x="67" y="212"/>
                    <a:pt x="63" y="208"/>
                  </a:cubicBezTo>
                  <a:cubicBezTo>
                    <a:pt x="58" y="204"/>
                    <a:pt x="53" y="201"/>
                    <a:pt x="46" y="201"/>
                  </a:cubicBezTo>
                  <a:moveTo>
                    <a:pt x="387" y="314"/>
                  </a:moveTo>
                  <a:cubicBezTo>
                    <a:pt x="387" y="314"/>
                    <a:pt x="388" y="313"/>
                    <a:pt x="388" y="313"/>
                  </a:cubicBezTo>
                  <a:cubicBezTo>
                    <a:pt x="389" y="313"/>
                    <a:pt x="390" y="314"/>
                    <a:pt x="390" y="314"/>
                  </a:cubicBezTo>
                  <a:cubicBezTo>
                    <a:pt x="433" y="397"/>
                    <a:pt x="433" y="397"/>
                    <a:pt x="433" y="397"/>
                  </a:cubicBezTo>
                  <a:cubicBezTo>
                    <a:pt x="433" y="398"/>
                    <a:pt x="433" y="399"/>
                    <a:pt x="433" y="399"/>
                  </a:cubicBezTo>
                  <a:cubicBezTo>
                    <a:pt x="433" y="400"/>
                    <a:pt x="432" y="400"/>
                    <a:pt x="431" y="400"/>
                  </a:cubicBezTo>
                  <a:cubicBezTo>
                    <a:pt x="400" y="400"/>
                    <a:pt x="400" y="400"/>
                    <a:pt x="400" y="400"/>
                  </a:cubicBezTo>
                  <a:cubicBezTo>
                    <a:pt x="400" y="400"/>
                    <a:pt x="399" y="400"/>
                    <a:pt x="399" y="399"/>
                  </a:cubicBezTo>
                  <a:cubicBezTo>
                    <a:pt x="371" y="346"/>
                    <a:pt x="371" y="346"/>
                    <a:pt x="371" y="346"/>
                  </a:cubicBezTo>
                  <a:cubicBezTo>
                    <a:pt x="371" y="345"/>
                    <a:pt x="371" y="345"/>
                    <a:pt x="371" y="344"/>
                  </a:cubicBezTo>
                  <a:cubicBezTo>
                    <a:pt x="387" y="314"/>
                    <a:pt x="387" y="314"/>
                    <a:pt x="387" y="314"/>
                  </a:cubicBezTo>
                  <a:moveTo>
                    <a:pt x="409" y="308"/>
                  </a:moveTo>
                  <a:cubicBezTo>
                    <a:pt x="401" y="308"/>
                    <a:pt x="394" y="301"/>
                    <a:pt x="394" y="292"/>
                  </a:cubicBezTo>
                  <a:cubicBezTo>
                    <a:pt x="394" y="284"/>
                    <a:pt x="401" y="277"/>
                    <a:pt x="409" y="277"/>
                  </a:cubicBezTo>
                  <a:cubicBezTo>
                    <a:pt x="418" y="277"/>
                    <a:pt x="424" y="284"/>
                    <a:pt x="424" y="292"/>
                  </a:cubicBezTo>
                  <a:cubicBezTo>
                    <a:pt x="424" y="292"/>
                    <a:pt x="424" y="292"/>
                    <a:pt x="424" y="292"/>
                  </a:cubicBezTo>
                  <a:cubicBezTo>
                    <a:pt x="424" y="292"/>
                    <a:pt x="424" y="292"/>
                    <a:pt x="424" y="292"/>
                  </a:cubicBezTo>
                  <a:cubicBezTo>
                    <a:pt x="424" y="301"/>
                    <a:pt x="418" y="308"/>
                    <a:pt x="409" y="308"/>
                  </a:cubicBezTo>
                  <a:moveTo>
                    <a:pt x="318" y="274"/>
                  </a:moveTo>
                  <a:cubicBezTo>
                    <a:pt x="319" y="273"/>
                    <a:pt x="319" y="273"/>
                    <a:pt x="320" y="273"/>
                  </a:cubicBezTo>
                  <a:cubicBezTo>
                    <a:pt x="321" y="273"/>
                    <a:pt x="322" y="273"/>
                    <a:pt x="322" y="274"/>
                  </a:cubicBezTo>
                  <a:cubicBezTo>
                    <a:pt x="386" y="397"/>
                    <a:pt x="386" y="397"/>
                    <a:pt x="386" y="397"/>
                  </a:cubicBezTo>
                  <a:cubicBezTo>
                    <a:pt x="386" y="398"/>
                    <a:pt x="386" y="399"/>
                    <a:pt x="386" y="399"/>
                  </a:cubicBezTo>
                  <a:cubicBezTo>
                    <a:pt x="385" y="400"/>
                    <a:pt x="385" y="400"/>
                    <a:pt x="384" y="400"/>
                  </a:cubicBezTo>
                  <a:cubicBezTo>
                    <a:pt x="256" y="400"/>
                    <a:pt x="256" y="400"/>
                    <a:pt x="256" y="400"/>
                  </a:cubicBezTo>
                  <a:cubicBezTo>
                    <a:pt x="256" y="400"/>
                    <a:pt x="255" y="400"/>
                    <a:pt x="255" y="399"/>
                  </a:cubicBezTo>
                  <a:cubicBezTo>
                    <a:pt x="254" y="399"/>
                    <a:pt x="254" y="398"/>
                    <a:pt x="254" y="397"/>
                  </a:cubicBezTo>
                  <a:cubicBezTo>
                    <a:pt x="318" y="274"/>
                    <a:pt x="318" y="274"/>
                    <a:pt x="318" y="274"/>
                  </a:cubicBezTo>
                  <a:moveTo>
                    <a:pt x="451" y="201"/>
                  </a:moveTo>
                  <a:cubicBezTo>
                    <a:pt x="236" y="201"/>
                    <a:pt x="236" y="201"/>
                    <a:pt x="236" y="201"/>
                  </a:cubicBezTo>
                  <a:cubicBezTo>
                    <a:pt x="230" y="201"/>
                    <a:pt x="224" y="204"/>
                    <a:pt x="220" y="208"/>
                  </a:cubicBezTo>
                  <a:cubicBezTo>
                    <a:pt x="216" y="212"/>
                    <a:pt x="213" y="218"/>
                    <a:pt x="213" y="224"/>
                  </a:cubicBezTo>
                  <a:cubicBezTo>
                    <a:pt x="213" y="438"/>
                    <a:pt x="213" y="438"/>
                    <a:pt x="213" y="438"/>
                  </a:cubicBezTo>
                  <a:cubicBezTo>
                    <a:pt x="213" y="445"/>
                    <a:pt x="216" y="451"/>
                    <a:pt x="220" y="455"/>
                  </a:cubicBezTo>
                  <a:cubicBezTo>
                    <a:pt x="224" y="459"/>
                    <a:pt x="230" y="461"/>
                    <a:pt x="236" y="461"/>
                  </a:cubicBezTo>
                  <a:cubicBezTo>
                    <a:pt x="451" y="461"/>
                    <a:pt x="451" y="461"/>
                    <a:pt x="451" y="461"/>
                  </a:cubicBezTo>
                  <a:cubicBezTo>
                    <a:pt x="457" y="461"/>
                    <a:pt x="463" y="459"/>
                    <a:pt x="467" y="455"/>
                  </a:cubicBezTo>
                  <a:cubicBezTo>
                    <a:pt x="471" y="451"/>
                    <a:pt x="474" y="445"/>
                    <a:pt x="474" y="438"/>
                  </a:cubicBezTo>
                  <a:cubicBezTo>
                    <a:pt x="474" y="224"/>
                    <a:pt x="474" y="224"/>
                    <a:pt x="474" y="224"/>
                  </a:cubicBezTo>
                  <a:cubicBezTo>
                    <a:pt x="474" y="218"/>
                    <a:pt x="471" y="212"/>
                    <a:pt x="467" y="208"/>
                  </a:cubicBezTo>
                  <a:cubicBezTo>
                    <a:pt x="463" y="204"/>
                    <a:pt x="457" y="201"/>
                    <a:pt x="451" y="201"/>
                  </a:cubicBezTo>
                  <a:moveTo>
                    <a:pt x="791" y="314"/>
                  </a:moveTo>
                  <a:cubicBezTo>
                    <a:pt x="791" y="314"/>
                    <a:pt x="792" y="313"/>
                    <a:pt x="793" y="313"/>
                  </a:cubicBezTo>
                  <a:cubicBezTo>
                    <a:pt x="794" y="313"/>
                    <a:pt x="794" y="314"/>
                    <a:pt x="795" y="314"/>
                  </a:cubicBezTo>
                  <a:cubicBezTo>
                    <a:pt x="838" y="397"/>
                    <a:pt x="838" y="397"/>
                    <a:pt x="838" y="397"/>
                  </a:cubicBezTo>
                  <a:cubicBezTo>
                    <a:pt x="838" y="398"/>
                    <a:pt x="838" y="399"/>
                    <a:pt x="837" y="399"/>
                  </a:cubicBezTo>
                  <a:cubicBezTo>
                    <a:pt x="837" y="400"/>
                    <a:pt x="836" y="400"/>
                    <a:pt x="836" y="400"/>
                  </a:cubicBezTo>
                  <a:cubicBezTo>
                    <a:pt x="805" y="400"/>
                    <a:pt x="805" y="400"/>
                    <a:pt x="805" y="400"/>
                  </a:cubicBezTo>
                  <a:cubicBezTo>
                    <a:pt x="804" y="400"/>
                    <a:pt x="804" y="400"/>
                    <a:pt x="803" y="399"/>
                  </a:cubicBezTo>
                  <a:cubicBezTo>
                    <a:pt x="776" y="346"/>
                    <a:pt x="776" y="346"/>
                    <a:pt x="776" y="346"/>
                  </a:cubicBezTo>
                  <a:cubicBezTo>
                    <a:pt x="775" y="345"/>
                    <a:pt x="775" y="345"/>
                    <a:pt x="776" y="344"/>
                  </a:cubicBezTo>
                  <a:cubicBezTo>
                    <a:pt x="791" y="314"/>
                    <a:pt x="791" y="314"/>
                    <a:pt x="791" y="314"/>
                  </a:cubicBezTo>
                  <a:moveTo>
                    <a:pt x="814" y="308"/>
                  </a:moveTo>
                  <a:cubicBezTo>
                    <a:pt x="805" y="308"/>
                    <a:pt x="798" y="301"/>
                    <a:pt x="798" y="292"/>
                  </a:cubicBezTo>
                  <a:cubicBezTo>
                    <a:pt x="798" y="284"/>
                    <a:pt x="805" y="277"/>
                    <a:pt x="814" y="277"/>
                  </a:cubicBezTo>
                  <a:cubicBezTo>
                    <a:pt x="822" y="277"/>
                    <a:pt x="829" y="284"/>
                    <a:pt x="829" y="292"/>
                  </a:cubicBezTo>
                  <a:cubicBezTo>
                    <a:pt x="829" y="292"/>
                    <a:pt x="829" y="292"/>
                    <a:pt x="829" y="292"/>
                  </a:cubicBezTo>
                  <a:cubicBezTo>
                    <a:pt x="829" y="292"/>
                    <a:pt x="829" y="292"/>
                    <a:pt x="829" y="292"/>
                  </a:cubicBezTo>
                  <a:cubicBezTo>
                    <a:pt x="829" y="301"/>
                    <a:pt x="822" y="308"/>
                    <a:pt x="814" y="308"/>
                  </a:cubicBezTo>
                  <a:moveTo>
                    <a:pt x="723" y="274"/>
                  </a:moveTo>
                  <a:cubicBezTo>
                    <a:pt x="723" y="273"/>
                    <a:pt x="724" y="273"/>
                    <a:pt x="725" y="273"/>
                  </a:cubicBezTo>
                  <a:cubicBezTo>
                    <a:pt x="725" y="273"/>
                    <a:pt x="726" y="273"/>
                    <a:pt x="726" y="274"/>
                  </a:cubicBezTo>
                  <a:cubicBezTo>
                    <a:pt x="790" y="397"/>
                    <a:pt x="790" y="397"/>
                    <a:pt x="790" y="397"/>
                  </a:cubicBezTo>
                  <a:cubicBezTo>
                    <a:pt x="791" y="398"/>
                    <a:pt x="791" y="399"/>
                    <a:pt x="790" y="399"/>
                  </a:cubicBezTo>
                  <a:cubicBezTo>
                    <a:pt x="790" y="400"/>
                    <a:pt x="789" y="400"/>
                    <a:pt x="789" y="400"/>
                  </a:cubicBezTo>
                  <a:cubicBezTo>
                    <a:pt x="661" y="400"/>
                    <a:pt x="661" y="400"/>
                    <a:pt x="661" y="400"/>
                  </a:cubicBezTo>
                  <a:cubicBezTo>
                    <a:pt x="660" y="400"/>
                    <a:pt x="659" y="400"/>
                    <a:pt x="659" y="399"/>
                  </a:cubicBezTo>
                  <a:cubicBezTo>
                    <a:pt x="659" y="399"/>
                    <a:pt x="659" y="398"/>
                    <a:pt x="659" y="397"/>
                  </a:cubicBezTo>
                  <a:cubicBezTo>
                    <a:pt x="723" y="274"/>
                    <a:pt x="723" y="274"/>
                    <a:pt x="723" y="274"/>
                  </a:cubicBezTo>
                  <a:moveTo>
                    <a:pt x="856" y="201"/>
                  </a:moveTo>
                  <a:cubicBezTo>
                    <a:pt x="641" y="201"/>
                    <a:pt x="641" y="201"/>
                    <a:pt x="641" y="201"/>
                  </a:cubicBezTo>
                  <a:cubicBezTo>
                    <a:pt x="635" y="201"/>
                    <a:pt x="629" y="204"/>
                    <a:pt x="625" y="208"/>
                  </a:cubicBezTo>
                  <a:cubicBezTo>
                    <a:pt x="621" y="212"/>
                    <a:pt x="618" y="218"/>
                    <a:pt x="618" y="224"/>
                  </a:cubicBezTo>
                  <a:cubicBezTo>
                    <a:pt x="618" y="438"/>
                    <a:pt x="618" y="438"/>
                    <a:pt x="618" y="438"/>
                  </a:cubicBezTo>
                  <a:cubicBezTo>
                    <a:pt x="618" y="445"/>
                    <a:pt x="621" y="451"/>
                    <a:pt x="625" y="455"/>
                  </a:cubicBezTo>
                  <a:cubicBezTo>
                    <a:pt x="629" y="459"/>
                    <a:pt x="635" y="461"/>
                    <a:pt x="641" y="461"/>
                  </a:cubicBezTo>
                  <a:cubicBezTo>
                    <a:pt x="856" y="461"/>
                    <a:pt x="856" y="461"/>
                    <a:pt x="856" y="461"/>
                  </a:cubicBezTo>
                  <a:cubicBezTo>
                    <a:pt x="862" y="461"/>
                    <a:pt x="868" y="459"/>
                    <a:pt x="872" y="455"/>
                  </a:cubicBezTo>
                  <a:cubicBezTo>
                    <a:pt x="876" y="451"/>
                    <a:pt x="879" y="445"/>
                    <a:pt x="879" y="438"/>
                  </a:cubicBezTo>
                  <a:cubicBezTo>
                    <a:pt x="879" y="224"/>
                    <a:pt x="879" y="224"/>
                    <a:pt x="879" y="224"/>
                  </a:cubicBezTo>
                  <a:cubicBezTo>
                    <a:pt x="879" y="218"/>
                    <a:pt x="876" y="212"/>
                    <a:pt x="872" y="208"/>
                  </a:cubicBezTo>
                  <a:cubicBezTo>
                    <a:pt x="868" y="204"/>
                    <a:pt x="862" y="201"/>
                    <a:pt x="856" y="201"/>
                  </a:cubicBezTo>
                  <a:moveTo>
                    <a:pt x="1092" y="201"/>
                  </a:moveTo>
                  <a:cubicBezTo>
                    <a:pt x="1046" y="201"/>
                    <a:pt x="1046" y="201"/>
                    <a:pt x="1046" y="201"/>
                  </a:cubicBezTo>
                  <a:cubicBezTo>
                    <a:pt x="1039" y="201"/>
                    <a:pt x="1034" y="204"/>
                    <a:pt x="1029" y="208"/>
                  </a:cubicBezTo>
                  <a:cubicBezTo>
                    <a:pt x="1025" y="212"/>
                    <a:pt x="1023" y="218"/>
                    <a:pt x="1023" y="224"/>
                  </a:cubicBezTo>
                  <a:cubicBezTo>
                    <a:pt x="1023" y="438"/>
                    <a:pt x="1023" y="438"/>
                    <a:pt x="1023" y="438"/>
                  </a:cubicBezTo>
                  <a:cubicBezTo>
                    <a:pt x="1023" y="445"/>
                    <a:pt x="1025" y="451"/>
                    <a:pt x="1029" y="455"/>
                  </a:cubicBezTo>
                  <a:cubicBezTo>
                    <a:pt x="1034" y="459"/>
                    <a:pt x="1039" y="461"/>
                    <a:pt x="1046" y="461"/>
                  </a:cubicBezTo>
                  <a:cubicBezTo>
                    <a:pt x="1092" y="461"/>
                    <a:pt x="1092" y="461"/>
                    <a:pt x="1092" y="461"/>
                  </a:cubicBezTo>
                  <a:cubicBezTo>
                    <a:pt x="1092" y="400"/>
                    <a:pt x="1092" y="400"/>
                    <a:pt x="1092" y="400"/>
                  </a:cubicBezTo>
                  <a:cubicBezTo>
                    <a:pt x="1065" y="400"/>
                    <a:pt x="1065" y="400"/>
                    <a:pt x="1065" y="400"/>
                  </a:cubicBezTo>
                  <a:cubicBezTo>
                    <a:pt x="1065" y="400"/>
                    <a:pt x="1064" y="400"/>
                    <a:pt x="1064" y="399"/>
                  </a:cubicBezTo>
                  <a:cubicBezTo>
                    <a:pt x="1063" y="399"/>
                    <a:pt x="1063" y="398"/>
                    <a:pt x="1064" y="397"/>
                  </a:cubicBezTo>
                  <a:cubicBezTo>
                    <a:pt x="1092" y="342"/>
                    <a:pt x="1092" y="342"/>
                    <a:pt x="1092" y="342"/>
                  </a:cubicBezTo>
                  <a:cubicBezTo>
                    <a:pt x="1092" y="201"/>
                    <a:pt x="1092" y="201"/>
                    <a:pt x="1092" y="201"/>
                  </a:cubicBezTo>
                  <a:moveTo>
                    <a:pt x="236" y="807"/>
                  </a:moveTo>
                  <a:cubicBezTo>
                    <a:pt x="222" y="807"/>
                    <a:pt x="209" y="795"/>
                    <a:pt x="209" y="780"/>
                  </a:cubicBezTo>
                  <a:cubicBezTo>
                    <a:pt x="209" y="566"/>
                    <a:pt x="209" y="566"/>
                    <a:pt x="209" y="566"/>
                  </a:cubicBezTo>
                  <a:cubicBezTo>
                    <a:pt x="209" y="551"/>
                    <a:pt x="222" y="539"/>
                    <a:pt x="236" y="539"/>
                  </a:cubicBezTo>
                  <a:cubicBezTo>
                    <a:pt x="451" y="539"/>
                    <a:pt x="451" y="539"/>
                    <a:pt x="451" y="539"/>
                  </a:cubicBezTo>
                  <a:cubicBezTo>
                    <a:pt x="466" y="539"/>
                    <a:pt x="478" y="551"/>
                    <a:pt x="478" y="566"/>
                  </a:cubicBezTo>
                  <a:cubicBezTo>
                    <a:pt x="478" y="780"/>
                    <a:pt x="478" y="780"/>
                    <a:pt x="478" y="780"/>
                  </a:cubicBezTo>
                  <a:cubicBezTo>
                    <a:pt x="478" y="795"/>
                    <a:pt x="466" y="807"/>
                    <a:pt x="451" y="807"/>
                  </a:cubicBezTo>
                  <a:cubicBezTo>
                    <a:pt x="451" y="807"/>
                    <a:pt x="451" y="807"/>
                    <a:pt x="451" y="807"/>
                  </a:cubicBezTo>
                  <a:cubicBezTo>
                    <a:pt x="236" y="807"/>
                    <a:pt x="236" y="807"/>
                    <a:pt x="236" y="807"/>
                  </a:cubicBezTo>
                  <a:moveTo>
                    <a:pt x="641" y="807"/>
                  </a:moveTo>
                  <a:cubicBezTo>
                    <a:pt x="626" y="807"/>
                    <a:pt x="614" y="795"/>
                    <a:pt x="614" y="780"/>
                  </a:cubicBezTo>
                  <a:cubicBezTo>
                    <a:pt x="614" y="566"/>
                    <a:pt x="614" y="566"/>
                    <a:pt x="614" y="566"/>
                  </a:cubicBezTo>
                  <a:cubicBezTo>
                    <a:pt x="614" y="551"/>
                    <a:pt x="626" y="539"/>
                    <a:pt x="641" y="539"/>
                  </a:cubicBezTo>
                  <a:cubicBezTo>
                    <a:pt x="856" y="539"/>
                    <a:pt x="856" y="539"/>
                    <a:pt x="856" y="539"/>
                  </a:cubicBezTo>
                  <a:cubicBezTo>
                    <a:pt x="870" y="539"/>
                    <a:pt x="883" y="551"/>
                    <a:pt x="883" y="566"/>
                  </a:cubicBezTo>
                  <a:cubicBezTo>
                    <a:pt x="883" y="780"/>
                    <a:pt x="883" y="780"/>
                    <a:pt x="883" y="780"/>
                  </a:cubicBezTo>
                  <a:cubicBezTo>
                    <a:pt x="883" y="795"/>
                    <a:pt x="870" y="807"/>
                    <a:pt x="856" y="807"/>
                  </a:cubicBezTo>
                  <a:cubicBezTo>
                    <a:pt x="856" y="807"/>
                    <a:pt x="856" y="807"/>
                    <a:pt x="856" y="807"/>
                  </a:cubicBezTo>
                  <a:cubicBezTo>
                    <a:pt x="641" y="807"/>
                    <a:pt x="641" y="807"/>
                    <a:pt x="641" y="807"/>
                  </a:cubicBezTo>
                  <a:moveTo>
                    <a:pt x="236" y="465"/>
                  </a:moveTo>
                  <a:cubicBezTo>
                    <a:pt x="222" y="465"/>
                    <a:pt x="209" y="453"/>
                    <a:pt x="209" y="438"/>
                  </a:cubicBezTo>
                  <a:cubicBezTo>
                    <a:pt x="209" y="224"/>
                    <a:pt x="209" y="224"/>
                    <a:pt x="209" y="224"/>
                  </a:cubicBezTo>
                  <a:cubicBezTo>
                    <a:pt x="209" y="209"/>
                    <a:pt x="222" y="197"/>
                    <a:pt x="236" y="197"/>
                  </a:cubicBezTo>
                  <a:cubicBezTo>
                    <a:pt x="451" y="197"/>
                    <a:pt x="451" y="197"/>
                    <a:pt x="451" y="197"/>
                  </a:cubicBezTo>
                  <a:cubicBezTo>
                    <a:pt x="466" y="197"/>
                    <a:pt x="478" y="209"/>
                    <a:pt x="478" y="224"/>
                  </a:cubicBezTo>
                  <a:cubicBezTo>
                    <a:pt x="478" y="438"/>
                    <a:pt x="478" y="438"/>
                    <a:pt x="478" y="438"/>
                  </a:cubicBezTo>
                  <a:cubicBezTo>
                    <a:pt x="478" y="453"/>
                    <a:pt x="466" y="465"/>
                    <a:pt x="451" y="465"/>
                  </a:cubicBezTo>
                  <a:cubicBezTo>
                    <a:pt x="451" y="465"/>
                    <a:pt x="451" y="465"/>
                    <a:pt x="451" y="465"/>
                  </a:cubicBezTo>
                  <a:cubicBezTo>
                    <a:pt x="236" y="465"/>
                    <a:pt x="236" y="465"/>
                    <a:pt x="236" y="465"/>
                  </a:cubicBezTo>
                  <a:moveTo>
                    <a:pt x="641" y="465"/>
                  </a:moveTo>
                  <a:cubicBezTo>
                    <a:pt x="626" y="465"/>
                    <a:pt x="614" y="453"/>
                    <a:pt x="614" y="438"/>
                  </a:cubicBezTo>
                  <a:cubicBezTo>
                    <a:pt x="614" y="224"/>
                    <a:pt x="614" y="224"/>
                    <a:pt x="614" y="224"/>
                  </a:cubicBezTo>
                  <a:cubicBezTo>
                    <a:pt x="614" y="209"/>
                    <a:pt x="626" y="197"/>
                    <a:pt x="641" y="197"/>
                  </a:cubicBezTo>
                  <a:cubicBezTo>
                    <a:pt x="856" y="197"/>
                    <a:pt x="856" y="197"/>
                    <a:pt x="856" y="197"/>
                  </a:cubicBezTo>
                  <a:cubicBezTo>
                    <a:pt x="870" y="197"/>
                    <a:pt x="883" y="209"/>
                    <a:pt x="883" y="224"/>
                  </a:cubicBezTo>
                  <a:cubicBezTo>
                    <a:pt x="883" y="438"/>
                    <a:pt x="883" y="438"/>
                    <a:pt x="883" y="438"/>
                  </a:cubicBezTo>
                  <a:cubicBezTo>
                    <a:pt x="883" y="453"/>
                    <a:pt x="870" y="465"/>
                    <a:pt x="856" y="465"/>
                  </a:cubicBezTo>
                  <a:cubicBezTo>
                    <a:pt x="856" y="465"/>
                    <a:pt x="856" y="465"/>
                    <a:pt x="856" y="465"/>
                  </a:cubicBezTo>
                  <a:cubicBezTo>
                    <a:pt x="641" y="465"/>
                    <a:pt x="641" y="465"/>
                    <a:pt x="641" y="465"/>
                  </a:cubicBezTo>
                  <a:moveTo>
                    <a:pt x="1092" y="64"/>
                  </a:moveTo>
                  <a:cubicBezTo>
                    <a:pt x="0" y="64"/>
                    <a:pt x="0" y="64"/>
                    <a:pt x="0" y="64"/>
                  </a:cubicBezTo>
                  <a:cubicBezTo>
                    <a:pt x="0" y="197"/>
                    <a:pt x="0" y="197"/>
                    <a:pt x="0" y="197"/>
                  </a:cubicBezTo>
                  <a:cubicBezTo>
                    <a:pt x="46" y="197"/>
                    <a:pt x="46" y="197"/>
                    <a:pt x="46" y="197"/>
                  </a:cubicBezTo>
                  <a:cubicBezTo>
                    <a:pt x="61" y="197"/>
                    <a:pt x="73" y="209"/>
                    <a:pt x="73" y="224"/>
                  </a:cubicBezTo>
                  <a:cubicBezTo>
                    <a:pt x="73" y="438"/>
                    <a:pt x="73" y="438"/>
                    <a:pt x="73" y="438"/>
                  </a:cubicBezTo>
                  <a:cubicBezTo>
                    <a:pt x="73" y="453"/>
                    <a:pt x="61" y="465"/>
                    <a:pt x="46" y="465"/>
                  </a:cubicBezTo>
                  <a:cubicBezTo>
                    <a:pt x="46" y="465"/>
                    <a:pt x="46" y="465"/>
                    <a:pt x="46" y="465"/>
                  </a:cubicBezTo>
                  <a:cubicBezTo>
                    <a:pt x="0" y="465"/>
                    <a:pt x="0" y="465"/>
                    <a:pt x="0" y="465"/>
                  </a:cubicBezTo>
                  <a:cubicBezTo>
                    <a:pt x="0" y="539"/>
                    <a:pt x="0" y="539"/>
                    <a:pt x="0" y="539"/>
                  </a:cubicBezTo>
                  <a:cubicBezTo>
                    <a:pt x="32" y="539"/>
                    <a:pt x="32" y="539"/>
                    <a:pt x="32" y="539"/>
                  </a:cubicBezTo>
                  <a:cubicBezTo>
                    <a:pt x="37" y="537"/>
                    <a:pt x="40" y="535"/>
                    <a:pt x="40" y="535"/>
                  </a:cubicBezTo>
                  <a:cubicBezTo>
                    <a:pt x="41" y="538"/>
                    <a:pt x="41" y="538"/>
                    <a:pt x="41" y="538"/>
                  </a:cubicBezTo>
                  <a:cubicBezTo>
                    <a:pt x="56" y="532"/>
                    <a:pt x="78" y="522"/>
                    <a:pt x="82" y="522"/>
                  </a:cubicBezTo>
                  <a:cubicBezTo>
                    <a:pt x="83" y="522"/>
                    <a:pt x="83" y="522"/>
                    <a:pt x="83" y="522"/>
                  </a:cubicBezTo>
                  <a:cubicBezTo>
                    <a:pt x="85" y="524"/>
                    <a:pt x="72" y="531"/>
                    <a:pt x="74" y="532"/>
                  </a:cubicBezTo>
                  <a:cubicBezTo>
                    <a:pt x="75" y="532"/>
                    <a:pt x="75" y="532"/>
                    <a:pt x="75" y="532"/>
                  </a:cubicBezTo>
                  <a:cubicBezTo>
                    <a:pt x="77" y="532"/>
                    <a:pt x="81" y="531"/>
                    <a:pt x="85" y="530"/>
                  </a:cubicBezTo>
                  <a:cubicBezTo>
                    <a:pt x="90" y="528"/>
                    <a:pt x="94" y="527"/>
                    <a:pt x="96" y="527"/>
                  </a:cubicBezTo>
                  <a:cubicBezTo>
                    <a:pt x="97" y="527"/>
                    <a:pt x="98" y="527"/>
                    <a:pt x="98" y="527"/>
                  </a:cubicBezTo>
                  <a:cubicBezTo>
                    <a:pt x="100" y="531"/>
                    <a:pt x="79" y="538"/>
                    <a:pt x="79" y="538"/>
                  </a:cubicBezTo>
                  <a:cubicBezTo>
                    <a:pt x="79" y="538"/>
                    <a:pt x="94" y="534"/>
                    <a:pt x="100" y="534"/>
                  </a:cubicBezTo>
                  <a:cubicBezTo>
                    <a:pt x="102" y="534"/>
                    <a:pt x="103" y="534"/>
                    <a:pt x="103" y="535"/>
                  </a:cubicBezTo>
                  <a:cubicBezTo>
                    <a:pt x="104" y="537"/>
                    <a:pt x="86" y="543"/>
                    <a:pt x="80" y="547"/>
                  </a:cubicBezTo>
                  <a:cubicBezTo>
                    <a:pt x="85" y="545"/>
                    <a:pt x="93" y="543"/>
                    <a:pt x="97" y="543"/>
                  </a:cubicBezTo>
                  <a:cubicBezTo>
                    <a:pt x="99" y="543"/>
                    <a:pt x="100" y="543"/>
                    <a:pt x="100" y="544"/>
                  </a:cubicBezTo>
                  <a:cubicBezTo>
                    <a:pt x="101" y="546"/>
                    <a:pt x="89" y="551"/>
                    <a:pt x="80" y="555"/>
                  </a:cubicBezTo>
                  <a:cubicBezTo>
                    <a:pt x="84" y="553"/>
                    <a:pt x="91" y="551"/>
                    <a:pt x="95" y="551"/>
                  </a:cubicBezTo>
                  <a:cubicBezTo>
                    <a:pt x="96" y="551"/>
                    <a:pt x="97" y="551"/>
                    <a:pt x="97" y="552"/>
                  </a:cubicBezTo>
                  <a:cubicBezTo>
                    <a:pt x="98" y="553"/>
                    <a:pt x="87" y="559"/>
                    <a:pt x="73" y="565"/>
                  </a:cubicBezTo>
                  <a:cubicBezTo>
                    <a:pt x="73" y="565"/>
                    <a:pt x="73" y="566"/>
                    <a:pt x="73" y="566"/>
                  </a:cubicBezTo>
                  <a:cubicBezTo>
                    <a:pt x="73" y="780"/>
                    <a:pt x="73" y="780"/>
                    <a:pt x="73" y="780"/>
                  </a:cubicBezTo>
                  <a:cubicBezTo>
                    <a:pt x="73" y="795"/>
                    <a:pt x="61" y="807"/>
                    <a:pt x="46" y="807"/>
                  </a:cubicBezTo>
                  <a:cubicBezTo>
                    <a:pt x="46" y="807"/>
                    <a:pt x="46" y="807"/>
                    <a:pt x="46" y="807"/>
                  </a:cubicBezTo>
                  <a:cubicBezTo>
                    <a:pt x="0" y="807"/>
                    <a:pt x="0" y="807"/>
                    <a:pt x="0" y="807"/>
                  </a:cubicBezTo>
                  <a:cubicBezTo>
                    <a:pt x="0" y="842"/>
                    <a:pt x="0" y="842"/>
                    <a:pt x="0" y="842"/>
                  </a:cubicBezTo>
                  <a:cubicBezTo>
                    <a:pt x="884" y="842"/>
                    <a:pt x="884" y="842"/>
                    <a:pt x="884" y="842"/>
                  </a:cubicBezTo>
                  <a:cubicBezTo>
                    <a:pt x="916" y="900"/>
                    <a:pt x="977" y="939"/>
                    <a:pt x="1048" y="939"/>
                  </a:cubicBezTo>
                  <a:cubicBezTo>
                    <a:pt x="1132" y="939"/>
                    <a:pt x="1203" y="884"/>
                    <a:pt x="1226" y="807"/>
                  </a:cubicBezTo>
                  <a:cubicBezTo>
                    <a:pt x="1046" y="807"/>
                    <a:pt x="1046" y="807"/>
                    <a:pt x="1046" y="807"/>
                  </a:cubicBezTo>
                  <a:cubicBezTo>
                    <a:pt x="1031" y="807"/>
                    <a:pt x="1019" y="795"/>
                    <a:pt x="1019" y="780"/>
                  </a:cubicBezTo>
                  <a:cubicBezTo>
                    <a:pt x="1019" y="594"/>
                    <a:pt x="1019" y="594"/>
                    <a:pt x="1019" y="594"/>
                  </a:cubicBezTo>
                  <a:cubicBezTo>
                    <a:pt x="1017" y="594"/>
                    <a:pt x="1016" y="593"/>
                    <a:pt x="1016" y="593"/>
                  </a:cubicBezTo>
                  <a:cubicBezTo>
                    <a:pt x="1016" y="592"/>
                    <a:pt x="1017" y="591"/>
                    <a:pt x="1019" y="591"/>
                  </a:cubicBezTo>
                  <a:cubicBezTo>
                    <a:pt x="1019" y="588"/>
                    <a:pt x="1019" y="588"/>
                    <a:pt x="1019" y="588"/>
                  </a:cubicBezTo>
                  <a:cubicBezTo>
                    <a:pt x="1014" y="588"/>
                    <a:pt x="1010" y="588"/>
                    <a:pt x="1010" y="586"/>
                  </a:cubicBezTo>
                  <a:cubicBezTo>
                    <a:pt x="1010" y="585"/>
                    <a:pt x="1014" y="583"/>
                    <a:pt x="1019" y="583"/>
                  </a:cubicBezTo>
                  <a:cubicBezTo>
                    <a:pt x="1019" y="581"/>
                    <a:pt x="1019" y="581"/>
                    <a:pt x="1019" y="581"/>
                  </a:cubicBezTo>
                  <a:cubicBezTo>
                    <a:pt x="1012" y="581"/>
                    <a:pt x="1004" y="580"/>
                    <a:pt x="1004" y="579"/>
                  </a:cubicBezTo>
                  <a:cubicBezTo>
                    <a:pt x="1004" y="577"/>
                    <a:pt x="1012" y="575"/>
                    <a:pt x="1019" y="574"/>
                  </a:cubicBezTo>
                  <a:cubicBezTo>
                    <a:pt x="1019" y="573"/>
                    <a:pt x="1019" y="573"/>
                    <a:pt x="1019" y="573"/>
                  </a:cubicBezTo>
                  <a:cubicBezTo>
                    <a:pt x="1013" y="573"/>
                    <a:pt x="1006" y="572"/>
                    <a:pt x="1006" y="570"/>
                  </a:cubicBezTo>
                  <a:cubicBezTo>
                    <a:pt x="1007" y="569"/>
                    <a:pt x="1013" y="568"/>
                    <a:pt x="1019" y="568"/>
                  </a:cubicBezTo>
                  <a:cubicBezTo>
                    <a:pt x="1019" y="566"/>
                    <a:pt x="1019" y="566"/>
                    <a:pt x="1019" y="566"/>
                  </a:cubicBezTo>
                  <a:cubicBezTo>
                    <a:pt x="1019" y="564"/>
                    <a:pt x="1019" y="563"/>
                    <a:pt x="1019" y="561"/>
                  </a:cubicBezTo>
                  <a:cubicBezTo>
                    <a:pt x="1018" y="561"/>
                    <a:pt x="1018" y="561"/>
                    <a:pt x="1018" y="560"/>
                  </a:cubicBezTo>
                  <a:cubicBezTo>
                    <a:pt x="1018" y="560"/>
                    <a:pt x="1019" y="560"/>
                    <a:pt x="1019" y="560"/>
                  </a:cubicBezTo>
                  <a:cubicBezTo>
                    <a:pt x="1022" y="548"/>
                    <a:pt x="1033" y="539"/>
                    <a:pt x="1046" y="539"/>
                  </a:cubicBezTo>
                  <a:cubicBezTo>
                    <a:pt x="1092" y="539"/>
                    <a:pt x="1092" y="539"/>
                    <a:pt x="1092" y="539"/>
                  </a:cubicBezTo>
                  <a:cubicBezTo>
                    <a:pt x="1092" y="465"/>
                    <a:pt x="1092" y="465"/>
                    <a:pt x="1092" y="465"/>
                  </a:cubicBezTo>
                  <a:cubicBezTo>
                    <a:pt x="1046" y="465"/>
                    <a:pt x="1046" y="465"/>
                    <a:pt x="1046" y="465"/>
                  </a:cubicBezTo>
                  <a:cubicBezTo>
                    <a:pt x="1031" y="465"/>
                    <a:pt x="1019" y="453"/>
                    <a:pt x="1019" y="438"/>
                  </a:cubicBezTo>
                  <a:cubicBezTo>
                    <a:pt x="1019" y="224"/>
                    <a:pt x="1019" y="224"/>
                    <a:pt x="1019" y="224"/>
                  </a:cubicBezTo>
                  <a:cubicBezTo>
                    <a:pt x="1019" y="209"/>
                    <a:pt x="1031" y="197"/>
                    <a:pt x="1046" y="197"/>
                  </a:cubicBezTo>
                  <a:cubicBezTo>
                    <a:pt x="1092" y="197"/>
                    <a:pt x="1092" y="197"/>
                    <a:pt x="1092" y="197"/>
                  </a:cubicBezTo>
                  <a:cubicBezTo>
                    <a:pt x="1092" y="119"/>
                    <a:pt x="1092" y="119"/>
                    <a:pt x="1092" y="119"/>
                  </a:cubicBezTo>
                  <a:cubicBezTo>
                    <a:pt x="1052" y="119"/>
                    <a:pt x="1052" y="119"/>
                    <a:pt x="1052" y="119"/>
                  </a:cubicBezTo>
                  <a:cubicBezTo>
                    <a:pt x="1052" y="115"/>
                    <a:pt x="1052" y="115"/>
                    <a:pt x="1052" y="115"/>
                  </a:cubicBezTo>
                  <a:cubicBezTo>
                    <a:pt x="1092" y="115"/>
                    <a:pt x="1092" y="115"/>
                    <a:pt x="1092" y="115"/>
                  </a:cubicBezTo>
                  <a:cubicBezTo>
                    <a:pt x="1092" y="64"/>
                    <a:pt x="1092" y="64"/>
                    <a:pt x="1092" y="64"/>
                  </a:cubicBezTo>
                  <a:moveTo>
                    <a:pt x="0" y="0"/>
                  </a:moveTo>
                  <a:cubicBezTo>
                    <a:pt x="0" y="60"/>
                    <a:pt x="0" y="60"/>
                    <a:pt x="0" y="60"/>
                  </a:cubicBezTo>
                  <a:cubicBezTo>
                    <a:pt x="1092" y="60"/>
                    <a:pt x="1092" y="60"/>
                    <a:pt x="1092" y="60"/>
                  </a:cubicBezTo>
                  <a:cubicBezTo>
                    <a:pt x="1092" y="23"/>
                    <a:pt x="1092" y="23"/>
                    <a:pt x="1092" y="23"/>
                  </a:cubicBezTo>
                  <a:cubicBezTo>
                    <a:pt x="28" y="23"/>
                    <a:pt x="28" y="23"/>
                    <a:pt x="28" y="23"/>
                  </a:cubicBezTo>
                  <a:cubicBezTo>
                    <a:pt x="14" y="23"/>
                    <a:pt x="3" y="13"/>
                    <a:pt x="0" y="0"/>
                  </a:cubicBezTo>
                </a:path>
              </a:pathLst>
            </a:custGeom>
            <a:solidFill>
              <a:srgbClr val="BED6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01" name="Freeform 179"/>
            <p:cNvSpPr>
              <a:spLocks noEditPoints="1"/>
            </p:cNvSpPr>
            <p:nvPr userDrawn="1"/>
          </p:nvSpPr>
          <p:spPr bwMode="auto">
            <a:xfrm>
              <a:off x="3513329" y="4181907"/>
              <a:ext cx="78081" cy="81404"/>
            </a:xfrm>
            <a:custGeom>
              <a:avLst/>
              <a:gdLst>
                <a:gd name="T0" fmla="*/ 30 w 30"/>
                <a:gd name="T1" fmla="*/ 15 h 31"/>
                <a:gd name="T2" fmla="*/ 30 w 30"/>
                <a:gd name="T3" fmla="*/ 15 h 31"/>
                <a:gd name="T4" fmla="*/ 30 w 30"/>
                <a:gd name="T5" fmla="*/ 15 h 31"/>
                <a:gd name="T6" fmla="*/ 15 w 30"/>
                <a:gd name="T7" fmla="*/ 0 h 31"/>
                <a:gd name="T8" fmla="*/ 0 w 30"/>
                <a:gd name="T9" fmla="*/ 15 h 31"/>
                <a:gd name="T10" fmla="*/ 15 w 30"/>
                <a:gd name="T11" fmla="*/ 31 h 31"/>
                <a:gd name="T12" fmla="*/ 30 w 30"/>
                <a:gd name="T13" fmla="*/ 15 h 31"/>
                <a:gd name="T14" fmla="*/ 28 w 30"/>
                <a:gd name="T15" fmla="*/ 15 h 31"/>
                <a:gd name="T16" fmla="*/ 26 w 30"/>
                <a:gd name="T17" fmla="*/ 15 h 31"/>
                <a:gd name="T18" fmla="*/ 15 w 30"/>
                <a:gd name="T19" fmla="*/ 27 h 31"/>
                <a:gd name="T20" fmla="*/ 4 w 30"/>
                <a:gd name="T21" fmla="*/ 15 h 31"/>
                <a:gd name="T22" fmla="*/ 15 w 30"/>
                <a:gd name="T23" fmla="*/ 4 h 31"/>
                <a:gd name="T24" fmla="*/ 26 w 30"/>
                <a:gd name="T25" fmla="*/ 15 h 31"/>
                <a:gd name="T26" fmla="*/ 28 w 30"/>
                <a:gd name="T27" fmla="*/ 15 h 31"/>
                <a:gd name="T28" fmla="*/ 30 w 30"/>
                <a:gd name="T29" fmla="*/ 15 h 31"/>
                <a:gd name="T30" fmla="*/ 30 w 30"/>
                <a:gd name="T31" fmla="*/ 15 h 31"/>
                <a:gd name="T32" fmla="*/ 15 w 30"/>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1">
                  <a:moveTo>
                    <a:pt x="30" y="15"/>
                  </a:moveTo>
                  <a:cubicBezTo>
                    <a:pt x="30" y="15"/>
                    <a:pt x="30" y="15"/>
                    <a:pt x="30" y="15"/>
                  </a:cubicBezTo>
                  <a:cubicBezTo>
                    <a:pt x="30" y="15"/>
                    <a:pt x="30" y="15"/>
                    <a:pt x="30" y="15"/>
                  </a:cubicBezTo>
                  <a:moveTo>
                    <a:pt x="15" y="0"/>
                  </a:moveTo>
                  <a:cubicBezTo>
                    <a:pt x="7" y="0"/>
                    <a:pt x="0" y="7"/>
                    <a:pt x="0" y="15"/>
                  </a:cubicBezTo>
                  <a:cubicBezTo>
                    <a:pt x="0" y="24"/>
                    <a:pt x="7" y="31"/>
                    <a:pt x="15" y="31"/>
                  </a:cubicBezTo>
                  <a:cubicBezTo>
                    <a:pt x="24" y="31"/>
                    <a:pt x="30" y="24"/>
                    <a:pt x="30" y="15"/>
                  </a:cubicBezTo>
                  <a:cubicBezTo>
                    <a:pt x="28" y="15"/>
                    <a:pt x="28" y="15"/>
                    <a:pt x="28" y="15"/>
                  </a:cubicBezTo>
                  <a:cubicBezTo>
                    <a:pt x="26" y="15"/>
                    <a:pt x="26" y="15"/>
                    <a:pt x="26" y="15"/>
                  </a:cubicBezTo>
                  <a:cubicBezTo>
                    <a:pt x="26" y="21"/>
                    <a:pt x="21" y="26"/>
                    <a:pt x="15" y="27"/>
                  </a:cubicBezTo>
                  <a:cubicBezTo>
                    <a:pt x="9" y="26"/>
                    <a:pt x="4" y="21"/>
                    <a:pt x="4" y="15"/>
                  </a:cubicBezTo>
                  <a:cubicBezTo>
                    <a:pt x="4" y="9"/>
                    <a:pt x="9" y="4"/>
                    <a:pt x="15" y="4"/>
                  </a:cubicBezTo>
                  <a:cubicBezTo>
                    <a:pt x="21" y="4"/>
                    <a:pt x="26" y="9"/>
                    <a:pt x="26" y="15"/>
                  </a:cubicBezTo>
                  <a:cubicBezTo>
                    <a:pt x="28" y="15"/>
                    <a:pt x="28" y="15"/>
                    <a:pt x="28" y="15"/>
                  </a:cubicBezTo>
                  <a:cubicBezTo>
                    <a:pt x="30" y="15"/>
                    <a:pt x="30" y="15"/>
                    <a:pt x="30" y="15"/>
                  </a:cubicBezTo>
                  <a:cubicBezTo>
                    <a:pt x="30" y="15"/>
                    <a:pt x="30" y="15"/>
                    <a:pt x="30" y="15"/>
                  </a:cubicBezTo>
                  <a:cubicBezTo>
                    <a:pt x="30" y="7"/>
                    <a:pt x="24" y="0"/>
                    <a:pt x="15"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05" name="Freeform 183"/>
            <p:cNvSpPr>
              <a:spLocks noEditPoints="1"/>
            </p:cNvSpPr>
            <p:nvPr userDrawn="1"/>
          </p:nvSpPr>
          <p:spPr bwMode="auto">
            <a:xfrm>
              <a:off x="4561604" y="4181907"/>
              <a:ext cx="79742" cy="81404"/>
            </a:xfrm>
            <a:custGeom>
              <a:avLst/>
              <a:gdLst>
                <a:gd name="T0" fmla="*/ 31 w 31"/>
                <a:gd name="T1" fmla="*/ 15 h 31"/>
                <a:gd name="T2" fmla="*/ 31 w 31"/>
                <a:gd name="T3" fmla="*/ 15 h 31"/>
                <a:gd name="T4" fmla="*/ 31 w 31"/>
                <a:gd name="T5" fmla="*/ 15 h 31"/>
                <a:gd name="T6" fmla="*/ 16 w 31"/>
                <a:gd name="T7" fmla="*/ 0 h 31"/>
                <a:gd name="T8" fmla="*/ 0 w 31"/>
                <a:gd name="T9" fmla="*/ 15 h 31"/>
                <a:gd name="T10" fmla="*/ 16 w 31"/>
                <a:gd name="T11" fmla="*/ 31 h 31"/>
                <a:gd name="T12" fmla="*/ 31 w 31"/>
                <a:gd name="T13" fmla="*/ 15 h 31"/>
                <a:gd name="T14" fmla="*/ 29 w 31"/>
                <a:gd name="T15" fmla="*/ 15 h 31"/>
                <a:gd name="T16" fmla="*/ 27 w 31"/>
                <a:gd name="T17" fmla="*/ 15 h 31"/>
                <a:gd name="T18" fmla="*/ 16 w 31"/>
                <a:gd name="T19" fmla="*/ 27 h 31"/>
                <a:gd name="T20" fmla="*/ 4 w 31"/>
                <a:gd name="T21" fmla="*/ 15 h 31"/>
                <a:gd name="T22" fmla="*/ 16 w 31"/>
                <a:gd name="T23" fmla="*/ 4 h 31"/>
                <a:gd name="T24" fmla="*/ 27 w 31"/>
                <a:gd name="T25" fmla="*/ 15 h 31"/>
                <a:gd name="T26" fmla="*/ 29 w 31"/>
                <a:gd name="T27" fmla="*/ 15 h 31"/>
                <a:gd name="T28" fmla="*/ 31 w 31"/>
                <a:gd name="T29" fmla="*/ 15 h 31"/>
                <a:gd name="T30" fmla="*/ 31 w 31"/>
                <a:gd name="T31" fmla="*/ 15 h 31"/>
                <a:gd name="T32" fmla="*/ 16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6" y="0"/>
                  </a:moveTo>
                  <a:cubicBezTo>
                    <a:pt x="7" y="0"/>
                    <a:pt x="0" y="7"/>
                    <a:pt x="0" y="15"/>
                  </a:cubicBezTo>
                  <a:cubicBezTo>
                    <a:pt x="0" y="24"/>
                    <a:pt x="7" y="31"/>
                    <a:pt x="16" y="31"/>
                  </a:cubicBezTo>
                  <a:cubicBezTo>
                    <a:pt x="24" y="31"/>
                    <a:pt x="31" y="24"/>
                    <a:pt x="31" y="15"/>
                  </a:cubicBezTo>
                  <a:cubicBezTo>
                    <a:pt x="29" y="15"/>
                    <a:pt x="29" y="15"/>
                    <a:pt x="29" y="15"/>
                  </a:cubicBezTo>
                  <a:cubicBezTo>
                    <a:pt x="27" y="15"/>
                    <a:pt x="27" y="15"/>
                    <a:pt x="27" y="15"/>
                  </a:cubicBezTo>
                  <a:cubicBezTo>
                    <a:pt x="27" y="21"/>
                    <a:pt x="22" y="26"/>
                    <a:pt x="16" y="27"/>
                  </a:cubicBezTo>
                  <a:cubicBezTo>
                    <a:pt x="9" y="26"/>
                    <a:pt x="4" y="21"/>
                    <a:pt x="4" y="15"/>
                  </a:cubicBezTo>
                  <a:cubicBezTo>
                    <a:pt x="4" y="9"/>
                    <a:pt x="9" y="4"/>
                    <a:pt x="16"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06" name="Freeform 184"/>
            <p:cNvSpPr>
              <a:spLocks noEditPoints="1"/>
            </p:cNvSpPr>
            <p:nvPr userDrawn="1"/>
          </p:nvSpPr>
          <p:spPr bwMode="auto">
            <a:xfrm>
              <a:off x="5134749" y="3974245"/>
              <a:ext cx="539920" cy="696081"/>
            </a:xfrm>
            <a:custGeom>
              <a:avLst/>
              <a:gdLst>
                <a:gd name="T0" fmla="*/ 0 w 208"/>
                <a:gd name="T1" fmla="*/ 55 h 268"/>
                <a:gd name="T2" fmla="*/ 0 w 208"/>
                <a:gd name="T3" fmla="*/ 241 h 268"/>
                <a:gd name="T4" fmla="*/ 27 w 208"/>
                <a:gd name="T5" fmla="*/ 268 h 268"/>
                <a:gd name="T6" fmla="*/ 207 w 208"/>
                <a:gd name="T7" fmla="*/ 268 h 268"/>
                <a:gd name="T8" fmla="*/ 208 w 208"/>
                <a:gd name="T9" fmla="*/ 264 h 268"/>
                <a:gd name="T10" fmla="*/ 27 w 208"/>
                <a:gd name="T11" fmla="*/ 264 h 268"/>
                <a:gd name="T12" fmla="*/ 10 w 208"/>
                <a:gd name="T13" fmla="*/ 258 h 268"/>
                <a:gd name="T14" fmla="*/ 4 w 208"/>
                <a:gd name="T15" fmla="*/ 241 h 268"/>
                <a:gd name="T16" fmla="*/ 4 w 208"/>
                <a:gd name="T17" fmla="*/ 56 h 268"/>
                <a:gd name="T18" fmla="*/ 0 w 208"/>
                <a:gd name="T19" fmla="*/ 55 h 268"/>
                <a:gd name="T20" fmla="*/ 0 w 208"/>
                <a:gd name="T21" fmla="*/ 49 h 268"/>
                <a:gd name="T22" fmla="*/ 0 w 208"/>
                <a:gd name="T23" fmla="*/ 52 h 268"/>
                <a:gd name="T24" fmla="*/ 4 w 208"/>
                <a:gd name="T25" fmla="*/ 51 h 268"/>
                <a:gd name="T26" fmla="*/ 4 w 208"/>
                <a:gd name="T27" fmla="*/ 50 h 268"/>
                <a:gd name="T28" fmla="*/ 0 w 208"/>
                <a:gd name="T29" fmla="*/ 49 h 268"/>
                <a:gd name="T30" fmla="*/ 0 w 208"/>
                <a:gd name="T31" fmla="*/ 42 h 268"/>
                <a:gd name="T32" fmla="*/ 0 w 208"/>
                <a:gd name="T33" fmla="*/ 44 h 268"/>
                <a:gd name="T34" fmla="*/ 4 w 208"/>
                <a:gd name="T35" fmla="*/ 43 h 268"/>
                <a:gd name="T36" fmla="*/ 4 w 208"/>
                <a:gd name="T37" fmla="*/ 42 h 268"/>
                <a:gd name="T38" fmla="*/ 0 w 208"/>
                <a:gd name="T39" fmla="*/ 42 h 268"/>
                <a:gd name="T40" fmla="*/ 0 w 208"/>
                <a:gd name="T41" fmla="*/ 34 h 268"/>
                <a:gd name="T42" fmla="*/ 0 w 208"/>
                <a:gd name="T43" fmla="*/ 35 h 268"/>
                <a:gd name="T44" fmla="*/ 4 w 208"/>
                <a:gd name="T45" fmla="*/ 35 h 268"/>
                <a:gd name="T46" fmla="*/ 4 w 208"/>
                <a:gd name="T47" fmla="*/ 34 h 268"/>
                <a:gd name="T48" fmla="*/ 0 w 208"/>
                <a:gd name="T49" fmla="*/ 34 h 268"/>
                <a:gd name="T50" fmla="*/ 0 w 208"/>
                <a:gd name="T51" fmla="*/ 22 h 268"/>
                <a:gd name="T52" fmla="*/ 0 w 208"/>
                <a:gd name="T53" fmla="*/ 27 h 268"/>
                <a:gd name="T54" fmla="*/ 0 w 208"/>
                <a:gd name="T55" fmla="*/ 29 h 268"/>
                <a:gd name="T56" fmla="*/ 4 w 208"/>
                <a:gd name="T57" fmla="*/ 28 h 268"/>
                <a:gd name="T58" fmla="*/ 4 w 208"/>
                <a:gd name="T59" fmla="*/ 27 h 268"/>
                <a:gd name="T60" fmla="*/ 4 w 208"/>
                <a:gd name="T61" fmla="*/ 24 h 268"/>
                <a:gd name="T62" fmla="*/ 0 w 208"/>
                <a:gd name="T63" fmla="*/ 22 h 268"/>
                <a:gd name="T64" fmla="*/ 73 w 208"/>
                <a:gd name="T65" fmla="*/ 0 h 268"/>
                <a:gd name="T66" fmla="*/ 27 w 208"/>
                <a:gd name="T67" fmla="*/ 0 h 268"/>
                <a:gd name="T68" fmla="*/ 0 w 208"/>
                <a:gd name="T69" fmla="*/ 21 h 268"/>
                <a:gd name="T70" fmla="*/ 5 w 208"/>
                <a:gd name="T71" fmla="*/ 20 h 268"/>
                <a:gd name="T72" fmla="*/ 10 w 208"/>
                <a:gd name="T73" fmla="*/ 11 h 268"/>
                <a:gd name="T74" fmla="*/ 27 w 208"/>
                <a:gd name="T75" fmla="*/ 4 h 268"/>
                <a:gd name="T76" fmla="*/ 73 w 208"/>
                <a:gd name="T77" fmla="*/ 4 h 268"/>
                <a:gd name="T78" fmla="*/ 73 w 208"/>
                <a:gd name="T7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8" h="268">
                  <a:moveTo>
                    <a:pt x="0" y="55"/>
                  </a:moveTo>
                  <a:cubicBezTo>
                    <a:pt x="0" y="241"/>
                    <a:pt x="0" y="241"/>
                    <a:pt x="0" y="241"/>
                  </a:cubicBezTo>
                  <a:cubicBezTo>
                    <a:pt x="0" y="256"/>
                    <a:pt x="12" y="268"/>
                    <a:pt x="27" y="268"/>
                  </a:cubicBezTo>
                  <a:cubicBezTo>
                    <a:pt x="207" y="268"/>
                    <a:pt x="207" y="268"/>
                    <a:pt x="207" y="268"/>
                  </a:cubicBezTo>
                  <a:cubicBezTo>
                    <a:pt x="208" y="267"/>
                    <a:pt x="208" y="266"/>
                    <a:pt x="208" y="264"/>
                  </a:cubicBezTo>
                  <a:cubicBezTo>
                    <a:pt x="27" y="264"/>
                    <a:pt x="27" y="264"/>
                    <a:pt x="27" y="264"/>
                  </a:cubicBezTo>
                  <a:cubicBezTo>
                    <a:pt x="20" y="264"/>
                    <a:pt x="15" y="262"/>
                    <a:pt x="10" y="258"/>
                  </a:cubicBezTo>
                  <a:cubicBezTo>
                    <a:pt x="6" y="253"/>
                    <a:pt x="4" y="248"/>
                    <a:pt x="4" y="241"/>
                  </a:cubicBezTo>
                  <a:cubicBezTo>
                    <a:pt x="4" y="56"/>
                    <a:pt x="4" y="56"/>
                    <a:pt x="4" y="56"/>
                  </a:cubicBezTo>
                  <a:cubicBezTo>
                    <a:pt x="2" y="55"/>
                    <a:pt x="1" y="55"/>
                    <a:pt x="0" y="55"/>
                  </a:cubicBezTo>
                  <a:moveTo>
                    <a:pt x="0" y="49"/>
                  </a:moveTo>
                  <a:cubicBezTo>
                    <a:pt x="0" y="52"/>
                    <a:pt x="0" y="52"/>
                    <a:pt x="0" y="52"/>
                  </a:cubicBezTo>
                  <a:cubicBezTo>
                    <a:pt x="1" y="52"/>
                    <a:pt x="2" y="51"/>
                    <a:pt x="4" y="51"/>
                  </a:cubicBezTo>
                  <a:cubicBezTo>
                    <a:pt x="4" y="50"/>
                    <a:pt x="4" y="50"/>
                    <a:pt x="4" y="50"/>
                  </a:cubicBezTo>
                  <a:cubicBezTo>
                    <a:pt x="2" y="50"/>
                    <a:pt x="1" y="49"/>
                    <a:pt x="0" y="49"/>
                  </a:cubicBezTo>
                  <a:moveTo>
                    <a:pt x="0" y="42"/>
                  </a:moveTo>
                  <a:cubicBezTo>
                    <a:pt x="0" y="44"/>
                    <a:pt x="0" y="44"/>
                    <a:pt x="0" y="44"/>
                  </a:cubicBezTo>
                  <a:cubicBezTo>
                    <a:pt x="1" y="43"/>
                    <a:pt x="2" y="43"/>
                    <a:pt x="4" y="43"/>
                  </a:cubicBezTo>
                  <a:cubicBezTo>
                    <a:pt x="4" y="42"/>
                    <a:pt x="4" y="42"/>
                    <a:pt x="4" y="42"/>
                  </a:cubicBezTo>
                  <a:cubicBezTo>
                    <a:pt x="2" y="42"/>
                    <a:pt x="1" y="42"/>
                    <a:pt x="0" y="42"/>
                  </a:cubicBezTo>
                  <a:moveTo>
                    <a:pt x="0" y="34"/>
                  </a:moveTo>
                  <a:cubicBezTo>
                    <a:pt x="0" y="35"/>
                    <a:pt x="0" y="35"/>
                    <a:pt x="0" y="35"/>
                  </a:cubicBezTo>
                  <a:cubicBezTo>
                    <a:pt x="1" y="35"/>
                    <a:pt x="2" y="35"/>
                    <a:pt x="4" y="35"/>
                  </a:cubicBezTo>
                  <a:cubicBezTo>
                    <a:pt x="4" y="34"/>
                    <a:pt x="4" y="34"/>
                    <a:pt x="4" y="34"/>
                  </a:cubicBezTo>
                  <a:cubicBezTo>
                    <a:pt x="2" y="34"/>
                    <a:pt x="1" y="34"/>
                    <a:pt x="0" y="34"/>
                  </a:cubicBezTo>
                  <a:moveTo>
                    <a:pt x="0" y="22"/>
                  </a:moveTo>
                  <a:cubicBezTo>
                    <a:pt x="0" y="24"/>
                    <a:pt x="0" y="25"/>
                    <a:pt x="0" y="27"/>
                  </a:cubicBezTo>
                  <a:cubicBezTo>
                    <a:pt x="0" y="29"/>
                    <a:pt x="0" y="29"/>
                    <a:pt x="0" y="29"/>
                  </a:cubicBezTo>
                  <a:cubicBezTo>
                    <a:pt x="1" y="28"/>
                    <a:pt x="2" y="28"/>
                    <a:pt x="4" y="28"/>
                  </a:cubicBezTo>
                  <a:cubicBezTo>
                    <a:pt x="4" y="27"/>
                    <a:pt x="4" y="27"/>
                    <a:pt x="4" y="27"/>
                  </a:cubicBezTo>
                  <a:cubicBezTo>
                    <a:pt x="4" y="26"/>
                    <a:pt x="4" y="25"/>
                    <a:pt x="4" y="24"/>
                  </a:cubicBezTo>
                  <a:cubicBezTo>
                    <a:pt x="2" y="23"/>
                    <a:pt x="1" y="23"/>
                    <a:pt x="0" y="22"/>
                  </a:cubicBezTo>
                  <a:moveTo>
                    <a:pt x="73" y="0"/>
                  </a:moveTo>
                  <a:cubicBezTo>
                    <a:pt x="27" y="0"/>
                    <a:pt x="27" y="0"/>
                    <a:pt x="27" y="0"/>
                  </a:cubicBezTo>
                  <a:cubicBezTo>
                    <a:pt x="14" y="0"/>
                    <a:pt x="3" y="9"/>
                    <a:pt x="0" y="21"/>
                  </a:cubicBezTo>
                  <a:cubicBezTo>
                    <a:pt x="1" y="20"/>
                    <a:pt x="3" y="20"/>
                    <a:pt x="5" y="20"/>
                  </a:cubicBezTo>
                  <a:cubicBezTo>
                    <a:pt x="6" y="16"/>
                    <a:pt x="8" y="13"/>
                    <a:pt x="10" y="11"/>
                  </a:cubicBezTo>
                  <a:cubicBezTo>
                    <a:pt x="15" y="6"/>
                    <a:pt x="20" y="4"/>
                    <a:pt x="27" y="4"/>
                  </a:cubicBezTo>
                  <a:cubicBezTo>
                    <a:pt x="73" y="4"/>
                    <a:pt x="73" y="4"/>
                    <a:pt x="73" y="4"/>
                  </a:cubicBezTo>
                  <a:cubicBezTo>
                    <a:pt x="73" y="0"/>
                    <a:pt x="73" y="0"/>
                    <a:pt x="73"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07" name="Freeform 185"/>
            <p:cNvSpPr/>
            <p:nvPr userDrawn="1"/>
          </p:nvSpPr>
          <p:spPr bwMode="auto">
            <a:xfrm>
              <a:off x="5249378" y="4226762"/>
              <a:ext cx="342226" cy="274113"/>
            </a:xfrm>
            <a:custGeom>
              <a:avLst/>
              <a:gdLst>
                <a:gd name="T0" fmla="*/ 79 w 132"/>
                <a:gd name="T1" fmla="*/ 0 h 106"/>
                <a:gd name="T2" fmla="*/ 74 w 132"/>
                <a:gd name="T3" fmla="*/ 1 h 106"/>
                <a:gd name="T4" fmla="*/ 127 w 132"/>
                <a:gd name="T5" fmla="*/ 102 h 106"/>
                <a:gd name="T6" fmla="*/ 6 w 132"/>
                <a:gd name="T7" fmla="*/ 102 h 106"/>
                <a:gd name="T8" fmla="*/ 57 w 132"/>
                <a:gd name="T9" fmla="*/ 3 h 106"/>
                <a:gd name="T10" fmla="*/ 52 w 132"/>
                <a:gd name="T11" fmla="*/ 4 h 106"/>
                <a:gd name="T12" fmla="*/ 1 w 132"/>
                <a:gd name="T13" fmla="*/ 103 h 106"/>
                <a:gd name="T14" fmla="*/ 1 w 132"/>
                <a:gd name="T15" fmla="*/ 105 h 106"/>
                <a:gd name="T16" fmla="*/ 2 w 132"/>
                <a:gd name="T17" fmla="*/ 106 h 106"/>
                <a:gd name="T18" fmla="*/ 130 w 132"/>
                <a:gd name="T19" fmla="*/ 106 h 106"/>
                <a:gd name="T20" fmla="*/ 132 w 132"/>
                <a:gd name="T21" fmla="*/ 105 h 106"/>
                <a:gd name="T22" fmla="*/ 132 w 132"/>
                <a:gd name="T23" fmla="*/ 103 h 106"/>
                <a:gd name="T24" fmla="*/ 79 w 132"/>
                <a:gd name="T2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06">
                  <a:moveTo>
                    <a:pt x="79" y="0"/>
                  </a:moveTo>
                  <a:cubicBezTo>
                    <a:pt x="77" y="0"/>
                    <a:pt x="76" y="0"/>
                    <a:pt x="74" y="1"/>
                  </a:cubicBezTo>
                  <a:cubicBezTo>
                    <a:pt x="127" y="102"/>
                    <a:pt x="127" y="102"/>
                    <a:pt x="127" y="102"/>
                  </a:cubicBezTo>
                  <a:cubicBezTo>
                    <a:pt x="6" y="102"/>
                    <a:pt x="6" y="102"/>
                    <a:pt x="6" y="102"/>
                  </a:cubicBezTo>
                  <a:cubicBezTo>
                    <a:pt x="57" y="3"/>
                    <a:pt x="57" y="3"/>
                    <a:pt x="57" y="3"/>
                  </a:cubicBezTo>
                  <a:cubicBezTo>
                    <a:pt x="55" y="4"/>
                    <a:pt x="54" y="4"/>
                    <a:pt x="52" y="4"/>
                  </a:cubicBezTo>
                  <a:cubicBezTo>
                    <a:pt x="1" y="103"/>
                    <a:pt x="1" y="103"/>
                    <a:pt x="1" y="103"/>
                  </a:cubicBezTo>
                  <a:cubicBezTo>
                    <a:pt x="0" y="104"/>
                    <a:pt x="0" y="105"/>
                    <a:pt x="1" y="105"/>
                  </a:cubicBezTo>
                  <a:cubicBezTo>
                    <a:pt x="1" y="106"/>
                    <a:pt x="2" y="106"/>
                    <a:pt x="2" y="106"/>
                  </a:cubicBezTo>
                  <a:cubicBezTo>
                    <a:pt x="130" y="106"/>
                    <a:pt x="130" y="106"/>
                    <a:pt x="130" y="106"/>
                  </a:cubicBezTo>
                  <a:cubicBezTo>
                    <a:pt x="131" y="106"/>
                    <a:pt x="132" y="106"/>
                    <a:pt x="132" y="105"/>
                  </a:cubicBezTo>
                  <a:cubicBezTo>
                    <a:pt x="132" y="105"/>
                    <a:pt x="132" y="104"/>
                    <a:pt x="132" y="103"/>
                  </a:cubicBezTo>
                  <a:cubicBezTo>
                    <a:pt x="79" y="0"/>
                    <a:pt x="79" y="0"/>
                    <a:pt x="79"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18" name="Rectangle 196"/>
            <p:cNvSpPr>
              <a:spLocks noChangeArrowheads="1"/>
            </p:cNvSpPr>
            <p:nvPr userDrawn="1"/>
          </p:nvSpPr>
          <p:spPr bwMode="auto">
            <a:xfrm>
              <a:off x="2489975" y="2151811"/>
              <a:ext cx="2834161" cy="25201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217" name="Freeform 195"/>
            <p:cNvSpPr/>
            <p:nvPr userDrawn="1"/>
          </p:nvSpPr>
          <p:spPr bwMode="auto">
            <a:xfrm>
              <a:off x="5262669" y="4014116"/>
              <a:ext cx="304017" cy="232581"/>
            </a:xfrm>
            <a:custGeom>
              <a:avLst/>
              <a:gdLst>
                <a:gd name="T0" fmla="*/ 24 w 117"/>
                <a:gd name="T1" fmla="*/ 0 h 90"/>
                <a:gd name="T2" fmla="*/ 0 w 117"/>
                <a:gd name="T3" fmla="*/ 4 h 90"/>
                <a:gd name="T4" fmla="*/ 0 w 117"/>
                <a:gd name="T5" fmla="*/ 5 h 90"/>
                <a:gd name="T6" fmla="*/ 5 w 117"/>
                <a:gd name="T7" fmla="*/ 43 h 90"/>
                <a:gd name="T8" fmla="*/ 11 w 117"/>
                <a:gd name="T9" fmla="*/ 90 h 90"/>
                <a:gd name="T10" fmla="*/ 47 w 117"/>
                <a:gd name="T11" fmla="*/ 86 h 90"/>
                <a:gd name="T12" fmla="*/ 52 w 117"/>
                <a:gd name="T13" fmla="*/ 85 h 90"/>
                <a:gd name="T14" fmla="*/ 69 w 117"/>
                <a:gd name="T15" fmla="*/ 83 h 90"/>
                <a:gd name="T16" fmla="*/ 74 w 117"/>
                <a:gd name="T17" fmla="*/ 82 h 90"/>
                <a:gd name="T18" fmla="*/ 117 w 117"/>
                <a:gd name="T19" fmla="*/ 73 h 90"/>
                <a:gd name="T20" fmla="*/ 24 w 117"/>
                <a:gd name="T21" fmla="*/ 18 h 90"/>
                <a:gd name="T22" fmla="*/ 24 w 117"/>
                <a:gd name="T2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90">
                  <a:moveTo>
                    <a:pt x="24" y="0"/>
                  </a:moveTo>
                  <a:cubicBezTo>
                    <a:pt x="16" y="2"/>
                    <a:pt x="8" y="3"/>
                    <a:pt x="0" y="4"/>
                  </a:cubicBezTo>
                  <a:cubicBezTo>
                    <a:pt x="0" y="5"/>
                    <a:pt x="0" y="5"/>
                    <a:pt x="0" y="5"/>
                  </a:cubicBezTo>
                  <a:cubicBezTo>
                    <a:pt x="5" y="43"/>
                    <a:pt x="5" y="43"/>
                    <a:pt x="5" y="43"/>
                  </a:cubicBezTo>
                  <a:cubicBezTo>
                    <a:pt x="11" y="90"/>
                    <a:pt x="11" y="90"/>
                    <a:pt x="11" y="90"/>
                  </a:cubicBezTo>
                  <a:cubicBezTo>
                    <a:pt x="11" y="90"/>
                    <a:pt x="25" y="89"/>
                    <a:pt x="47" y="86"/>
                  </a:cubicBezTo>
                  <a:cubicBezTo>
                    <a:pt x="49" y="86"/>
                    <a:pt x="50" y="86"/>
                    <a:pt x="52" y="85"/>
                  </a:cubicBezTo>
                  <a:cubicBezTo>
                    <a:pt x="57" y="85"/>
                    <a:pt x="63" y="84"/>
                    <a:pt x="69" y="83"/>
                  </a:cubicBezTo>
                  <a:cubicBezTo>
                    <a:pt x="71" y="82"/>
                    <a:pt x="72" y="82"/>
                    <a:pt x="74" y="82"/>
                  </a:cubicBezTo>
                  <a:cubicBezTo>
                    <a:pt x="87" y="80"/>
                    <a:pt x="102" y="77"/>
                    <a:pt x="117" y="73"/>
                  </a:cubicBezTo>
                  <a:cubicBezTo>
                    <a:pt x="93" y="46"/>
                    <a:pt x="61" y="27"/>
                    <a:pt x="24" y="18"/>
                  </a:cubicBezTo>
                  <a:cubicBezTo>
                    <a:pt x="24" y="0"/>
                    <a:pt x="24" y="0"/>
                    <a:pt x="24" y="0"/>
                  </a:cubicBezTo>
                </a:path>
              </a:pathLst>
            </a:custGeom>
            <a:solidFill>
              <a:srgbClr val="BE46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20" name="Freeform 198"/>
            <p:cNvSpPr/>
            <p:nvPr userDrawn="1"/>
          </p:nvSpPr>
          <p:spPr bwMode="auto">
            <a:xfrm>
              <a:off x="2619555" y="2281391"/>
              <a:ext cx="2575000" cy="2261016"/>
            </a:xfrm>
            <a:custGeom>
              <a:avLst/>
              <a:gdLst>
                <a:gd name="T0" fmla="*/ 2 w 992"/>
                <a:gd name="T1" fmla="*/ 872 h 872"/>
                <a:gd name="T2" fmla="*/ 0 w 992"/>
                <a:gd name="T3" fmla="*/ 870 h 872"/>
                <a:gd name="T4" fmla="*/ 0 w 992"/>
                <a:gd name="T5" fmla="*/ 2 h 872"/>
                <a:gd name="T6" fmla="*/ 2 w 992"/>
                <a:gd name="T7" fmla="*/ 0 h 872"/>
                <a:gd name="T8" fmla="*/ 990 w 992"/>
                <a:gd name="T9" fmla="*/ 0 h 872"/>
                <a:gd name="T10" fmla="*/ 992 w 992"/>
                <a:gd name="T11" fmla="*/ 2 h 872"/>
                <a:gd name="T12" fmla="*/ 992 w 992"/>
                <a:gd name="T13" fmla="*/ 870 h 872"/>
                <a:gd name="T14" fmla="*/ 990 w 992"/>
                <a:gd name="T15" fmla="*/ 872 h 872"/>
                <a:gd name="T16" fmla="*/ 2 w 992"/>
                <a:gd name="T17" fmla="*/ 87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2" h="872">
                  <a:moveTo>
                    <a:pt x="2" y="872"/>
                  </a:moveTo>
                  <a:cubicBezTo>
                    <a:pt x="1" y="872"/>
                    <a:pt x="0" y="871"/>
                    <a:pt x="0" y="870"/>
                  </a:cubicBezTo>
                  <a:cubicBezTo>
                    <a:pt x="0" y="2"/>
                    <a:pt x="0" y="2"/>
                    <a:pt x="0" y="2"/>
                  </a:cubicBezTo>
                  <a:cubicBezTo>
                    <a:pt x="0" y="1"/>
                    <a:pt x="1" y="0"/>
                    <a:pt x="2" y="0"/>
                  </a:cubicBezTo>
                  <a:cubicBezTo>
                    <a:pt x="990" y="0"/>
                    <a:pt x="990" y="0"/>
                    <a:pt x="990" y="0"/>
                  </a:cubicBezTo>
                  <a:cubicBezTo>
                    <a:pt x="991" y="0"/>
                    <a:pt x="992" y="1"/>
                    <a:pt x="992" y="2"/>
                  </a:cubicBezTo>
                  <a:cubicBezTo>
                    <a:pt x="992" y="870"/>
                    <a:pt x="992" y="870"/>
                    <a:pt x="992" y="870"/>
                  </a:cubicBezTo>
                  <a:cubicBezTo>
                    <a:pt x="992" y="871"/>
                    <a:pt x="991" y="872"/>
                    <a:pt x="990" y="872"/>
                  </a:cubicBezTo>
                  <a:lnTo>
                    <a:pt x="2" y="872"/>
                  </a:lnTo>
                  <a:close/>
                </a:path>
              </a:pathLst>
            </a:custGeom>
            <a:solidFill>
              <a:srgbClr val="97D3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94" name="Freeform 72"/>
            <p:cNvSpPr/>
            <p:nvPr userDrawn="1"/>
          </p:nvSpPr>
          <p:spPr bwMode="auto">
            <a:xfrm>
              <a:off x="5033410" y="1947472"/>
              <a:ext cx="59806" cy="59806"/>
            </a:xfrm>
            <a:custGeom>
              <a:avLst/>
              <a:gdLst>
                <a:gd name="T0" fmla="*/ 21 w 23"/>
                <a:gd name="T1" fmla="*/ 12 h 23"/>
                <a:gd name="T2" fmla="*/ 19 w 23"/>
                <a:gd name="T3" fmla="*/ 12 h 23"/>
                <a:gd name="T4" fmla="*/ 11 w 23"/>
                <a:gd name="T5" fmla="*/ 19 h 23"/>
                <a:gd name="T6" fmla="*/ 4 w 23"/>
                <a:gd name="T7" fmla="*/ 12 h 23"/>
                <a:gd name="T8" fmla="*/ 11 w 23"/>
                <a:gd name="T9" fmla="*/ 4 h 23"/>
                <a:gd name="T10" fmla="*/ 19 w 23"/>
                <a:gd name="T11" fmla="*/ 12 h 23"/>
                <a:gd name="T12" fmla="*/ 21 w 23"/>
                <a:gd name="T13" fmla="*/ 12 h 23"/>
                <a:gd name="T14" fmla="*/ 23 w 23"/>
                <a:gd name="T15" fmla="*/ 12 h 23"/>
                <a:gd name="T16" fmla="*/ 11 w 23"/>
                <a:gd name="T17" fmla="*/ 0 h 23"/>
                <a:gd name="T18" fmla="*/ 0 w 23"/>
                <a:gd name="T19" fmla="*/ 12 h 23"/>
                <a:gd name="T20" fmla="*/ 11 w 23"/>
                <a:gd name="T21" fmla="*/ 23 h 23"/>
                <a:gd name="T22" fmla="*/ 23 w 23"/>
                <a:gd name="T23" fmla="*/ 12 h 23"/>
                <a:gd name="T24" fmla="*/ 21 w 23"/>
                <a:gd name="T2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21" y="12"/>
                  </a:moveTo>
                  <a:cubicBezTo>
                    <a:pt x="19" y="12"/>
                    <a:pt x="19" y="12"/>
                    <a:pt x="19" y="12"/>
                  </a:cubicBezTo>
                  <a:cubicBezTo>
                    <a:pt x="19" y="16"/>
                    <a:pt x="16" y="19"/>
                    <a:pt x="11" y="19"/>
                  </a:cubicBezTo>
                  <a:cubicBezTo>
                    <a:pt x="7" y="19"/>
                    <a:pt x="4" y="16"/>
                    <a:pt x="4" y="12"/>
                  </a:cubicBezTo>
                  <a:cubicBezTo>
                    <a:pt x="4" y="8"/>
                    <a:pt x="7" y="4"/>
                    <a:pt x="11" y="4"/>
                  </a:cubicBezTo>
                  <a:cubicBezTo>
                    <a:pt x="16" y="4"/>
                    <a:pt x="19" y="8"/>
                    <a:pt x="19" y="12"/>
                  </a:cubicBezTo>
                  <a:cubicBezTo>
                    <a:pt x="21" y="12"/>
                    <a:pt x="21" y="12"/>
                    <a:pt x="21" y="12"/>
                  </a:cubicBezTo>
                  <a:cubicBezTo>
                    <a:pt x="23" y="12"/>
                    <a:pt x="23" y="12"/>
                    <a:pt x="23" y="12"/>
                  </a:cubicBezTo>
                  <a:cubicBezTo>
                    <a:pt x="23" y="5"/>
                    <a:pt x="18" y="0"/>
                    <a:pt x="11" y="0"/>
                  </a:cubicBezTo>
                  <a:cubicBezTo>
                    <a:pt x="5" y="0"/>
                    <a:pt x="0" y="5"/>
                    <a:pt x="0" y="12"/>
                  </a:cubicBezTo>
                  <a:cubicBezTo>
                    <a:pt x="0" y="18"/>
                    <a:pt x="5" y="23"/>
                    <a:pt x="11" y="23"/>
                  </a:cubicBezTo>
                  <a:cubicBezTo>
                    <a:pt x="18" y="23"/>
                    <a:pt x="23" y="18"/>
                    <a:pt x="23" y="12"/>
                  </a:cubicBezTo>
                  <a:lnTo>
                    <a:pt x="21" y="12"/>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2" name="Freeform 150"/>
            <p:cNvSpPr/>
            <p:nvPr userDrawn="1"/>
          </p:nvSpPr>
          <p:spPr bwMode="auto">
            <a:xfrm>
              <a:off x="5096540" y="4027407"/>
              <a:ext cx="189387" cy="98017"/>
            </a:xfrm>
            <a:custGeom>
              <a:avLst/>
              <a:gdLst>
                <a:gd name="T0" fmla="*/ 69 w 73"/>
                <a:gd name="T1" fmla="*/ 0 h 38"/>
                <a:gd name="T2" fmla="*/ 42 w 73"/>
                <a:gd name="T3" fmla="*/ 0 h 38"/>
                <a:gd name="T4" fmla="*/ 14 w 73"/>
                <a:gd name="T5" fmla="*/ 1 h 38"/>
                <a:gd name="T6" fmla="*/ 26 w 73"/>
                <a:gd name="T7" fmla="*/ 7 h 38"/>
                <a:gd name="T8" fmla="*/ 2 w 73"/>
                <a:gd name="T9" fmla="*/ 11 h 38"/>
                <a:gd name="T10" fmla="*/ 24 w 73"/>
                <a:gd name="T11" fmla="*/ 14 h 38"/>
                <a:gd name="T12" fmla="*/ 0 w 73"/>
                <a:gd name="T13" fmla="*/ 20 h 38"/>
                <a:gd name="T14" fmla="*/ 26 w 73"/>
                <a:gd name="T15" fmla="*/ 22 h 38"/>
                <a:gd name="T16" fmla="*/ 6 w 73"/>
                <a:gd name="T17" fmla="*/ 27 h 38"/>
                <a:gd name="T18" fmla="*/ 29 w 73"/>
                <a:gd name="T19" fmla="*/ 30 h 38"/>
                <a:gd name="T20" fmla="*/ 12 w 73"/>
                <a:gd name="T21" fmla="*/ 34 h 38"/>
                <a:gd name="T22" fmla="*/ 73 w 73"/>
                <a:gd name="T23" fmla="*/ 38 h 38"/>
                <a:gd name="T24" fmla="*/ 69 w 73"/>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38">
                  <a:moveTo>
                    <a:pt x="69" y="0"/>
                  </a:moveTo>
                  <a:cubicBezTo>
                    <a:pt x="63" y="0"/>
                    <a:pt x="52" y="0"/>
                    <a:pt x="42" y="0"/>
                  </a:cubicBezTo>
                  <a:cubicBezTo>
                    <a:pt x="28" y="0"/>
                    <a:pt x="15" y="0"/>
                    <a:pt x="14" y="1"/>
                  </a:cubicBezTo>
                  <a:cubicBezTo>
                    <a:pt x="13" y="4"/>
                    <a:pt x="27" y="5"/>
                    <a:pt x="26" y="7"/>
                  </a:cubicBezTo>
                  <a:cubicBezTo>
                    <a:pt x="25" y="9"/>
                    <a:pt x="3" y="8"/>
                    <a:pt x="2" y="11"/>
                  </a:cubicBezTo>
                  <a:cubicBezTo>
                    <a:pt x="2" y="15"/>
                    <a:pt x="24" y="14"/>
                    <a:pt x="24" y="14"/>
                  </a:cubicBezTo>
                  <a:cubicBezTo>
                    <a:pt x="24" y="14"/>
                    <a:pt x="0" y="16"/>
                    <a:pt x="0" y="20"/>
                  </a:cubicBezTo>
                  <a:cubicBezTo>
                    <a:pt x="1" y="22"/>
                    <a:pt x="19" y="22"/>
                    <a:pt x="26" y="22"/>
                  </a:cubicBezTo>
                  <a:cubicBezTo>
                    <a:pt x="19" y="23"/>
                    <a:pt x="6" y="25"/>
                    <a:pt x="6" y="27"/>
                  </a:cubicBezTo>
                  <a:cubicBezTo>
                    <a:pt x="7" y="30"/>
                    <a:pt x="19" y="30"/>
                    <a:pt x="29" y="30"/>
                  </a:cubicBezTo>
                  <a:cubicBezTo>
                    <a:pt x="23" y="30"/>
                    <a:pt x="12" y="31"/>
                    <a:pt x="12" y="34"/>
                  </a:cubicBezTo>
                  <a:cubicBezTo>
                    <a:pt x="12" y="36"/>
                    <a:pt x="43" y="38"/>
                    <a:pt x="73" y="38"/>
                  </a:cubicBezTo>
                  <a:cubicBezTo>
                    <a:pt x="69" y="0"/>
                    <a:pt x="69" y="0"/>
                    <a:pt x="69" y="0"/>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75" name="Freeform 153"/>
            <p:cNvSpPr>
              <a:spLocks noEditPoints="1"/>
            </p:cNvSpPr>
            <p:nvPr userDrawn="1"/>
          </p:nvSpPr>
          <p:spPr bwMode="auto">
            <a:xfrm>
              <a:off x="2863766" y="2239859"/>
              <a:ext cx="21597" cy="46516"/>
            </a:xfrm>
            <a:custGeom>
              <a:avLst/>
              <a:gdLst>
                <a:gd name="T0" fmla="*/ 2 w 8"/>
                <a:gd name="T1" fmla="*/ 10 h 18"/>
                <a:gd name="T2" fmla="*/ 0 w 8"/>
                <a:gd name="T3" fmla="*/ 18 h 18"/>
                <a:gd name="T4" fmla="*/ 4 w 8"/>
                <a:gd name="T5" fmla="*/ 18 h 18"/>
                <a:gd name="T6" fmla="*/ 5 w 8"/>
                <a:gd name="T7" fmla="*/ 11 h 18"/>
                <a:gd name="T8" fmla="*/ 2 w 8"/>
                <a:gd name="T9" fmla="*/ 10 h 18"/>
                <a:gd name="T10" fmla="*/ 8 w 8"/>
                <a:gd name="T11" fmla="*/ 0 h 18"/>
                <a:gd name="T12" fmla="*/ 4 w 8"/>
                <a:gd name="T13" fmla="*/ 0 h 18"/>
                <a:gd name="T14" fmla="*/ 3 w 8"/>
                <a:gd name="T15" fmla="*/ 2 h 18"/>
                <a:gd name="T16" fmla="*/ 7 w 8"/>
                <a:gd name="T17" fmla="*/ 3 h 18"/>
                <a:gd name="T18" fmla="*/ 8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2" y="10"/>
                  </a:moveTo>
                  <a:cubicBezTo>
                    <a:pt x="1" y="13"/>
                    <a:pt x="1" y="16"/>
                    <a:pt x="0" y="18"/>
                  </a:cubicBezTo>
                  <a:cubicBezTo>
                    <a:pt x="4" y="18"/>
                    <a:pt x="4" y="18"/>
                    <a:pt x="4" y="18"/>
                  </a:cubicBezTo>
                  <a:cubicBezTo>
                    <a:pt x="5" y="16"/>
                    <a:pt x="5" y="14"/>
                    <a:pt x="5" y="11"/>
                  </a:cubicBezTo>
                  <a:cubicBezTo>
                    <a:pt x="2" y="10"/>
                    <a:pt x="2" y="10"/>
                    <a:pt x="2" y="10"/>
                  </a:cubicBezTo>
                  <a:moveTo>
                    <a:pt x="8" y="0"/>
                  </a:moveTo>
                  <a:cubicBezTo>
                    <a:pt x="4" y="0"/>
                    <a:pt x="4" y="0"/>
                    <a:pt x="4" y="0"/>
                  </a:cubicBezTo>
                  <a:cubicBezTo>
                    <a:pt x="4" y="1"/>
                    <a:pt x="3" y="2"/>
                    <a:pt x="3" y="2"/>
                  </a:cubicBezTo>
                  <a:cubicBezTo>
                    <a:pt x="7" y="3"/>
                    <a:pt x="7" y="3"/>
                    <a:pt x="7" y="3"/>
                  </a:cubicBezTo>
                  <a:cubicBezTo>
                    <a:pt x="7" y="2"/>
                    <a:pt x="8" y="1"/>
                    <a:pt x="8" y="0"/>
                  </a:cubicBezTo>
                </a:path>
              </a:pathLst>
            </a:custGeom>
            <a:solidFill>
              <a:srgbClr val="88B0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85" name="Freeform 163"/>
            <p:cNvSpPr>
              <a:spLocks noEditPoints="1"/>
            </p:cNvSpPr>
            <p:nvPr userDrawn="1"/>
          </p:nvSpPr>
          <p:spPr bwMode="auto">
            <a:xfrm>
              <a:off x="3033217" y="3088778"/>
              <a:ext cx="697742" cy="694419"/>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4"/>
                    <a:pt x="4" y="248"/>
                    <a:pt x="4" y="241"/>
                  </a:cubicBezTo>
                  <a:cubicBezTo>
                    <a:pt x="4" y="27"/>
                    <a:pt x="4" y="27"/>
                    <a:pt x="4" y="27"/>
                  </a:cubicBezTo>
                  <a:cubicBezTo>
                    <a:pt x="4" y="21"/>
                    <a:pt x="7" y="15"/>
                    <a:pt x="11" y="11"/>
                  </a:cubicBezTo>
                  <a:cubicBezTo>
                    <a:pt x="15" y="7"/>
                    <a:pt x="21" y="4"/>
                    <a:pt x="27" y="4"/>
                  </a:cubicBezTo>
                  <a:cubicBezTo>
                    <a:pt x="242" y="4"/>
                    <a:pt x="242" y="4"/>
                    <a:pt x="242" y="4"/>
                  </a:cubicBezTo>
                  <a:cubicBezTo>
                    <a:pt x="248" y="4"/>
                    <a:pt x="254" y="7"/>
                    <a:pt x="258" y="11"/>
                  </a:cubicBezTo>
                  <a:cubicBezTo>
                    <a:pt x="262" y="15"/>
                    <a:pt x="265" y="21"/>
                    <a:pt x="265" y="27"/>
                  </a:cubicBezTo>
                  <a:cubicBezTo>
                    <a:pt x="265" y="241"/>
                    <a:pt x="265" y="241"/>
                    <a:pt x="265" y="241"/>
                  </a:cubicBezTo>
                  <a:cubicBezTo>
                    <a:pt x="265" y="248"/>
                    <a:pt x="262" y="254"/>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3" y="0"/>
                    <a:pt x="0" y="12"/>
                    <a:pt x="0" y="27"/>
                  </a:cubicBezTo>
                  <a:cubicBezTo>
                    <a:pt x="0" y="241"/>
                    <a:pt x="0" y="241"/>
                    <a:pt x="0" y="241"/>
                  </a:cubicBezTo>
                  <a:cubicBezTo>
                    <a:pt x="0" y="256"/>
                    <a:pt x="13" y="268"/>
                    <a:pt x="27" y="268"/>
                  </a:cubicBezTo>
                  <a:cubicBezTo>
                    <a:pt x="242" y="268"/>
                    <a:pt x="242" y="268"/>
                    <a:pt x="242" y="268"/>
                  </a:cubicBezTo>
                  <a:cubicBezTo>
                    <a:pt x="257" y="268"/>
                    <a:pt x="269" y="256"/>
                    <a:pt x="269" y="241"/>
                  </a:cubicBezTo>
                  <a:cubicBezTo>
                    <a:pt x="269" y="27"/>
                    <a:pt x="269" y="27"/>
                    <a:pt x="269" y="27"/>
                  </a:cubicBezTo>
                  <a:cubicBezTo>
                    <a:pt x="269" y="12"/>
                    <a:pt x="257"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86" name="Freeform 164"/>
            <p:cNvSpPr>
              <a:spLocks noEditPoints="1"/>
            </p:cNvSpPr>
            <p:nvPr userDrawn="1"/>
          </p:nvSpPr>
          <p:spPr bwMode="auto">
            <a:xfrm>
              <a:off x="3149507" y="3284811"/>
              <a:ext cx="342226" cy="330597"/>
            </a:xfrm>
            <a:custGeom>
              <a:avLst/>
              <a:gdLst>
                <a:gd name="T0" fmla="*/ 6 w 132"/>
                <a:gd name="T1" fmla="*/ 123 h 127"/>
                <a:gd name="T2" fmla="*/ 66 w 132"/>
                <a:gd name="T3" fmla="*/ 6 h 127"/>
                <a:gd name="T4" fmla="*/ 127 w 132"/>
                <a:gd name="T5" fmla="*/ 123 h 127"/>
                <a:gd name="T6" fmla="*/ 6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1 w 132"/>
                <a:gd name="T23" fmla="*/ 126 h 127"/>
                <a:gd name="T24" fmla="*/ 2 w 132"/>
                <a:gd name="T25" fmla="*/ 127 h 127"/>
                <a:gd name="T26" fmla="*/ 130 w 132"/>
                <a:gd name="T27" fmla="*/ 127 h 127"/>
                <a:gd name="T28" fmla="*/ 132 w 132"/>
                <a:gd name="T29" fmla="*/ 126 h 127"/>
                <a:gd name="T30" fmla="*/ 132 w 132"/>
                <a:gd name="T31" fmla="*/ 124 h 127"/>
                <a:gd name="T32" fmla="*/ 68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6" y="123"/>
                  </a:moveTo>
                  <a:cubicBezTo>
                    <a:pt x="66" y="6"/>
                    <a:pt x="66" y="6"/>
                    <a:pt x="66" y="6"/>
                  </a:cubicBezTo>
                  <a:cubicBezTo>
                    <a:pt x="127" y="123"/>
                    <a:pt x="127" y="123"/>
                    <a:pt x="127" y="123"/>
                  </a:cubicBezTo>
                  <a:cubicBezTo>
                    <a:pt x="6" y="123"/>
                    <a:pt x="6" y="123"/>
                    <a:pt x="6" y="123"/>
                  </a:cubicBezTo>
                  <a:moveTo>
                    <a:pt x="64" y="3"/>
                  </a:moveTo>
                  <a:cubicBezTo>
                    <a:pt x="66" y="2"/>
                    <a:pt x="66" y="2"/>
                    <a:pt x="66" y="2"/>
                  </a:cubicBezTo>
                  <a:cubicBezTo>
                    <a:pt x="64" y="3"/>
                    <a:pt x="64" y="3"/>
                    <a:pt x="64" y="3"/>
                  </a:cubicBezTo>
                  <a:moveTo>
                    <a:pt x="66" y="0"/>
                  </a:moveTo>
                  <a:cubicBezTo>
                    <a:pt x="65" y="0"/>
                    <a:pt x="65" y="0"/>
                    <a:pt x="64" y="1"/>
                  </a:cubicBezTo>
                  <a:cubicBezTo>
                    <a:pt x="64" y="1"/>
                    <a:pt x="64" y="1"/>
                    <a:pt x="64" y="1"/>
                  </a:cubicBezTo>
                  <a:cubicBezTo>
                    <a:pt x="0" y="124"/>
                    <a:pt x="0" y="124"/>
                    <a:pt x="0" y="124"/>
                  </a:cubicBezTo>
                  <a:cubicBezTo>
                    <a:pt x="0" y="125"/>
                    <a:pt x="0" y="126"/>
                    <a:pt x="1" y="126"/>
                  </a:cubicBezTo>
                  <a:cubicBezTo>
                    <a:pt x="1" y="127"/>
                    <a:pt x="2" y="127"/>
                    <a:pt x="2" y="127"/>
                  </a:cubicBezTo>
                  <a:cubicBezTo>
                    <a:pt x="130" y="127"/>
                    <a:pt x="130" y="127"/>
                    <a:pt x="130" y="127"/>
                  </a:cubicBezTo>
                  <a:cubicBezTo>
                    <a:pt x="131" y="127"/>
                    <a:pt x="131" y="127"/>
                    <a:pt x="132" y="126"/>
                  </a:cubicBezTo>
                  <a:cubicBezTo>
                    <a:pt x="132" y="126"/>
                    <a:pt x="132" y="125"/>
                    <a:pt x="132" y="124"/>
                  </a:cubicBezTo>
                  <a:cubicBezTo>
                    <a:pt x="68" y="1"/>
                    <a:pt x="68" y="1"/>
                    <a:pt x="68" y="1"/>
                  </a:cubicBezTo>
                  <a:cubicBezTo>
                    <a:pt x="68" y="0"/>
                    <a:pt x="67"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87" name="Freeform 165"/>
            <p:cNvSpPr>
              <a:spLocks noEditPoints="1"/>
            </p:cNvSpPr>
            <p:nvPr userDrawn="1"/>
          </p:nvSpPr>
          <p:spPr bwMode="auto">
            <a:xfrm>
              <a:off x="3453523" y="3389471"/>
              <a:ext cx="161146" cy="225935"/>
            </a:xfrm>
            <a:custGeom>
              <a:avLst/>
              <a:gdLst>
                <a:gd name="T0" fmla="*/ 31 w 62"/>
                <a:gd name="T1" fmla="*/ 83 h 87"/>
                <a:gd name="T2" fmla="*/ 4 w 62"/>
                <a:gd name="T3" fmla="*/ 32 h 87"/>
                <a:gd name="T4" fmla="*/ 17 w 62"/>
                <a:gd name="T5" fmla="*/ 7 h 87"/>
                <a:gd name="T6" fmla="*/ 57 w 62"/>
                <a:gd name="T7" fmla="*/ 83 h 87"/>
                <a:gd name="T8" fmla="*/ 31 w 62"/>
                <a:gd name="T9" fmla="*/ 83 h 87"/>
                <a:gd name="T10" fmla="*/ 16 w 62"/>
                <a:gd name="T11" fmla="*/ 3 h 87"/>
                <a:gd name="T12" fmla="*/ 17 w 62"/>
                <a:gd name="T13" fmla="*/ 2 h 87"/>
                <a:gd name="T14" fmla="*/ 16 w 62"/>
                <a:gd name="T15" fmla="*/ 3 h 87"/>
                <a:gd name="T16" fmla="*/ 17 w 62"/>
                <a:gd name="T17" fmla="*/ 0 h 87"/>
                <a:gd name="T18" fmla="*/ 16 w 62"/>
                <a:gd name="T19" fmla="*/ 1 h 87"/>
                <a:gd name="T20" fmla="*/ 16 w 62"/>
                <a:gd name="T21" fmla="*/ 1 h 87"/>
                <a:gd name="T22" fmla="*/ 0 w 62"/>
                <a:gd name="T23" fmla="*/ 31 h 87"/>
                <a:gd name="T24" fmla="*/ 0 w 62"/>
                <a:gd name="T25" fmla="*/ 33 h 87"/>
                <a:gd name="T26" fmla="*/ 28 w 62"/>
                <a:gd name="T27" fmla="*/ 86 h 87"/>
                <a:gd name="T28" fmla="*/ 29 w 62"/>
                <a:gd name="T29" fmla="*/ 87 h 87"/>
                <a:gd name="T30" fmla="*/ 60 w 62"/>
                <a:gd name="T31" fmla="*/ 87 h 87"/>
                <a:gd name="T32" fmla="*/ 62 w 62"/>
                <a:gd name="T33" fmla="*/ 86 h 87"/>
                <a:gd name="T34" fmla="*/ 62 w 62"/>
                <a:gd name="T35" fmla="*/ 84 h 87"/>
                <a:gd name="T36" fmla="*/ 19 w 62"/>
                <a:gd name="T37" fmla="*/ 1 h 87"/>
                <a:gd name="T38" fmla="*/ 17 w 62"/>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87">
                  <a:moveTo>
                    <a:pt x="31" y="83"/>
                  </a:moveTo>
                  <a:cubicBezTo>
                    <a:pt x="4" y="32"/>
                    <a:pt x="4" y="32"/>
                    <a:pt x="4" y="32"/>
                  </a:cubicBezTo>
                  <a:cubicBezTo>
                    <a:pt x="17" y="7"/>
                    <a:pt x="17" y="7"/>
                    <a:pt x="17" y="7"/>
                  </a:cubicBezTo>
                  <a:cubicBezTo>
                    <a:pt x="57" y="83"/>
                    <a:pt x="57" y="83"/>
                    <a:pt x="57" y="83"/>
                  </a:cubicBezTo>
                  <a:cubicBezTo>
                    <a:pt x="31" y="83"/>
                    <a:pt x="31" y="83"/>
                    <a:pt x="31" y="83"/>
                  </a:cubicBezTo>
                  <a:moveTo>
                    <a:pt x="16" y="3"/>
                  </a:moveTo>
                  <a:cubicBezTo>
                    <a:pt x="17" y="2"/>
                    <a:pt x="17" y="2"/>
                    <a:pt x="17" y="2"/>
                  </a:cubicBezTo>
                  <a:cubicBezTo>
                    <a:pt x="16" y="3"/>
                    <a:pt x="16" y="3"/>
                    <a:pt x="16" y="3"/>
                  </a:cubicBezTo>
                  <a:moveTo>
                    <a:pt x="17" y="0"/>
                  </a:move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29" y="87"/>
                  </a:cubicBezTo>
                  <a:cubicBezTo>
                    <a:pt x="60" y="87"/>
                    <a:pt x="60" y="87"/>
                    <a:pt x="60" y="87"/>
                  </a:cubicBezTo>
                  <a:cubicBezTo>
                    <a:pt x="61" y="87"/>
                    <a:pt x="62" y="87"/>
                    <a:pt x="62" y="86"/>
                  </a:cubicBezTo>
                  <a:cubicBezTo>
                    <a:pt x="62" y="86"/>
                    <a:pt x="62" y="85"/>
                    <a:pt x="62" y="84"/>
                  </a:cubicBezTo>
                  <a:cubicBezTo>
                    <a:pt x="19" y="1"/>
                    <a:pt x="19" y="1"/>
                    <a:pt x="19" y="1"/>
                  </a:cubicBezTo>
                  <a:cubicBezTo>
                    <a:pt x="19" y="1"/>
                    <a:pt x="18" y="0"/>
                    <a:pt x="1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88" name="Freeform 166"/>
            <p:cNvSpPr>
              <a:spLocks noEditPoints="1"/>
            </p:cNvSpPr>
            <p:nvPr userDrawn="1"/>
          </p:nvSpPr>
          <p:spPr bwMode="auto">
            <a:xfrm>
              <a:off x="3513329" y="3296439"/>
              <a:ext cx="78081" cy="79742"/>
            </a:xfrm>
            <a:custGeom>
              <a:avLst/>
              <a:gdLst>
                <a:gd name="T0" fmla="*/ 30 w 30"/>
                <a:gd name="T1" fmla="*/ 15 h 31"/>
                <a:gd name="T2" fmla="*/ 30 w 30"/>
                <a:gd name="T3" fmla="*/ 15 h 31"/>
                <a:gd name="T4" fmla="*/ 30 w 30"/>
                <a:gd name="T5" fmla="*/ 15 h 31"/>
                <a:gd name="T6" fmla="*/ 15 w 30"/>
                <a:gd name="T7" fmla="*/ 0 h 31"/>
                <a:gd name="T8" fmla="*/ 0 w 30"/>
                <a:gd name="T9" fmla="*/ 15 h 31"/>
                <a:gd name="T10" fmla="*/ 15 w 30"/>
                <a:gd name="T11" fmla="*/ 31 h 31"/>
                <a:gd name="T12" fmla="*/ 30 w 30"/>
                <a:gd name="T13" fmla="*/ 15 h 31"/>
                <a:gd name="T14" fmla="*/ 28 w 30"/>
                <a:gd name="T15" fmla="*/ 15 h 31"/>
                <a:gd name="T16" fmla="*/ 26 w 30"/>
                <a:gd name="T17" fmla="*/ 15 h 31"/>
                <a:gd name="T18" fmla="*/ 15 w 30"/>
                <a:gd name="T19" fmla="*/ 27 h 31"/>
                <a:gd name="T20" fmla="*/ 4 w 30"/>
                <a:gd name="T21" fmla="*/ 15 h 31"/>
                <a:gd name="T22" fmla="*/ 15 w 30"/>
                <a:gd name="T23" fmla="*/ 4 h 31"/>
                <a:gd name="T24" fmla="*/ 26 w 30"/>
                <a:gd name="T25" fmla="*/ 15 h 31"/>
                <a:gd name="T26" fmla="*/ 28 w 30"/>
                <a:gd name="T27" fmla="*/ 15 h 31"/>
                <a:gd name="T28" fmla="*/ 30 w 30"/>
                <a:gd name="T29" fmla="*/ 15 h 31"/>
                <a:gd name="T30" fmla="*/ 30 w 30"/>
                <a:gd name="T31" fmla="*/ 15 h 31"/>
                <a:gd name="T32" fmla="*/ 15 w 30"/>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1">
                  <a:moveTo>
                    <a:pt x="30" y="15"/>
                  </a:moveTo>
                  <a:cubicBezTo>
                    <a:pt x="30" y="15"/>
                    <a:pt x="30" y="15"/>
                    <a:pt x="30" y="15"/>
                  </a:cubicBezTo>
                  <a:cubicBezTo>
                    <a:pt x="30" y="15"/>
                    <a:pt x="30" y="15"/>
                    <a:pt x="30" y="15"/>
                  </a:cubicBezTo>
                  <a:moveTo>
                    <a:pt x="15" y="0"/>
                  </a:moveTo>
                  <a:cubicBezTo>
                    <a:pt x="7" y="0"/>
                    <a:pt x="0" y="7"/>
                    <a:pt x="0" y="15"/>
                  </a:cubicBezTo>
                  <a:cubicBezTo>
                    <a:pt x="0" y="24"/>
                    <a:pt x="7" y="31"/>
                    <a:pt x="15" y="31"/>
                  </a:cubicBezTo>
                  <a:cubicBezTo>
                    <a:pt x="24" y="31"/>
                    <a:pt x="30" y="24"/>
                    <a:pt x="30" y="15"/>
                  </a:cubicBezTo>
                  <a:cubicBezTo>
                    <a:pt x="28" y="15"/>
                    <a:pt x="28" y="15"/>
                    <a:pt x="28" y="15"/>
                  </a:cubicBezTo>
                  <a:cubicBezTo>
                    <a:pt x="26" y="15"/>
                    <a:pt x="26" y="15"/>
                    <a:pt x="26" y="15"/>
                  </a:cubicBezTo>
                  <a:cubicBezTo>
                    <a:pt x="26" y="22"/>
                    <a:pt x="21" y="27"/>
                    <a:pt x="15" y="27"/>
                  </a:cubicBezTo>
                  <a:cubicBezTo>
                    <a:pt x="9" y="27"/>
                    <a:pt x="4" y="22"/>
                    <a:pt x="4" y="15"/>
                  </a:cubicBezTo>
                  <a:cubicBezTo>
                    <a:pt x="4" y="9"/>
                    <a:pt x="9" y="4"/>
                    <a:pt x="15" y="4"/>
                  </a:cubicBezTo>
                  <a:cubicBezTo>
                    <a:pt x="21" y="4"/>
                    <a:pt x="26" y="9"/>
                    <a:pt x="26" y="15"/>
                  </a:cubicBezTo>
                  <a:cubicBezTo>
                    <a:pt x="28" y="15"/>
                    <a:pt x="28" y="15"/>
                    <a:pt x="28" y="15"/>
                  </a:cubicBezTo>
                  <a:cubicBezTo>
                    <a:pt x="30" y="15"/>
                    <a:pt x="30" y="15"/>
                    <a:pt x="30" y="15"/>
                  </a:cubicBezTo>
                  <a:cubicBezTo>
                    <a:pt x="30" y="15"/>
                    <a:pt x="30" y="15"/>
                    <a:pt x="30" y="15"/>
                  </a:cubicBezTo>
                  <a:cubicBezTo>
                    <a:pt x="30" y="7"/>
                    <a:pt x="24" y="0"/>
                    <a:pt x="15"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89" name="Freeform 167"/>
            <p:cNvSpPr>
              <a:spLocks noEditPoints="1"/>
            </p:cNvSpPr>
            <p:nvPr userDrawn="1"/>
          </p:nvSpPr>
          <p:spPr bwMode="auto">
            <a:xfrm>
              <a:off x="4084813" y="3088778"/>
              <a:ext cx="697742" cy="694419"/>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4"/>
                    <a:pt x="4" y="248"/>
                    <a:pt x="4" y="241"/>
                  </a:cubicBezTo>
                  <a:cubicBezTo>
                    <a:pt x="4" y="27"/>
                    <a:pt x="4" y="27"/>
                    <a:pt x="4" y="27"/>
                  </a:cubicBezTo>
                  <a:cubicBezTo>
                    <a:pt x="4" y="21"/>
                    <a:pt x="7" y="15"/>
                    <a:pt x="11" y="11"/>
                  </a:cubicBezTo>
                  <a:cubicBezTo>
                    <a:pt x="15" y="7"/>
                    <a:pt x="21" y="4"/>
                    <a:pt x="27" y="4"/>
                  </a:cubicBezTo>
                  <a:cubicBezTo>
                    <a:pt x="242" y="4"/>
                    <a:pt x="242" y="4"/>
                    <a:pt x="242" y="4"/>
                  </a:cubicBezTo>
                  <a:cubicBezTo>
                    <a:pt x="248" y="4"/>
                    <a:pt x="254" y="7"/>
                    <a:pt x="258" y="11"/>
                  </a:cubicBezTo>
                  <a:cubicBezTo>
                    <a:pt x="262" y="15"/>
                    <a:pt x="265" y="21"/>
                    <a:pt x="265" y="27"/>
                  </a:cubicBezTo>
                  <a:cubicBezTo>
                    <a:pt x="265" y="241"/>
                    <a:pt x="265" y="241"/>
                    <a:pt x="265" y="241"/>
                  </a:cubicBezTo>
                  <a:cubicBezTo>
                    <a:pt x="265" y="248"/>
                    <a:pt x="262" y="254"/>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2" y="0"/>
                    <a:pt x="0" y="12"/>
                    <a:pt x="0" y="27"/>
                  </a:cubicBezTo>
                  <a:cubicBezTo>
                    <a:pt x="0" y="241"/>
                    <a:pt x="0" y="241"/>
                    <a:pt x="0" y="241"/>
                  </a:cubicBezTo>
                  <a:cubicBezTo>
                    <a:pt x="0" y="256"/>
                    <a:pt x="12" y="268"/>
                    <a:pt x="27" y="268"/>
                  </a:cubicBezTo>
                  <a:cubicBezTo>
                    <a:pt x="242" y="268"/>
                    <a:pt x="242" y="268"/>
                    <a:pt x="242" y="268"/>
                  </a:cubicBezTo>
                  <a:cubicBezTo>
                    <a:pt x="256" y="268"/>
                    <a:pt x="269" y="256"/>
                    <a:pt x="269" y="241"/>
                  </a:cubicBezTo>
                  <a:cubicBezTo>
                    <a:pt x="269" y="27"/>
                    <a:pt x="269" y="27"/>
                    <a:pt x="269" y="27"/>
                  </a:cubicBezTo>
                  <a:cubicBezTo>
                    <a:pt x="269" y="12"/>
                    <a:pt x="256"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16" name="Freeform 194"/>
            <p:cNvSpPr/>
            <p:nvPr userDrawn="1"/>
          </p:nvSpPr>
          <p:spPr bwMode="auto">
            <a:xfrm>
              <a:off x="5096540" y="4027407"/>
              <a:ext cx="179419" cy="98017"/>
            </a:xfrm>
            <a:custGeom>
              <a:avLst/>
              <a:gdLst>
                <a:gd name="T0" fmla="*/ 30 w 69"/>
                <a:gd name="T1" fmla="*/ 0 h 38"/>
                <a:gd name="T2" fmla="*/ 20 w 69"/>
                <a:gd name="T3" fmla="*/ 0 h 38"/>
                <a:gd name="T4" fmla="*/ 15 w 69"/>
                <a:gd name="T5" fmla="*/ 1 h 38"/>
                <a:gd name="T6" fmla="*/ 14 w 69"/>
                <a:gd name="T7" fmla="*/ 1 h 38"/>
                <a:gd name="T8" fmla="*/ 15 w 69"/>
                <a:gd name="T9" fmla="*/ 2 h 38"/>
                <a:gd name="T10" fmla="*/ 19 w 69"/>
                <a:gd name="T11" fmla="*/ 4 h 38"/>
                <a:gd name="T12" fmla="*/ 26 w 69"/>
                <a:gd name="T13" fmla="*/ 7 h 38"/>
                <a:gd name="T14" fmla="*/ 19 w 69"/>
                <a:gd name="T15" fmla="*/ 8 h 38"/>
                <a:gd name="T16" fmla="*/ 15 w 69"/>
                <a:gd name="T17" fmla="*/ 9 h 38"/>
                <a:gd name="T18" fmla="*/ 2 w 69"/>
                <a:gd name="T19" fmla="*/ 11 h 38"/>
                <a:gd name="T20" fmla="*/ 15 w 69"/>
                <a:gd name="T21" fmla="*/ 14 h 38"/>
                <a:gd name="T22" fmla="*/ 19 w 69"/>
                <a:gd name="T23" fmla="*/ 14 h 38"/>
                <a:gd name="T24" fmla="*/ 19 w 69"/>
                <a:gd name="T25" fmla="*/ 14 h 38"/>
                <a:gd name="T26" fmla="*/ 24 w 69"/>
                <a:gd name="T27" fmla="*/ 14 h 38"/>
                <a:gd name="T28" fmla="*/ 19 w 69"/>
                <a:gd name="T29" fmla="*/ 15 h 38"/>
                <a:gd name="T30" fmla="*/ 15 w 69"/>
                <a:gd name="T31" fmla="*/ 15 h 38"/>
                <a:gd name="T32" fmla="*/ 0 w 69"/>
                <a:gd name="T33" fmla="*/ 20 h 38"/>
                <a:gd name="T34" fmla="*/ 15 w 69"/>
                <a:gd name="T35" fmla="*/ 22 h 38"/>
                <a:gd name="T36" fmla="*/ 19 w 69"/>
                <a:gd name="T37" fmla="*/ 22 h 38"/>
                <a:gd name="T38" fmla="*/ 26 w 69"/>
                <a:gd name="T39" fmla="*/ 22 h 38"/>
                <a:gd name="T40" fmla="*/ 19 w 69"/>
                <a:gd name="T41" fmla="*/ 23 h 38"/>
                <a:gd name="T42" fmla="*/ 15 w 69"/>
                <a:gd name="T43" fmla="*/ 24 h 38"/>
                <a:gd name="T44" fmla="*/ 6 w 69"/>
                <a:gd name="T45" fmla="*/ 27 h 38"/>
                <a:gd name="T46" fmla="*/ 15 w 69"/>
                <a:gd name="T47" fmla="*/ 29 h 38"/>
                <a:gd name="T48" fmla="*/ 19 w 69"/>
                <a:gd name="T49" fmla="*/ 30 h 38"/>
                <a:gd name="T50" fmla="*/ 29 w 69"/>
                <a:gd name="T51" fmla="*/ 30 h 38"/>
                <a:gd name="T52" fmla="*/ 19 w 69"/>
                <a:gd name="T53" fmla="*/ 31 h 38"/>
                <a:gd name="T54" fmla="*/ 15 w 69"/>
                <a:gd name="T55" fmla="*/ 32 h 38"/>
                <a:gd name="T56" fmla="*/ 12 w 69"/>
                <a:gd name="T57" fmla="*/ 34 h 38"/>
                <a:gd name="T58" fmla="*/ 15 w 69"/>
                <a:gd name="T59" fmla="*/ 35 h 38"/>
                <a:gd name="T60" fmla="*/ 19 w 69"/>
                <a:gd name="T61" fmla="*/ 36 h 38"/>
                <a:gd name="T62" fmla="*/ 69 w 69"/>
                <a:gd name="T63" fmla="*/ 38 h 38"/>
                <a:gd name="T64" fmla="*/ 64 w 69"/>
                <a:gd name="T65" fmla="*/ 0 h 38"/>
                <a:gd name="T66" fmla="*/ 55 w 69"/>
                <a:gd name="T67" fmla="*/ 0 h 38"/>
                <a:gd name="T68" fmla="*/ 42 w 69"/>
                <a:gd name="T69" fmla="*/ 0 h 38"/>
                <a:gd name="T70" fmla="*/ 30 w 69"/>
                <a:gd name="T7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38">
                  <a:moveTo>
                    <a:pt x="30" y="0"/>
                  </a:moveTo>
                  <a:cubicBezTo>
                    <a:pt x="26" y="0"/>
                    <a:pt x="22" y="0"/>
                    <a:pt x="20" y="0"/>
                  </a:cubicBezTo>
                  <a:cubicBezTo>
                    <a:pt x="18" y="0"/>
                    <a:pt x="16" y="0"/>
                    <a:pt x="15" y="1"/>
                  </a:cubicBezTo>
                  <a:cubicBezTo>
                    <a:pt x="15" y="1"/>
                    <a:pt x="14" y="1"/>
                    <a:pt x="14" y="1"/>
                  </a:cubicBezTo>
                  <a:cubicBezTo>
                    <a:pt x="14" y="2"/>
                    <a:pt x="14" y="2"/>
                    <a:pt x="15" y="2"/>
                  </a:cubicBezTo>
                  <a:cubicBezTo>
                    <a:pt x="16" y="3"/>
                    <a:pt x="17" y="3"/>
                    <a:pt x="19" y="4"/>
                  </a:cubicBezTo>
                  <a:cubicBezTo>
                    <a:pt x="22" y="5"/>
                    <a:pt x="27" y="6"/>
                    <a:pt x="26" y="7"/>
                  </a:cubicBezTo>
                  <a:cubicBezTo>
                    <a:pt x="25" y="8"/>
                    <a:pt x="22" y="8"/>
                    <a:pt x="19" y="8"/>
                  </a:cubicBezTo>
                  <a:cubicBezTo>
                    <a:pt x="17" y="8"/>
                    <a:pt x="16" y="8"/>
                    <a:pt x="15" y="9"/>
                  </a:cubicBezTo>
                  <a:cubicBezTo>
                    <a:pt x="9" y="9"/>
                    <a:pt x="3" y="10"/>
                    <a:pt x="2" y="11"/>
                  </a:cubicBezTo>
                  <a:cubicBezTo>
                    <a:pt x="2" y="13"/>
                    <a:pt x="9" y="14"/>
                    <a:pt x="15" y="14"/>
                  </a:cubicBezTo>
                  <a:cubicBezTo>
                    <a:pt x="16" y="14"/>
                    <a:pt x="17" y="14"/>
                    <a:pt x="19" y="14"/>
                  </a:cubicBezTo>
                  <a:cubicBezTo>
                    <a:pt x="19" y="14"/>
                    <a:pt x="19" y="14"/>
                    <a:pt x="19" y="14"/>
                  </a:cubicBezTo>
                  <a:cubicBezTo>
                    <a:pt x="22" y="14"/>
                    <a:pt x="24" y="14"/>
                    <a:pt x="24" y="14"/>
                  </a:cubicBezTo>
                  <a:cubicBezTo>
                    <a:pt x="24" y="14"/>
                    <a:pt x="22" y="14"/>
                    <a:pt x="19" y="15"/>
                  </a:cubicBezTo>
                  <a:cubicBezTo>
                    <a:pt x="17" y="15"/>
                    <a:pt x="16" y="15"/>
                    <a:pt x="15" y="15"/>
                  </a:cubicBezTo>
                  <a:cubicBezTo>
                    <a:pt x="8" y="16"/>
                    <a:pt x="0" y="18"/>
                    <a:pt x="0" y="20"/>
                  </a:cubicBezTo>
                  <a:cubicBezTo>
                    <a:pt x="0" y="21"/>
                    <a:pt x="8" y="22"/>
                    <a:pt x="15" y="22"/>
                  </a:cubicBezTo>
                  <a:cubicBezTo>
                    <a:pt x="16" y="22"/>
                    <a:pt x="17" y="22"/>
                    <a:pt x="19" y="22"/>
                  </a:cubicBezTo>
                  <a:cubicBezTo>
                    <a:pt x="22" y="22"/>
                    <a:pt x="24" y="22"/>
                    <a:pt x="26" y="22"/>
                  </a:cubicBezTo>
                  <a:cubicBezTo>
                    <a:pt x="24" y="22"/>
                    <a:pt x="21" y="23"/>
                    <a:pt x="19" y="23"/>
                  </a:cubicBezTo>
                  <a:cubicBezTo>
                    <a:pt x="17" y="23"/>
                    <a:pt x="16" y="23"/>
                    <a:pt x="15" y="24"/>
                  </a:cubicBezTo>
                  <a:cubicBezTo>
                    <a:pt x="10" y="24"/>
                    <a:pt x="6" y="26"/>
                    <a:pt x="6" y="27"/>
                  </a:cubicBezTo>
                  <a:cubicBezTo>
                    <a:pt x="6" y="29"/>
                    <a:pt x="10" y="29"/>
                    <a:pt x="15" y="29"/>
                  </a:cubicBezTo>
                  <a:cubicBezTo>
                    <a:pt x="16" y="29"/>
                    <a:pt x="17" y="30"/>
                    <a:pt x="19" y="30"/>
                  </a:cubicBezTo>
                  <a:cubicBezTo>
                    <a:pt x="22" y="30"/>
                    <a:pt x="26" y="30"/>
                    <a:pt x="29" y="30"/>
                  </a:cubicBezTo>
                  <a:cubicBezTo>
                    <a:pt x="26" y="30"/>
                    <a:pt x="22" y="30"/>
                    <a:pt x="19" y="31"/>
                  </a:cubicBezTo>
                  <a:cubicBezTo>
                    <a:pt x="17" y="31"/>
                    <a:pt x="16" y="32"/>
                    <a:pt x="15" y="32"/>
                  </a:cubicBezTo>
                  <a:cubicBezTo>
                    <a:pt x="13" y="32"/>
                    <a:pt x="12" y="33"/>
                    <a:pt x="12" y="34"/>
                  </a:cubicBezTo>
                  <a:cubicBezTo>
                    <a:pt x="12" y="34"/>
                    <a:pt x="13" y="35"/>
                    <a:pt x="15" y="35"/>
                  </a:cubicBezTo>
                  <a:cubicBezTo>
                    <a:pt x="16" y="35"/>
                    <a:pt x="17" y="35"/>
                    <a:pt x="19" y="36"/>
                  </a:cubicBezTo>
                  <a:cubicBezTo>
                    <a:pt x="29" y="37"/>
                    <a:pt x="49" y="38"/>
                    <a:pt x="69" y="38"/>
                  </a:cubicBezTo>
                  <a:cubicBezTo>
                    <a:pt x="64" y="0"/>
                    <a:pt x="64" y="0"/>
                    <a:pt x="64" y="0"/>
                  </a:cubicBezTo>
                  <a:cubicBezTo>
                    <a:pt x="61" y="0"/>
                    <a:pt x="58" y="0"/>
                    <a:pt x="55" y="0"/>
                  </a:cubicBezTo>
                  <a:cubicBezTo>
                    <a:pt x="51" y="0"/>
                    <a:pt x="46" y="0"/>
                    <a:pt x="42" y="0"/>
                  </a:cubicBezTo>
                  <a:cubicBezTo>
                    <a:pt x="38" y="0"/>
                    <a:pt x="34" y="0"/>
                    <a:pt x="30" y="0"/>
                  </a:cubicBezTo>
                </a:path>
              </a:pathLst>
            </a:custGeom>
            <a:solidFill>
              <a:srgbClr val="BAB0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90" name="Freeform 168"/>
            <p:cNvSpPr>
              <a:spLocks noEditPoints="1"/>
            </p:cNvSpPr>
            <p:nvPr userDrawn="1"/>
          </p:nvSpPr>
          <p:spPr bwMode="auto">
            <a:xfrm>
              <a:off x="4201104" y="3284811"/>
              <a:ext cx="342226" cy="330597"/>
            </a:xfrm>
            <a:custGeom>
              <a:avLst/>
              <a:gdLst>
                <a:gd name="T0" fmla="*/ 5 w 132"/>
                <a:gd name="T1" fmla="*/ 123 h 127"/>
                <a:gd name="T2" fmla="*/ 66 w 132"/>
                <a:gd name="T3" fmla="*/ 6 h 127"/>
                <a:gd name="T4" fmla="*/ 126 w 132"/>
                <a:gd name="T5" fmla="*/ 123 h 127"/>
                <a:gd name="T6" fmla="*/ 5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0 w 132"/>
                <a:gd name="T23" fmla="*/ 126 h 127"/>
                <a:gd name="T24" fmla="*/ 2 w 132"/>
                <a:gd name="T25" fmla="*/ 127 h 127"/>
                <a:gd name="T26" fmla="*/ 130 w 132"/>
                <a:gd name="T27" fmla="*/ 127 h 127"/>
                <a:gd name="T28" fmla="*/ 131 w 132"/>
                <a:gd name="T29" fmla="*/ 126 h 127"/>
                <a:gd name="T30" fmla="*/ 131 w 132"/>
                <a:gd name="T31" fmla="*/ 124 h 127"/>
                <a:gd name="T32" fmla="*/ 67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5" y="123"/>
                  </a:moveTo>
                  <a:cubicBezTo>
                    <a:pt x="66" y="6"/>
                    <a:pt x="66" y="6"/>
                    <a:pt x="66" y="6"/>
                  </a:cubicBezTo>
                  <a:cubicBezTo>
                    <a:pt x="126" y="123"/>
                    <a:pt x="126" y="123"/>
                    <a:pt x="126" y="123"/>
                  </a:cubicBezTo>
                  <a:cubicBezTo>
                    <a:pt x="5" y="123"/>
                    <a:pt x="5" y="123"/>
                    <a:pt x="5" y="123"/>
                  </a:cubicBezTo>
                  <a:moveTo>
                    <a:pt x="64" y="3"/>
                  </a:moveTo>
                  <a:cubicBezTo>
                    <a:pt x="66" y="2"/>
                    <a:pt x="66" y="2"/>
                    <a:pt x="66" y="2"/>
                  </a:cubicBezTo>
                  <a:cubicBezTo>
                    <a:pt x="64" y="3"/>
                    <a:pt x="64" y="3"/>
                    <a:pt x="64" y="3"/>
                  </a:cubicBezTo>
                  <a:moveTo>
                    <a:pt x="66" y="0"/>
                  </a:moveTo>
                  <a:cubicBezTo>
                    <a:pt x="65" y="0"/>
                    <a:pt x="64" y="0"/>
                    <a:pt x="64" y="1"/>
                  </a:cubicBezTo>
                  <a:cubicBezTo>
                    <a:pt x="64" y="1"/>
                    <a:pt x="64" y="1"/>
                    <a:pt x="64" y="1"/>
                  </a:cubicBezTo>
                  <a:cubicBezTo>
                    <a:pt x="0" y="124"/>
                    <a:pt x="0" y="124"/>
                    <a:pt x="0" y="124"/>
                  </a:cubicBezTo>
                  <a:cubicBezTo>
                    <a:pt x="0" y="125"/>
                    <a:pt x="0" y="126"/>
                    <a:pt x="0" y="126"/>
                  </a:cubicBezTo>
                  <a:cubicBezTo>
                    <a:pt x="0" y="127"/>
                    <a:pt x="1" y="127"/>
                    <a:pt x="2" y="127"/>
                  </a:cubicBezTo>
                  <a:cubicBezTo>
                    <a:pt x="130" y="127"/>
                    <a:pt x="130" y="127"/>
                    <a:pt x="130" y="127"/>
                  </a:cubicBezTo>
                  <a:cubicBezTo>
                    <a:pt x="130" y="127"/>
                    <a:pt x="131" y="127"/>
                    <a:pt x="131" y="126"/>
                  </a:cubicBezTo>
                  <a:cubicBezTo>
                    <a:pt x="132" y="126"/>
                    <a:pt x="132" y="125"/>
                    <a:pt x="131" y="124"/>
                  </a:cubicBezTo>
                  <a:cubicBezTo>
                    <a:pt x="67" y="1"/>
                    <a:pt x="67" y="1"/>
                    <a:pt x="67" y="1"/>
                  </a:cubicBezTo>
                  <a:cubicBezTo>
                    <a:pt x="67" y="0"/>
                    <a:pt x="66"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23" name="Freeform 201"/>
            <p:cNvSpPr/>
            <p:nvPr userDrawn="1"/>
          </p:nvSpPr>
          <p:spPr bwMode="auto">
            <a:xfrm>
              <a:off x="3843927" y="3610423"/>
              <a:ext cx="1322387" cy="930322"/>
            </a:xfrm>
            <a:custGeom>
              <a:avLst/>
              <a:gdLst>
                <a:gd name="T0" fmla="*/ 0 w 1408"/>
                <a:gd name="T1" fmla="*/ 990 h 990"/>
                <a:gd name="T2" fmla="*/ 747 w 1408"/>
                <a:gd name="T3" fmla="*/ 0 h 990"/>
                <a:gd name="T4" fmla="*/ 1408 w 1408"/>
                <a:gd name="T5" fmla="*/ 990 h 990"/>
                <a:gd name="T6" fmla="*/ 0 w 1408"/>
                <a:gd name="T7" fmla="*/ 990 h 990"/>
              </a:gdLst>
              <a:ahLst/>
              <a:cxnLst>
                <a:cxn ang="0">
                  <a:pos x="T0" y="T1"/>
                </a:cxn>
                <a:cxn ang="0">
                  <a:pos x="T2" y="T3"/>
                </a:cxn>
                <a:cxn ang="0">
                  <a:pos x="T4" y="T5"/>
                </a:cxn>
                <a:cxn ang="0">
                  <a:pos x="T6" y="T7"/>
                </a:cxn>
              </a:cxnLst>
              <a:rect l="0" t="0" r="r" b="b"/>
              <a:pathLst>
                <a:path w="1408" h="990">
                  <a:moveTo>
                    <a:pt x="0" y="990"/>
                  </a:moveTo>
                  <a:lnTo>
                    <a:pt x="747" y="0"/>
                  </a:lnTo>
                  <a:lnTo>
                    <a:pt x="1408" y="990"/>
                  </a:lnTo>
                  <a:lnTo>
                    <a:pt x="0" y="990"/>
                  </a:lnTo>
                  <a:close/>
                </a:path>
              </a:pathLst>
            </a:custGeom>
            <a:solidFill>
              <a:srgbClr val="2762C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24" name="Freeform 202"/>
            <p:cNvSpPr/>
            <p:nvPr userDrawn="1"/>
          </p:nvSpPr>
          <p:spPr bwMode="auto">
            <a:xfrm>
              <a:off x="2626200" y="3367875"/>
              <a:ext cx="1667935" cy="1172871"/>
            </a:xfrm>
            <a:custGeom>
              <a:avLst/>
              <a:gdLst>
                <a:gd name="T0" fmla="*/ 0 w 1776"/>
                <a:gd name="T1" fmla="*/ 1250 h 1250"/>
                <a:gd name="T2" fmla="*/ 943 w 1776"/>
                <a:gd name="T3" fmla="*/ 0 h 1250"/>
                <a:gd name="T4" fmla="*/ 1776 w 1776"/>
                <a:gd name="T5" fmla="*/ 1250 h 1250"/>
                <a:gd name="T6" fmla="*/ 0 w 1776"/>
                <a:gd name="T7" fmla="*/ 1250 h 1250"/>
              </a:gdLst>
              <a:ahLst/>
              <a:cxnLst>
                <a:cxn ang="0">
                  <a:pos x="T0" y="T1"/>
                </a:cxn>
                <a:cxn ang="0">
                  <a:pos x="T2" y="T3"/>
                </a:cxn>
                <a:cxn ang="0">
                  <a:pos x="T4" y="T5"/>
                </a:cxn>
                <a:cxn ang="0">
                  <a:pos x="T6" y="T7"/>
                </a:cxn>
              </a:cxnLst>
              <a:rect l="0" t="0" r="r" b="b"/>
              <a:pathLst>
                <a:path w="1776" h="1250">
                  <a:moveTo>
                    <a:pt x="0" y="1250"/>
                  </a:moveTo>
                  <a:lnTo>
                    <a:pt x="943" y="0"/>
                  </a:lnTo>
                  <a:lnTo>
                    <a:pt x="1776" y="1250"/>
                  </a:lnTo>
                  <a:lnTo>
                    <a:pt x="0" y="1250"/>
                  </a:lnTo>
                  <a:close/>
                </a:path>
              </a:pathLst>
            </a:custGeom>
            <a:solidFill>
              <a:srgbClr val="2E7E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91" name="Freeform 169"/>
            <p:cNvSpPr>
              <a:spLocks noEditPoints="1"/>
            </p:cNvSpPr>
            <p:nvPr userDrawn="1"/>
          </p:nvSpPr>
          <p:spPr bwMode="auto">
            <a:xfrm>
              <a:off x="4501798" y="3389471"/>
              <a:ext cx="164468" cy="225935"/>
            </a:xfrm>
            <a:custGeom>
              <a:avLst/>
              <a:gdLst>
                <a:gd name="T0" fmla="*/ 31 w 63"/>
                <a:gd name="T1" fmla="*/ 83 h 87"/>
                <a:gd name="T2" fmla="*/ 5 w 63"/>
                <a:gd name="T3" fmla="*/ 32 h 87"/>
                <a:gd name="T4" fmla="*/ 18 w 63"/>
                <a:gd name="T5" fmla="*/ 7 h 87"/>
                <a:gd name="T6" fmla="*/ 57 w 63"/>
                <a:gd name="T7" fmla="*/ 83 h 87"/>
                <a:gd name="T8" fmla="*/ 31 w 63"/>
                <a:gd name="T9" fmla="*/ 83 h 87"/>
                <a:gd name="T10" fmla="*/ 16 w 63"/>
                <a:gd name="T11" fmla="*/ 3 h 87"/>
                <a:gd name="T12" fmla="*/ 18 w 63"/>
                <a:gd name="T13" fmla="*/ 2 h 87"/>
                <a:gd name="T14" fmla="*/ 16 w 63"/>
                <a:gd name="T15" fmla="*/ 3 h 87"/>
                <a:gd name="T16" fmla="*/ 18 w 63"/>
                <a:gd name="T17" fmla="*/ 0 h 87"/>
                <a:gd name="T18" fmla="*/ 16 w 63"/>
                <a:gd name="T19" fmla="*/ 1 h 87"/>
                <a:gd name="T20" fmla="*/ 16 w 63"/>
                <a:gd name="T21" fmla="*/ 1 h 87"/>
                <a:gd name="T22" fmla="*/ 1 w 63"/>
                <a:gd name="T23" fmla="*/ 31 h 87"/>
                <a:gd name="T24" fmla="*/ 1 w 63"/>
                <a:gd name="T25" fmla="*/ 33 h 87"/>
                <a:gd name="T26" fmla="*/ 28 w 63"/>
                <a:gd name="T27" fmla="*/ 86 h 87"/>
                <a:gd name="T28" fmla="*/ 30 w 63"/>
                <a:gd name="T29" fmla="*/ 87 h 87"/>
                <a:gd name="T30" fmla="*/ 61 w 63"/>
                <a:gd name="T31" fmla="*/ 87 h 87"/>
                <a:gd name="T32" fmla="*/ 62 w 63"/>
                <a:gd name="T33" fmla="*/ 86 h 87"/>
                <a:gd name="T34" fmla="*/ 63 w 63"/>
                <a:gd name="T35" fmla="*/ 84 h 87"/>
                <a:gd name="T36" fmla="*/ 20 w 63"/>
                <a:gd name="T37" fmla="*/ 1 h 87"/>
                <a:gd name="T38" fmla="*/ 18 w 63"/>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87">
                  <a:moveTo>
                    <a:pt x="31" y="83"/>
                  </a:moveTo>
                  <a:cubicBezTo>
                    <a:pt x="5" y="32"/>
                    <a:pt x="5" y="32"/>
                    <a:pt x="5" y="32"/>
                  </a:cubicBezTo>
                  <a:cubicBezTo>
                    <a:pt x="18" y="7"/>
                    <a:pt x="18" y="7"/>
                    <a:pt x="18" y="7"/>
                  </a:cubicBezTo>
                  <a:cubicBezTo>
                    <a:pt x="57" y="83"/>
                    <a:pt x="57" y="83"/>
                    <a:pt x="57" y="83"/>
                  </a:cubicBezTo>
                  <a:cubicBezTo>
                    <a:pt x="31" y="83"/>
                    <a:pt x="31" y="83"/>
                    <a:pt x="31" y="83"/>
                  </a:cubicBezTo>
                  <a:moveTo>
                    <a:pt x="16" y="3"/>
                  </a:moveTo>
                  <a:cubicBezTo>
                    <a:pt x="18" y="2"/>
                    <a:pt x="18" y="2"/>
                    <a:pt x="18" y="2"/>
                  </a:cubicBezTo>
                  <a:cubicBezTo>
                    <a:pt x="16" y="3"/>
                    <a:pt x="16" y="3"/>
                    <a:pt x="16" y="3"/>
                  </a:cubicBezTo>
                  <a:moveTo>
                    <a:pt x="18" y="0"/>
                  </a:moveTo>
                  <a:cubicBezTo>
                    <a:pt x="17" y="0"/>
                    <a:pt x="16" y="1"/>
                    <a:pt x="16" y="1"/>
                  </a:cubicBezTo>
                  <a:cubicBezTo>
                    <a:pt x="16" y="1"/>
                    <a:pt x="16" y="1"/>
                    <a:pt x="16" y="1"/>
                  </a:cubicBezTo>
                  <a:cubicBezTo>
                    <a:pt x="1" y="31"/>
                    <a:pt x="1" y="31"/>
                    <a:pt x="1" y="31"/>
                  </a:cubicBezTo>
                  <a:cubicBezTo>
                    <a:pt x="0" y="32"/>
                    <a:pt x="0" y="32"/>
                    <a:pt x="1" y="33"/>
                  </a:cubicBezTo>
                  <a:cubicBezTo>
                    <a:pt x="28" y="86"/>
                    <a:pt x="28" y="86"/>
                    <a:pt x="28" y="86"/>
                  </a:cubicBezTo>
                  <a:cubicBezTo>
                    <a:pt x="29" y="87"/>
                    <a:pt x="29" y="87"/>
                    <a:pt x="30" y="87"/>
                  </a:cubicBezTo>
                  <a:cubicBezTo>
                    <a:pt x="61" y="87"/>
                    <a:pt x="61" y="87"/>
                    <a:pt x="61" y="87"/>
                  </a:cubicBezTo>
                  <a:cubicBezTo>
                    <a:pt x="61" y="87"/>
                    <a:pt x="62" y="87"/>
                    <a:pt x="62" y="86"/>
                  </a:cubicBezTo>
                  <a:cubicBezTo>
                    <a:pt x="63" y="86"/>
                    <a:pt x="63" y="85"/>
                    <a:pt x="63" y="84"/>
                  </a:cubicBezTo>
                  <a:cubicBezTo>
                    <a:pt x="20" y="1"/>
                    <a:pt x="20" y="1"/>
                    <a:pt x="20" y="1"/>
                  </a:cubicBezTo>
                  <a:cubicBezTo>
                    <a:pt x="19" y="1"/>
                    <a:pt x="19" y="0"/>
                    <a:pt x="18"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92" name="Freeform 170"/>
            <p:cNvSpPr>
              <a:spLocks noEditPoints="1"/>
            </p:cNvSpPr>
            <p:nvPr userDrawn="1"/>
          </p:nvSpPr>
          <p:spPr bwMode="auto">
            <a:xfrm>
              <a:off x="4561604" y="3296439"/>
              <a:ext cx="79742" cy="79742"/>
            </a:xfrm>
            <a:custGeom>
              <a:avLst/>
              <a:gdLst>
                <a:gd name="T0" fmla="*/ 31 w 31"/>
                <a:gd name="T1" fmla="*/ 15 h 31"/>
                <a:gd name="T2" fmla="*/ 31 w 31"/>
                <a:gd name="T3" fmla="*/ 15 h 31"/>
                <a:gd name="T4" fmla="*/ 31 w 31"/>
                <a:gd name="T5" fmla="*/ 15 h 31"/>
                <a:gd name="T6" fmla="*/ 16 w 31"/>
                <a:gd name="T7" fmla="*/ 0 h 31"/>
                <a:gd name="T8" fmla="*/ 0 w 31"/>
                <a:gd name="T9" fmla="*/ 15 h 31"/>
                <a:gd name="T10" fmla="*/ 16 w 31"/>
                <a:gd name="T11" fmla="*/ 31 h 31"/>
                <a:gd name="T12" fmla="*/ 31 w 31"/>
                <a:gd name="T13" fmla="*/ 15 h 31"/>
                <a:gd name="T14" fmla="*/ 29 w 31"/>
                <a:gd name="T15" fmla="*/ 15 h 31"/>
                <a:gd name="T16" fmla="*/ 27 w 31"/>
                <a:gd name="T17" fmla="*/ 15 h 31"/>
                <a:gd name="T18" fmla="*/ 16 w 31"/>
                <a:gd name="T19" fmla="*/ 27 h 31"/>
                <a:gd name="T20" fmla="*/ 4 w 31"/>
                <a:gd name="T21" fmla="*/ 15 h 31"/>
                <a:gd name="T22" fmla="*/ 16 w 31"/>
                <a:gd name="T23" fmla="*/ 4 h 31"/>
                <a:gd name="T24" fmla="*/ 27 w 31"/>
                <a:gd name="T25" fmla="*/ 15 h 31"/>
                <a:gd name="T26" fmla="*/ 29 w 31"/>
                <a:gd name="T27" fmla="*/ 15 h 31"/>
                <a:gd name="T28" fmla="*/ 31 w 31"/>
                <a:gd name="T29" fmla="*/ 15 h 31"/>
                <a:gd name="T30" fmla="*/ 31 w 31"/>
                <a:gd name="T31" fmla="*/ 15 h 31"/>
                <a:gd name="T32" fmla="*/ 16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6" y="0"/>
                  </a:moveTo>
                  <a:cubicBezTo>
                    <a:pt x="7" y="0"/>
                    <a:pt x="0" y="7"/>
                    <a:pt x="0" y="15"/>
                  </a:cubicBezTo>
                  <a:cubicBezTo>
                    <a:pt x="0" y="24"/>
                    <a:pt x="7" y="31"/>
                    <a:pt x="16" y="31"/>
                  </a:cubicBezTo>
                  <a:cubicBezTo>
                    <a:pt x="24" y="31"/>
                    <a:pt x="31" y="24"/>
                    <a:pt x="31" y="15"/>
                  </a:cubicBezTo>
                  <a:cubicBezTo>
                    <a:pt x="29" y="15"/>
                    <a:pt x="29" y="15"/>
                    <a:pt x="29" y="15"/>
                  </a:cubicBezTo>
                  <a:cubicBezTo>
                    <a:pt x="27" y="15"/>
                    <a:pt x="27" y="15"/>
                    <a:pt x="27" y="15"/>
                  </a:cubicBezTo>
                  <a:cubicBezTo>
                    <a:pt x="27" y="22"/>
                    <a:pt x="22" y="27"/>
                    <a:pt x="16" y="27"/>
                  </a:cubicBezTo>
                  <a:cubicBezTo>
                    <a:pt x="9" y="27"/>
                    <a:pt x="4" y="22"/>
                    <a:pt x="4" y="15"/>
                  </a:cubicBezTo>
                  <a:cubicBezTo>
                    <a:pt x="4" y="9"/>
                    <a:pt x="9" y="4"/>
                    <a:pt x="16"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22" name="Oval 200"/>
            <p:cNvSpPr>
              <a:spLocks noChangeArrowheads="1"/>
            </p:cNvSpPr>
            <p:nvPr userDrawn="1"/>
          </p:nvSpPr>
          <p:spPr bwMode="auto">
            <a:xfrm>
              <a:off x="4091458" y="2502342"/>
              <a:ext cx="470146" cy="468484"/>
            </a:xfrm>
            <a:prstGeom prst="ellipse">
              <a:avLst/>
            </a:prstGeom>
            <a:solidFill>
              <a:srgbClr val="FFE29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25" name="Oval 203"/>
            <p:cNvSpPr>
              <a:spLocks noChangeArrowheads="1"/>
            </p:cNvSpPr>
            <p:nvPr userDrawn="1"/>
          </p:nvSpPr>
          <p:spPr bwMode="auto">
            <a:xfrm>
              <a:off x="4754314" y="3985875"/>
              <a:ext cx="913710" cy="915371"/>
            </a:xfrm>
            <a:prstGeom prst="ellipse">
              <a:avLst/>
            </a:prstGeom>
            <a:solidFill>
              <a:srgbClr val="97D3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26" name="Freeform 204"/>
            <p:cNvSpPr>
              <a:spLocks noEditPoints="1"/>
            </p:cNvSpPr>
            <p:nvPr userDrawn="1"/>
          </p:nvSpPr>
          <p:spPr bwMode="auto">
            <a:xfrm>
              <a:off x="4727733" y="3959294"/>
              <a:ext cx="965210" cy="966871"/>
            </a:xfrm>
            <a:custGeom>
              <a:avLst/>
              <a:gdLst>
                <a:gd name="T0" fmla="*/ 186 w 372"/>
                <a:gd name="T1" fmla="*/ 20 h 373"/>
                <a:gd name="T2" fmla="*/ 352 w 372"/>
                <a:gd name="T3" fmla="*/ 186 h 373"/>
                <a:gd name="T4" fmla="*/ 186 w 372"/>
                <a:gd name="T5" fmla="*/ 353 h 373"/>
                <a:gd name="T6" fmla="*/ 20 w 372"/>
                <a:gd name="T7" fmla="*/ 186 h 373"/>
                <a:gd name="T8" fmla="*/ 186 w 372"/>
                <a:gd name="T9" fmla="*/ 20 h 373"/>
                <a:gd name="T10" fmla="*/ 186 w 372"/>
                <a:gd name="T11" fmla="*/ 0 h 373"/>
                <a:gd name="T12" fmla="*/ 0 w 372"/>
                <a:gd name="T13" fmla="*/ 186 h 373"/>
                <a:gd name="T14" fmla="*/ 186 w 372"/>
                <a:gd name="T15" fmla="*/ 373 h 373"/>
                <a:gd name="T16" fmla="*/ 372 w 372"/>
                <a:gd name="T17" fmla="*/ 186 h 373"/>
                <a:gd name="T18" fmla="*/ 186 w 372"/>
                <a:gd name="T1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2" h="373">
                  <a:moveTo>
                    <a:pt x="186" y="20"/>
                  </a:moveTo>
                  <a:cubicBezTo>
                    <a:pt x="278" y="20"/>
                    <a:pt x="352" y="94"/>
                    <a:pt x="352" y="186"/>
                  </a:cubicBezTo>
                  <a:cubicBezTo>
                    <a:pt x="352" y="278"/>
                    <a:pt x="278" y="353"/>
                    <a:pt x="186" y="353"/>
                  </a:cubicBezTo>
                  <a:cubicBezTo>
                    <a:pt x="94" y="353"/>
                    <a:pt x="20" y="278"/>
                    <a:pt x="20" y="186"/>
                  </a:cubicBezTo>
                  <a:cubicBezTo>
                    <a:pt x="20" y="94"/>
                    <a:pt x="94" y="20"/>
                    <a:pt x="186" y="20"/>
                  </a:cubicBezTo>
                  <a:moveTo>
                    <a:pt x="186" y="0"/>
                  </a:moveTo>
                  <a:cubicBezTo>
                    <a:pt x="83" y="0"/>
                    <a:pt x="0" y="84"/>
                    <a:pt x="0" y="186"/>
                  </a:cubicBezTo>
                  <a:cubicBezTo>
                    <a:pt x="0" y="289"/>
                    <a:pt x="83" y="373"/>
                    <a:pt x="186" y="373"/>
                  </a:cubicBezTo>
                  <a:cubicBezTo>
                    <a:pt x="289" y="373"/>
                    <a:pt x="372" y="289"/>
                    <a:pt x="372" y="186"/>
                  </a:cubicBezTo>
                  <a:cubicBezTo>
                    <a:pt x="372" y="84"/>
                    <a:pt x="289" y="0"/>
                    <a:pt x="186"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26" name="Freeform 241"/>
            <p:cNvSpPr/>
            <p:nvPr userDrawn="1"/>
          </p:nvSpPr>
          <p:spPr bwMode="auto">
            <a:xfrm>
              <a:off x="1680927" y="4602449"/>
              <a:ext cx="757548" cy="1446984"/>
            </a:xfrm>
            <a:custGeom>
              <a:avLst/>
              <a:gdLst>
                <a:gd name="T0" fmla="*/ 0 w 292"/>
                <a:gd name="T1" fmla="*/ 46 h 558"/>
                <a:gd name="T2" fmla="*/ 46 w 292"/>
                <a:gd name="T3" fmla="*/ 123 h 558"/>
                <a:gd name="T4" fmla="*/ 129 w 292"/>
                <a:gd name="T5" fmla="*/ 341 h 558"/>
                <a:gd name="T6" fmla="*/ 169 w 292"/>
                <a:gd name="T7" fmla="*/ 557 h 558"/>
                <a:gd name="T8" fmla="*/ 292 w 292"/>
                <a:gd name="T9" fmla="*/ 558 h 558"/>
                <a:gd name="T10" fmla="*/ 255 w 292"/>
                <a:gd name="T11" fmla="*/ 287 h 558"/>
                <a:gd name="T12" fmla="*/ 183 w 292"/>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292" h="558">
                  <a:moveTo>
                    <a:pt x="0" y="46"/>
                  </a:moveTo>
                  <a:cubicBezTo>
                    <a:pt x="10" y="81"/>
                    <a:pt x="46" y="123"/>
                    <a:pt x="46" y="123"/>
                  </a:cubicBezTo>
                  <a:cubicBezTo>
                    <a:pt x="129" y="341"/>
                    <a:pt x="129" y="341"/>
                    <a:pt x="129" y="341"/>
                  </a:cubicBezTo>
                  <a:cubicBezTo>
                    <a:pt x="169" y="557"/>
                    <a:pt x="169" y="557"/>
                    <a:pt x="169" y="557"/>
                  </a:cubicBezTo>
                  <a:cubicBezTo>
                    <a:pt x="292" y="558"/>
                    <a:pt x="292" y="558"/>
                    <a:pt x="292" y="558"/>
                  </a:cubicBezTo>
                  <a:cubicBezTo>
                    <a:pt x="292" y="558"/>
                    <a:pt x="267" y="351"/>
                    <a:pt x="255" y="287"/>
                  </a:cubicBezTo>
                  <a:cubicBezTo>
                    <a:pt x="237" y="194"/>
                    <a:pt x="183" y="0"/>
                    <a:pt x="183" y="0"/>
                  </a:cubicBezTo>
                </a:path>
              </a:pathLst>
            </a:custGeom>
            <a:solidFill>
              <a:srgbClr val="162F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 name="Freeform 206"/>
            <p:cNvSpPr/>
            <p:nvPr userDrawn="1"/>
          </p:nvSpPr>
          <p:spPr bwMode="auto">
            <a:xfrm>
              <a:off x="4948684" y="4161972"/>
              <a:ext cx="523307" cy="563178"/>
            </a:xfrm>
            <a:custGeom>
              <a:avLst/>
              <a:gdLst>
                <a:gd name="T0" fmla="*/ 315 w 315"/>
                <a:gd name="T1" fmla="*/ 195 h 339"/>
                <a:gd name="T2" fmla="*/ 158 w 315"/>
                <a:gd name="T3" fmla="*/ 0 h 339"/>
                <a:gd name="T4" fmla="*/ 0 w 315"/>
                <a:gd name="T5" fmla="*/ 195 h 339"/>
                <a:gd name="T6" fmla="*/ 90 w 315"/>
                <a:gd name="T7" fmla="*/ 195 h 339"/>
                <a:gd name="T8" fmla="*/ 90 w 315"/>
                <a:gd name="T9" fmla="*/ 339 h 339"/>
                <a:gd name="T10" fmla="*/ 226 w 315"/>
                <a:gd name="T11" fmla="*/ 339 h 339"/>
                <a:gd name="T12" fmla="*/ 226 w 315"/>
                <a:gd name="T13" fmla="*/ 195 h 339"/>
                <a:gd name="T14" fmla="*/ 315 w 315"/>
                <a:gd name="T15" fmla="*/ 195 h 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5" h="339">
                  <a:moveTo>
                    <a:pt x="315" y="195"/>
                  </a:moveTo>
                  <a:lnTo>
                    <a:pt x="158" y="0"/>
                  </a:lnTo>
                  <a:lnTo>
                    <a:pt x="0" y="195"/>
                  </a:lnTo>
                  <a:lnTo>
                    <a:pt x="90" y="195"/>
                  </a:lnTo>
                  <a:lnTo>
                    <a:pt x="90" y="339"/>
                  </a:lnTo>
                  <a:lnTo>
                    <a:pt x="226" y="339"/>
                  </a:lnTo>
                  <a:lnTo>
                    <a:pt x="226" y="195"/>
                  </a:lnTo>
                  <a:lnTo>
                    <a:pt x="315" y="19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218"/>
            <p:cNvSpPr/>
            <p:nvPr userDrawn="1"/>
          </p:nvSpPr>
          <p:spPr bwMode="auto">
            <a:xfrm>
              <a:off x="5521830" y="4259987"/>
              <a:ext cx="192710" cy="106323"/>
            </a:xfrm>
            <a:custGeom>
              <a:avLst/>
              <a:gdLst>
                <a:gd name="T0" fmla="*/ 70 w 74"/>
                <a:gd name="T1" fmla="*/ 1 h 41"/>
                <a:gd name="T2" fmla="*/ 15 w 74"/>
                <a:gd name="T3" fmla="*/ 3 h 41"/>
                <a:gd name="T4" fmla="*/ 27 w 74"/>
                <a:gd name="T5" fmla="*/ 9 h 41"/>
                <a:gd name="T6" fmla="*/ 3 w 74"/>
                <a:gd name="T7" fmla="*/ 13 h 41"/>
                <a:gd name="T8" fmla="*/ 25 w 74"/>
                <a:gd name="T9" fmla="*/ 16 h 41"/>
                <a:gd name="T10" fmla="*/ 0 w 74"/>
                <a:gd name="T11" fmla="*/ 22 h 41"/>
                <a:gd name="T12" fmla="*/ 23 w 74"/>
                <a:gd name="T13" fmla="*/ 24 h 41"/>
                <a:gd name="T14" fmla="*/ 7 w 74"/>
                <a:gd name="T15" fmla="*/ 29 h 41"/>
                <a:gd name="T16" fmla="*/ 30 w 74"/>
                <a:gd name="T17" fmla="*/ 32 h 41"/>
                <a:gd name="T18" fmla="*/ 13 w 74"/>
                <a:gd name="T19" fmla="*/ 36 h 41"/>
                <a:gd name="T20" fmla="*/ 74 w 74"/>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41">
                  <a:moveTo>
                    <a:pt x="70" y="1"/>
                  </a:moveTo>
                  <a:cubicBezTo>
                    <a:pt x="56" y="3"/>
                    <a:pt x="16" y="0"/>
                    <a:pt x="15" y="3"/>
                  </a:cubicBezTo>
                  <a:cubicBezTo>
                    <a:pt x="14" y="6"/>
                    <a:pt x="28" y="7"/>
                    <a:pt x="27" y="9"/>
                  </a:cubicBezTo>
                  <a:cubicBezTo>
                    <a:pt x="25" y="11"/>
                    <a:pt x="3" y="10"/>
                    <a:pt x="3" y="13"/>
                  </a:cubicBezTo>
                  <a:cubicBezTo>
                    <a:pt x="2" y="17"/>
                    <a:pt x="25" y="16"/>
                    <a:pt x="25" y="16"/>
                  </a:cubicBezTo>
                  <a:cubicBezTo>
                    <a:pt x="25" y="16"/>
                    <a:pt x="0" y="18"/>
                    <a:pt x="0" y="22"/>
                  </a:cubicBezTo>
                  <a:cubicBezTo>
                    <a:pt x="1" y="25"/>
                    <a:pt x="16" y="24"/>
                    <a:pt x="23" y="24"/>
                  </a:cubicBezTo>
                  <a:cubicBezTo>
                    <a:pt x="15" y="25"/>
                    <a:pt x="6" y="27"/>
                    <a:pt x="7" y="29"/>
                  </a:cubicBezTo>
                  <a:cubicBezTo>
                    <a:pt x="7" y="32"/>
                    <a:pt x="20" y="32"/>
                    <a:pt x="30" y="32"/>
                  </a:cubicBezTo>
                  <a:cubicBezTo>
                    <a:pt x="24" y="32"/>
                    <a:pt x="12" y="34"/>
                    <a:pt x="13" y="36"/>
                  </a:cubicBezTo>
                  <a:cubicBezTo>
                    <a:pt x="13" y="39"/>
                    <a:pt x="44" y="40"/>
                    <a:pt x="74" y="41"/>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93" name="Freeform 71"/>
            <p:cNvSpPr/>
            <p:nvPr userDrawn="1"/>
          </p:nvSpPr>
          <p:spPr bwMode="auto">
            <a:xfrm>
              <a:off x="2646136" y="5411262"/>
              <a:ext cx="59806" cy="59806"/>
            </a:xfrm>
            <a:custGeom>
              <a:avLst/>
              <a:gdLst>
                <a:gd name="T0" fmla="*/ 21 w 23"/>
                <a:gd name="T1" fmla="*/ 12 h 23"/>
                <a:gd name="T2" fmla="*/ 19 w 23"/>
                <a:gd name="T3" fmla="*/ 12 h 23"/>
                <a:gd name="T4" fmla="*/ 11 w 23"/>
                <a:gd name="T5" fmla="*/ 19 h 23"/>
                <a:gd name="T6" fmla="*/ 4 w 23"/>
                <a:gd name="T7" fmla="*/ 12 h 23"/>
                <a:gd name="T8" fmla="*/ 11 w 23"/>
                <a:gd name="T9" fmla="*/ 4 h 23"/>
                <a:gd name="T10" fmla="*/ 19 w 23"/>
                <a:gd name="T11" fmla="*/ 12 h 23"/>
                <a:gd name="T12" fmla="*/ 21 w 23"/>
                <a:gd name="T13" fmla="*/ 12 h 23"/>
                <a:gd name="T14" fmla="*/ 23 w 23"/>
                <a:gd name="T15" fmla="*/ 12 h 23"/>
                <a:gd name="T16" fmla="*/ 11 w 23"/>
                <a:gd name="T17" fmla="*/ 0 h 23"/>
                <a:gd name="T18" fmla="*/ 0 w 23"/>
                <a:gd name="T19" fmla="*/ 12 h 23"/>
                <a:gd name="T20" fmla="*/ 11 w 23"/>
                <a:gd name="T21" fmla="*/ 23 h 23"/>
                <a:gd name="T22" fmla="*/ 23 w 23"/>
                <a:gd name="T23" fmla="*/ 12 h 23"/>
                <a:gd name="T24" fmla="*/ 21 w 23"/>
                <a:gd name="T2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21" y="12"/>
                  </a:moveTo>
                  <a:cubicBezTo>
                    <a:pt x="19" y="12"/>
                    <a:pt x="19" y="12"/>
                    <a:pt x="19" y="12"/>
                  </a:cubicBezTo>
                  <a:cubicBezTo>
                    <a:pt x="19" y="16"/>
                    <a:pt x="16" y="19"/>
                    <a:pt x="11" y="19"/>
                  </a:cubicBezTo>
                  <a:cubicBezTo>
                    <a:pt x="7" y="19"/>
                    <a:pt x="4" y="16"/>
                    <a:pt x="4" y="12"/>
                  </a:cubicBezTo>
                  <a:cubicBezTo>
                    <a:pt x="4" y="8"/>
                    <a:pt x="7" y="4"/>
                    <a:pt x="11" y="4"/>
                  </a:cubicBezTo>
                  <a:cubicBezTo>
                    <a:pt x="16" y="4"/>
                    <a:pt x="19" y="8"/>
                    <a:pt x="19" y="12"/>
                  </a:cubicBezTo>
                  <a:cubicBezTo>
                    <a:pt x="21" y="12"/>
                    <a:pt x="21" y="12"/>
                    <a:pt x="21" y="12"/>
                  </a:cubicBezTo>
                  <a:cubicBezTo>
                    <a:pt x="23" y="12"/>
                    <a:pt x="23" y="12"/>
                    <a:pt x="23" y="12"/>
                  </a:cubicBezTo>
                  <a:cubicBezTo>
                    <a:pt x="23" y="6"/>
                    <a:pt x="18" y="0"/>
                    <a:pt x="11" y="0"/>
                  </a:cubicBezTo>
                  <a:cubicBezTo>
                    <a:pt x="5" y="0"/>
                    <a:pt x="0" y="6"/>
                    <a:pt x="0" y="12"/>
                  </a:cubicBezTo>
                  <a:cubicBezTo>
                    <a:pt x="0" y="18"/>
                    <a:pt x="5" y="23"/>
                    <a:pt x="11" y="23"/>
                  </a:cubicBezTo>
                  <a:cubicBezTo>
                    <a:pt x="18" y="23"/>
                    <a:pt x="23" y="18"/>
                    <a:pt x="23" y="12"/>
                  </a:cubicBezTo>
                  <a:lnTo>
                    <a:pt x="21" y="12"/>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37" name="Rectangle 251"/>
            <p:cNvSpPr>
              <a:spLocks noChangeArrowheads="1"/>
            </p:cNvSpPr>
            <p:nvPr userDrawn="1"/>
          </p:nvSpPr>
          <p:spPr bwMode="auto">
            <a:xfrm>
              <a:off x="2104555" y="5976336"/>
              <a:ext cx="323952" cy="9968"/>
            </a:xfrm>
            <a:prstGeom prst="rect">
              <a:avLst/>
            </a:prstGeom>
            <a:solidFill>
              <a:srgbClr val="025F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38" name="Freeform 252"/>
            <p:cNvSpPr/>
            <p:nvPr userDrawn="1"/>
          </p:nvSpPr>
          <p:spPr bwMode="auto">
            <a:xfrm>
              <a:off x="2104555" y="5976336"/>
              <a:ext cx="323952" cy="9968"/>
            </a:xfrm>
            <a:custGeom>
              <a:avLst/>
              <a:gdLst>
                <a:gd name="T0" fmla="*/ 0 w 195"/>
                <a:gd name="T1" fmla="*/ 6 h 6"/>
                <a:gd name="T2" fmla="*/ 195 w 195"/>
                <a:gd name="T3" fmla="*/ 6 h 6"/>
                <a:gd name="T4" fmla="*/ 195 w 195"/>
                <a:gd name="T5" fmla="*/ 0 h 6"/>
                <a:gd name="T6" fmla="*/ 0 w 195"/>
                <a:gd name="T7" fmla="*/ 0 h 6"/>
              </a:gdLst>
              <a:ahLst/>
              <a:cxnLst>
                <a:cxn ang="0">
                  <a:pos x="T0" y="T1"/>
                </a:cxn>
                <a:cxn ang="0">
                  <a:pos x="T2" y="T3"/>
                </a:cxn>
                <a:cxn ang="0">
                  <a:pos x="T4" y="T5"/>
                </a:cxn>
                <a:cxn ang="0">
                  <a:pos x="T6" y="T7"/>
                </a:cxn>
              </a:cxnLst>
              <a:rect l="0" t="0" r="r" b="b"/>
              <a:pathLst>
                <a:path w="195" h="6">
                  <a:moveTo>
                    <a:pt x="0" y="6"/>
                  </a:moveTo>
                  <a:lnTo>
                    <a:pt x="195" y="6"/>
                  </a:lnTo>
                  <a:lnTo>
                    <a:pt x="19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97" name="Freeform 175"/>
            <p:cNvSpPr/>
            <p:nvPr userDrawn="1"/>
          </p:nvSpPr>
          <p:spPr bwMode="auto">
            <a:xfrm>
              <a:off x="2506588" y="4255004"/>
              <a:ext cx="18275" cy="4984"/>
            </a:xfrm>
            <a:custGeom>
              <a:avLst/>
              <a:gdLst>
                <a:gd name="T0" fmla="*/ 7 w 7"/>
                <a:gd name="T1" fmla="*/ 0 h 2"/>
                <a:gd name="T2" fmla="*/ 0 w 7"/>
                <a:gd name="T3" fmla="*/ 2 h 2"/>
                <a:gd name="T4" fmla="*/ 7 w 7"/>
                <a:gd name="T5" fmla="*/ 0 h 2"/>
              </a:gdLst>
              <a:ahLst/>
              <a:cxnLst>
                <a:cxn ang="0">
                  <a:pos x="T0" y="T1"/>
                </a:cxn>
                <a:cxn ang="0">
                  <a:pos x="T2" y="T3"/>
                </a:cxn>
                <a:cxn ang="0">
                  <a:pos x="T4" y="T5"/>
                </a:cxn>
              </a:cxnLst>
              <a:rect l="0" t="0" r="r" b="b"/>
              <a:pathLst>
                <a:path w="7" h="2">
                  <a:moveTo>
                    <a:pt x="7" y="0"/>
                  </a:moveTo>
                  <a:cubicBezTo>
                    <a:pt x="4" y="1"/>
                    <a:pt x="2" y="2"/>
                    <a:pt x="0" y="2"/>
                  </a:cubicBezTo>
                  <a:cubicBezTo>
                    <a:pt x="2" y="2"/>
                    <a:pt x="5" y="1"/>
                    <a:pt x="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43" name="Freeform 257"/>
            <p:cNvSpPr/>
            <p:nvPr userDrawn="1"/>
          </p:nvSpPr>
          <p:spPr bwMode="auto">
            <a:xfrm>
              <a:off x="1797217" y="4049240"/>
              <a:ext cx="838952" cy="725984"/>
            </a:xfrm>
            <a:custGeom>
              <a:avLst/>
              <a:gdLst>
                <a:gd name="T0" fmla="*/ 4 w 323"/>
                <a:gd name="T1" fmla="*/ 0 h 280"/>
                <a:gd name="T2" fmla="*/ 90 w 323"/>
                <a:gd name="T3" fmla="*/ 245 h 280"/>
                <a:gd name="T4" fmla="*/ 323 w 323"/>
                <a:gd name="T5" fmla="*/ 209 h 280"/>
                <a:gd name="T6" fmla="*/ 303 w 323"/>
                <a:gd name="T7" fmla="*/ 115 h 280"/>
                <a:gd name="T8" fmla="*/ 141 w 323"/>
                <a:gd name="T9" fmla="*/ 143 h 280"/>
                <a:gd name="T10" fmla="*/ 98 w 323"/>
                <a:gd name="T11" fmla="*/ 10 h 280"/>
              </a:gdLst>
              <a:ahLst/>
              <a:cxnLst>
                <a:cxn ang="0">
                  <a:pos x="T0" y="T1"/>
                </a:cxn>
                <a:cxn ang="0">
                  <a:pos x="T2" y="T3"/>
                </a:cxn>
                <a:cxn ang="0">
                  <a:pos x="T4" y="T5"/>
                </a:cxn>
                <a:cxn ang="0">
                  <a:pos x="T6" y="T7"/>
                </a:cxn>
                <a:cxn ang="0">
                  <a:pos x="T8" y="T9"/>
                </a:cxn>
                <a:cxn ang="0">
                  <a:pos x="T10" y="T11"/>
                </a:cxn>
              </a:cxnLst>
              <a:rect l="0" t="0" r="r" b="b"/>
              <a:pathLst>
                <a:path w="323" h="280">
                  <a:moveTo>
                    <a:pt x="4" y="0"/>
                  </a:moveTo>
                  <a:cubicBezTo>
                    <a:pt x="4" y="0"/>
                    <a:pt x="0" y="207"/>
                    <a:pt x="90" y="245"/>
                  </a:cubicBezTo>
                  <a:cubicBezTo>
                    <a:pt x="171" y="280"/>
                    <a:pt x="323" y="209"/>
                    <a:pt x="323" y="209"/>
                  </a:cubicBezTo>
                  <a:cubicBezTo>
                    <a:pt x="303" y="115"/>
                    <a:pt x="303" y="115"/>
                    <a:pt x="303" y="115"/>
                  </a:cubicBezTo>
                  <a:cubicBezTo>
                    <a:pt x="303" y="115"/>
                    <a:pt x="184" y="165"/>
                    <a:pt x="141" y="143"/>
                  </a:cubicBezTo>
                  <a:cubicBezTo>
                    <a:pt x="112" y="128"/>
                    <a:pt x="98" y="10"/>
                    <a:pt x="98" y="10"/>
                  </a:cubicBezTo>
                </a:path>
              </a:pathLst>
            </a:custGeom>
            <a:solidFill>
              <a:srgbClr val="FFAC0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42" name="Freeform 256"/>
            <p:cNvSpPr/>
            <p:nvPr userDrawn="1"/>
          </p:nvSpPr>
          <p:spPr bwMode="auto">
            <a:xfrm>
              <a:off x="2576362" y="4303416"/>
              <a:ext cx="186065" cy="152839"/>
            </a:xfrm>
            <a:custGeom>
              <a:avLst/>
              <a:gdLst>
                <a:gd name="T0" fmla="*/ 0 w 72"/>
                <a:gd name="T1" fmla="*/ 22 h 59"/>
                <a:gd name="T2" fmla="*/ 51 w 72"/>
                <a:gd name="T3" fmla="*/ 2 h 59"/>
                <a:gd name="T4" fmla="*/ 42 w 72"/>
                <a:gd name="T5" fmla="*/ 12 h 59"/>
                <a:gd name="T6" fmla="*/ 66 w 72"/>
                <a:gd name="T7" fmla="*/ 7 h 59"/>
                <a:gd name="T8" fmla="*/ 47 w 72"/>
                <a:gd name="T9" fmla="*/ 18 h 59"/>
                <a:gd name="T10" fmla="*/ 72 w 72"/>
                <a:gd name="T11" fmla="*/ 15 h 59"/>
                <a:gd name="T12" fmla="*/ 48 w 72"/>
                <a:gd name="T13" fmla="*/ 27 h 59"/>
                <a:gd name="T14" fmla="*/ 69 w 72"/>
                <a:gd name="T15" fmla="*/ 24 h 59"/>
                <a:gd name="T16" fmla="*/ 48 w 72"/>
                <a:gd name="T17" fmla="*/ 35 h 59"/>
                <a:gd name="T18" fmla="*/ 66 w 72"/>
                <a:gd name="T19" fmla="*/ 32 h 59"/>
                <a:gd name="T20" fmla="*/ 10 w 72"/>
                <a:gd name="T2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9">
                  <a:moveTo>
                    <a:pt x="0" y="22"/>
                  </a:moveTo>
                  <a:cubicBezTo>
                    <a:pt x="13" y="18"/>
                    <a:pt x="49" y="0"/>
                    <a:pt x="51" y="2"/>
                  </a:cubicBezTo>
                  <a:cubicBezTo>
                    <a:pt x="53" y="4"/>
                    <a:pt x="40" y="11"/>
                    <a:pt x="42" y="12"/>
                  </a:cubicBezTo>
                  <a:cubicBezTo>
                    <a:pt x="44" y="13"/>
                    <a:pt x="65" y="5"/>
                    <a:pt x="66" y="7"/>
                  </a:cubicBezTo>
                  <a:cubicBezTo>
                    <a:pt x="68" y="11"/>
                    <a:pt x="47" y="18"/>
                    <a:pt x="47" y="18"/>
                  </a:cubicBezTo>
                  <a:cubicBezTo>
                    <a:pt x="47" y="18"/>
                    <a:pt x="71" y="11"/>
                    <a:pt x="72" y="15"/>
                  </a:cubicBezTo>
                  <a:cubicBezTo>
                    <a:pt x="72" y="17"/>
                    <a:pt x="54" y="23"/>
                    <a:pt x="48" y="27"/>
                  </a:cubicBezTo>
                  <a:cubicBezTo>
                    <a:pt x="55" y="24"/>
                    <a:pt x="68" y="21"/>
                    <a:pt x="69" y="24"/>
                  </a:cubicBezTo>
                  <a:cubicBezTo>
                    <a:pt x="69" y="26"/>
                    <a:pt x="57" y="31"/>
                    <a:pt x="48" y="35"/>
                  </a:cubicBezTo>
                  <a:cubicBezTo>
                    <a:pt x="54" y="33"/>
                    <a:pt x="65" y="30"/>
                    <a:pt x="66" y="32"/>
                  </a:cubicBezTo>
                  <a:cubicBezTo>
                    <a:pt x="66" y="35"/>
                    <a:pt x="38" y="48"/>
                    <a:pt x="10" y="59"/>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32" name="Freeform 247"/>
            <p:cNvSpPr/>
            <p:nvPr userDrawn="1"/>
          </p:nvSpPr>
          <p:spPr bwMode="auto">
            <a:xfrm>
              <a:off x="2051394" y="4786852"/>
              <a:ext cx="71436" cy="149516"/>
            </a:xfrm>
            <a:custGeom>
              <a:avLst/>
              <a:gdLst>
                <a:gd name="T0" fmla="*/ 0 w 27"/>
                <a:gd name="T1" fmla="*/ 58 h 58"/>
                <a:gd name="T2" fmla="*/ 0 w 27"/>
                <a:gd name="T3" fmla="*/ 58 h 58"/>
                <a:gd name="T4" fmla="*/ 9 w 27"/>
                <a:gd name="T5" fmla="*/ 56 h 58"/>
                <a:gd name="T6" fmla="*/ 16 w 27"/>
                <a:gd name="T7" fmla="*/ 53 h 58"/>
                <a:gd name="T8" fmla="*/ 20 w 27"/>
                <a:gd name="T9" fmla="*/ 47 h 58"/>
                <a:gd name="T10" fmla="*/ 24 w 27"/>
                <a:gd name="T11" fmla="*/ 20 h 58"/>
                <a:gd name="T12" fmla="*/ 27 w 27"/>
                <a:gd name="T13" fmla="*/ 0 h 58"/>
                <a:gd name="T14" fmla="*/ 23 w 27"/>
                <a:gd name="T15" fmla="*/ 0 h 58"/>
                <a:gd name="T16" fmla="*/ 23 w 27"/>
                <a:gd name="T17" fmla="*/ 6 h 58"/>
                <a:gd name="T18" fmla="*/ 19 w 27"/>
                <a:gd name="T19" fmla="*/ 27 h 58"/>
                <a:gd name="T20" fmla="*/ 16 w 27"/>
                <a:gd name="T21" fmla="*/ 46 h 58"/>
                <a:gd name="T22" fmla="*/ 13 w 27"/>
                <a:gd name="T23" fmla="*/ 50 h 58"/>
                <a:gd name="T24" fmla="*/ 6 w 27"/>
                <a:gd name="T25" fmla="*/ 53 h 58"/>
                <a:gd name="T26" fmla="*/ 0 w 27"/>
                <a:gd name="T27" fmla="*/ 54 h 58"/>
                <a:gd name="T28" fmla="*/ 0 w 27"/>
                <a:gd name="T29" fmla="*/ 54 h 58"/>
                <a:gd name="T30" fmla="*/ 0 w 27"/>
                <a:gd name="T3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58">
                  <a:moveTo>
                    <a:pt x="0" y="58"/>
                  </a:moveTo>
                  <a:cubicBezTo>
                    <a:pt x="0" y="58"/>
                    <a:pt x="0" y="58"/>
                    <a:pt x="0" y="58"/>
                  </a:cubicBezTo>
                  <a:cubicBezTo>
                    <a:pt x="1" y="58"/>
                    <a:pt x="5" y="58"/>
                    <a:pt x="9" y="56"/>
                  </a:cubicBezTo>
                  <a:cubicBezTo>
                    <a:pt x="12" y="56"/>
                    <a:pt x="14" y="55"/>
                    <a:pt x="16" y="53"/>
                  </a:cubicBezTo>
                  <a:cubicBezTo>
                    <a:pt x="18" y="52"/>
                    <a:pt x="19" y="50"/>
                    <a:pt x="20" y="47"/>
                  </a:cubicBezTo>
                  <a:cubicBezTo>
                    <a:pt x="21" y="42"/>
                    <a:pt x="23" y="31"/>
                    <a:pt x="24" y="20"/>
                  </a:cubicBezTo>
                  <a:cubicBezTo>
                    <a:pt x="26" y="10"/>
                    <a:pt x="27" y="0"/>
                    <a:pt x="27" y="0"/>
                  </a:cubicBezTo>
                  <a:cubicBezTo>
                    <a:pt x="23" y="0"/>
                    <a:pt x="23" y="0"/>
                    <a:pt x="23" y="0"/>
                  </a:cubicBezTo>
                  <a:cubicBezTo>
                    <a:pt x="23" y="0"/>
                    <a:pt x="23" y="2"/>
                    <a:pt x="23" y="6"/>
                  </a:cubicBezTo>
                  <a:cubicBezTo>
                    <a:pt x="22" y="11"/>
                    <a:pt x="21" y="20"/>
                    <a:pt x="19" y="27"/>
                  </a:cubicBezTo>
                  <a:cubicBezTo>
                    <a:pt x="18" y="35"/>
                    <a:pt x="17" y="43"/>
                    <a:pt x="16" y="46"/>
                  </a:cubicBezTo>
                  <a:cubicBezTo>
                    <a:pt x="16" y="48"/>
                    <a:pt x="15" y="49"/>
                    <a:pt x="13" y="50"/>
                  </a:cubicBezTo>
                  <a:cubicBezTo>
                    <a:pt x="11" y="52"/>
                    <a:pt x="8" y="53"/>
                    <a:pt x="6" y="53"/>
                  </a:cubicBezTo>
                  <a:cubicBezTo>
                    <a:pt x="3" y="54"/>
                    <a:pt x="1" y="54"/>
                    <a:pt x="0" y="54"/>
                  </a:cubicBezTo>
                  <a:cubicBezTo>
                    <a:pt x="0" y="54"/>
                    <a:pt x="0" y="54"/>
                    <a:pt x="0" y="54"/>
                  </a:cubicBezTo>
                  <a:cubicBezTo>
                    <a:pt x="0" y="58"/>
                    <a:pt x="0" y="58"/>
                    <a:pt x="0" y="58"/>
                  </a:cubicBezTo>
                  <a:close/>
                </a:path>
              </a:pathLst>
            </a:custGeom>
            <a:solidFill>
              <a:srgbClr val="025FB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46" name="Freeform 260"/>
            <p:cNvSpPr/>
            <p:nvPr userDrawn="1"/>
          </p:nvSpPr>
          <p:spPr bwMode="auto">
            <a:xfrm>
              <a:off x="2529846" y="4366545"/>
              <a:ext cx="59806" cy="250855"/>
            </a:xfrm>
            <a:custGeom>
              <a:avLst/>
              <a:gdLst>
                <a:gd name="T0" fmla="*/ 0 w 36"/>
                <a:gd name="T1" fmla="*/ 1 h 151"/>
                <a:gd name="T2" fmla="*/ 29 w 36"/>
                <a:gd name="T3" fmla="*/ 151 h 151"/>
                <a:gd name="T4" fmla="*/ 36 w 36"/>
                <a:gd name="T5" fmla="*/ 150 h 151"/>
                <a:gd name="T6" fmla="*/ 6 w 36"/>
                <a:gd name="T7" fmla="*/ 0 h 151"/>
                <a:gd name="T8" fmla="*/ 0 w 36"/>
                <a:gd name="T9" fmla="*/ 1 h 151"/>
              </a:gdLst>
              <a:ahLst/>
              <a:cxnLst>
                <a:cxn ang="0">
                  <a:pos x="T0" y="T1"/>
                </a:cxn>
                <a:cxn ang="0">
                  <a:pos x="T2" y="T3"/>
                </a:cxn>
                <a:cxn ang="0">
                  <a:pos x="T4" y="T5"/>
                </a:cxn>
                <a:cxn ang="0">
                  <a:pos x="T6" y="T7"/>
                </a:cxn>
                <a:cxn ang="0">
                  <a:pos x="T8" y="T9"/>
                </a:cxn>
              </a:cxnLst>
              <a:rect l="0" t="0" r="r" b="b"/>
              <a:pathLst>
                <a:path w="36" h="151">
                  <a:moveTo>
                    <a:pt x="0" y="1"/>
                  </a:moveTo>
                  <a:lnTo>
                    <a:pt x="29" y="151"/>
                  </a:lnTo>
                  <a:lnTo>
                    <a:pt x="36" y="150"/>
                  </a:lnTo>
                  <a:lnTo>
                    <a:pt x="6" y="0"/>
                  </a:lnTo>
                  <a:lnTo>
                    <a:pt x="0" y="1"/>
                  </a:ln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36" name="Freeform 250"/>
            <p:cNvSpPr/>
            <p:nvPr userDrawn="1"/>
          </p:nvSpPr>
          <p:spPr bwMode="auto">
            <a:xfrm>
              <a:off x="1657669" y="4745320"/>
              <a:ext cx="162806" cy="106323"/>
            </a:xfrm>
            <a:custGeom>
              <a:avLst/>
              <a:gdLst>
                <a:gd name="T0" fmla="*/ 0 w 63"/>
                <a:gd name="T1" fmla="*/ 41 h 41"/>
                <a:gd name="T2" fmla="*/ 17 w 63"/>
                <a:gd name="T3" fmla="*/ 40 h 41"/>
                <a:gd name="T4" fmla="*/ 31 w 63"/>
                <a:gd name="T5" fmla="*/ 38 h 41"/>
                <a:gd name="T6" fmla="*/ 41 w 63"/>
                <a:gd name="T7" fmla="*/ 36 h 41"/>
                <a:gd name="T8" fmla="*/ 41 w 63"/>
                <a:gd name="T9" fmla="*/ 36 h 41"/>
                <a:gd name="T10" fmla="*/ 45 w 63"/>
                <a:gd name="T11" fmla="*/ 33 h 41"/>
                <a:gd name="T12" fmla="*/ 57 w 63"/>
                <a:gd name="T13" fmla="*/ 14 h 41"/>
                <a:gd name="T14" fmla="*/ 63 w 63"/>
                <a:gd name="T15" fmla="*/ 1 h 41"/>
                <a:gd name="T16" fmla="*/ 59 w 63"/>
                <a:gd name="T17" fmla="*/ 0 h 41"/>
                <a:gd name="T18" fmla="*/ 59 w 63"/>
                <a:gd name="T19" fmla="*/ 1 h 41"/>
                <a:gd name="T20" fmla="*/ 50 w 63"/>
                <a:gd name="T21" fmla="*/ 18 h 41"/>
                <a:gd name="T22" fmla="*/ 45 w 63"/>
                <a:gd name="T23" fmla="*/ 27 h 41"/>
                <a:gd name="T24" fmla="*/ 40 w 63"/>
                <a:gd name="T25" fmla="*/ 32 h 41"/>
                <a:gd name="T26" fmla="*/ 40 w 63"/>
                <a:gd name="T27" fmla="*/ 32 h 41"/>
                <a:gd name="T28" fmla="*/ 30 w 63"/>
                <a:gd name="T29" fmla="*/ 34 h 41"/>
                <a:gd name="T30" fmla="*/ 10 w 63"/>
                <a:gd name="T31" fmla="*/ 36 h 41"/>
                <a:gd name="T32" fmla="*/ 0 w 63"/>
                <a:gd name="T33" fmla="*/ 37 h 41"/>
                <a:gd name="T34" fmla="*/ 0 w 63"/>
                <a:gd name="T3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41">
                  <a:moveTo>
                    <a:pt x="0" y="41"/>
                  </a:moveTo>
                  <a:cubicBezTo>
                    <a:pt x="0" y="41"/>
                    <a:pt x="8" y="41"/>
                    <a:pt x="17" y="40"/>
                  </a:cubicBezTo>
                  <a:cubicBezTo>
                    <a:pt x="22" y="39"/>
                    <a:pt x="26" y="39"/>
                    <a:pt x="31" y="38"/>
                  </a:cubicBezTo>
                  <a:cubicBezTo>
                    <a:pt x="35" y="37"/>
                    <a:pt x="39" y="37"/>
                    <a:pt x="41" y="36"/>
                  </a:cubicBezTo>
                  <a:cubicBezTo>
                    <a:pt x="41" y="36"/>
                    <a:pt x="41" y="36"/>
                    <a:pt x="41" y="36"/>
                  </a:cubicBezTo>
                  <a:cubicBezTo>
                    <a:pt x="43" y="35"/>
                    <a:pt x="44" y="34"/>
                    <a:pt x="45" y="33"/>
                  </a:cubicBezTo>
                  <a:cubicBezTo>
                    <a:pt x="49" y="29"/>
                    <a:pt x="54" y="21"/>
                    <a:pt x="57" y="14"/>
                  </a:cubicBezTo>
                  <a:cubicBezTo>
                    <a:pt x="60" y="7"/>
                    <a:pt x="63" y="1"/>
                    <a:pt x="63" y="1"/>
                  </a:cubicBezTo>
                  <a:cubicBezTo>
                    <a:pt x="59" y="0"/>
                    <a:pt x="59" y="0"/>
                    <a:pt x="59" y="0"/>
                  </a:cubicBezTo>
                  <a:cubicBezTo>
                    <a:pt x="59" y="0"/>
                    <a:pt x="59" y="0"/>
                    <a:pt x="59" y="1"/>
                  </a:cubicBezTo>
                  <a:cubicBezTo>
                    <a:pt x="57" y="4"/>
                    <a:pt x="54" y="11"/>
                    <a:pt x="50" y="18"/>
                  </a:cubicBezTo>
                  <a:cubicBezTo>
                    <a:pt x="49" y="21"/>
                    <a:pt x="47" y="25"/>
                    <a:pt x="45" y="27"/>
                  </a:cubicBezTo>
                  <a:cubicBezTo>
                    <a:pt x="43" y="30"/>
                    <a:pt x="41" y="32"/>
                    <a:pt x="40" y="32"/>
                  </a:cubicBezTo>
                  <a:cubicBezTo>
                    <a:pt x="40" y="32"/>
                    <a:pt x="40" y="32"/>
                    <a:pt x="40" y="32"/>
                  </a:cubicBezTo>
                  <a:cubicBezTo>
                    <a:pt x="38" y="33"/>
                    <a:pt x="34" y="33"/>
                    <a:pt x="30" y="34"/>
                  </a:cubicBezTo>
                  <a:cubicBezTo>
                    <a:pt x="24" y="35"/>
                    <a:pt x="16" y="36"/>
                    <a:pt x="10" y="36"/>
                  </a:cubicBezTo>
                  <a:cubicBezTo>
                    <a:pt x="4" y="37"/>
                    <a:pt x="0" y="37"/>
                    <a:pt x="0" y="37"/>
                  </a:cubicBezTo>
                  <a:cubicBezTo>
                    <a:pt x="0" y="41"/>
                    <a:pt x="0" y="41"/>
                    <a:pt x="0" y="41"/>
                  </a:cubicBezTo>
                  <a:close/>
                </a:path>
              </a:pathLst>
            </a:custGeom>
            <a:solidFill>
              <a:srgbClr val="4378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47" name="Freeform 261"/>
            <p:cNvSpPr/>
            <p:nvPr userDrawn="1"/>
          </p:nvSpPr>
          <p:spPr bwMode="auto">
            <a:xfrm>
              <a:off x="2529846" y="4366545"/>
              <a:ext cx="59806" cy="250855"/>
            </a:xfrm>
            <a:custGeom>
              <a:avLst/>
              <a:gdLst>
                <a:gd name="T0" fmla="*/ 0 w 36"/>
                <a:gd name="T1" fmla="*/ 1 h 151"/>
                <a:gd name="T2" fmla="*/ 29 w 36"/>
                <a:gd name="T3" fmla="*/ 151 h 151"/>
                <a:gd name="T4" fmla="*/ 36 w 36"/>
                <a:gd name="T5" fmla="*/ 150 h 151"/>
                <a:gd name="T6" fmla="*/ 6 w 36"/>
                <a:gd name="T7" fmla="*/ 0 h 151"/>
              </a:gdLst>
              <a:ahLst/>
              <a:cxnLst>
                <a:cxn ang="0">
                  <a:pos x="T0" y="T1"/>
                </a:cxn>
                <a:cxn ang="0">
                  <a:pos x="T2" y="T3"/>
                </a:cxn>
                <a:cxn ang="0">
                  <a:pos x="T4" y="T5"/>
                </a:cxn>
                <a:cxn ang="0">
                  <a:pos x="T6" y="T7"/>
                </a:cxn>
              </a:cxnLst>
              <a:rect l="0" t="0" r="r" b="b"/>
              <a:pathLst>
                <a:path w="36" h="151">
                  <a:moveTo>
                    <a:pt x="0" y="1"/>
                  </a:moveTo>
                  <a:lnTo>
                    <a:pt x="29" y="151"/>
                  </a:lnTo>
                  <a:lnTo>
                    <a:pt x="36" y="15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27" name="Rectangle 242"/>
            <p:cNvSpPr>
              <a:spLocks noChangeArrowheads="1"/>
            </p:cNvSpPr>
            <p:nvPr userDrawn="1"/>
          </p:nvSpPr>
          <p:spPr bwMode="auto">
            <a:xfrm>
              <a:off x="1380233" y="6230513"/>
              <a:ext cx="397049" cy="14952"/>
            </a:xfrm>
            <a:prstGeom prst="rect">
              <a:avLst/>
            </a:prstGeom>
            <a:solidFill>
              <a:srgbClr val="FFAC0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28" name="Freeform 243"/>
            <p:cNvSpPr/>
            <p:nvPr userDrawn="1"/>
          </p:nvSpPr>
          <p:spPr bwMode="auto">
            <a:xfrm>
              <a:off x="1380233" y="6087642"/>
              <a:ext cx="397049" cy="142871"/>
            </a:xfrm>
            <a:custGeom>
              <a:avLst/>
              <a:gdLst>
                <a:gd name="T0" fmla="*/ 28 w 153"/>
                <a:gd name="T1" fmla="*/ 0 h 55"/>
                <a:gd name="T2" fmla="*/ 15 w 153"/>
                <a:gd name="T3" fmla="*/ 3 h 55"/>
                <a:gd name="T4" fmla="*/ 5 w 153"/>
                <a:gd name="T5" fmla="*/ 30 h 55"/>
                <a:gd name="T6" fmla="*/ 0 w 153"/>
                <a:gd name="T7" fmla="*/ 55 h 55"/>
                <a:gd name="T8" fmla="*/ 153 w 153"/>
                <a:gd name="T9" fmla="*/ 55 h 55"/>
                <a:gd name="T10" fmla="*/ 114 w 153"/>
                <a:gd name="T11" fmla="*/ 21 h 55"/>
                <a:gd name="T12" fmla="*/ 94 w 153"/>
                <a:gd name="T13" fmla="*/ 4 h 55"/>
                <a:gd name="T14" fmla="*/ 28 w 153"/>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55">
                  <a:moveTo>
                    <a:pt x="28" y="0"/>
                  </a:moveTo>
                  <a:cubicBezTo>
                    <a:pt x="15" y="3"/>
                    <a:pt x="15" y="3"/>
                    <a:pt x="15" y="3"/>
                  </a:cubicBezTo>
                  <a:cubicBezTo>
                    <a:pt x="15" y="3"/>
                    <a:pt x="7" y="20"/>
                    <a:pt x="5" y="30"/>
                  </a:cubicBezTo>
                  <a:cubicBezTo>
                    <a:pt x="1" y="42"/>
                    <a:pt x="0" y="55"/>
                    <a:pt x="0" y="55"/>
                  </a:cubicBezTo>
                  <a:cubicBezTo>
                    <a:pt x="153" y="55"/>
                    <a:pt x="153" y="55"/>
                    <a:pt x="153" y="55"/>
                  </a:cubicBezTo>
                  <a:cubicBezTo>
                    <a:pt x="153" y="55"/>
                    <a:pt x="149" y="42"/>
                    <a:pt x="114" y="21"/>
                  </a:cubicBezTo>
                  <a:cubicBezTo>
                    <a:pt x="100" y="13"/>
                    <a:pt x="94" y="4"/>
                    <a:pt x="94" y="4"/>
                  </a:cubicBezTo>
                  <a:lnTo>
                    <a:pt x="28" y="0"/>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29" name="Freeform 244"/>
            <p:cNvSpPr/>
            <p:nvPr userDrawn="1"/>
          </p:nvSpPr>
          <p:spPr bwMode="auto">
            <a:xfrm>
              <a:off x="1418443" y="5909884"/>
              <a:ext cx="277436" cy="206000"/>
            </a:xfrm>
            <a:custGeom>
              <a:avLst/>
              <a:gdLst>
                <a:gd name="T0" fmla="*/ 21 w 107"/>
                <a:gd name="T1" fmla="*/ 7 h 80"/>
                <a:gd name="T2" fmla="*/ 0 w 107"/>
                <a:gd name="T3" fmla="*/ 72 h 80"/>
                <a:gd name="T4" fmla="*/ 31 w 107"/>
                <a:gd name="T5" fmla="*/ 80 h 80"/>
                <a:gd name="T6" fmla="*/ 79 w 107"/>
                <a:gd name="T7" fmla="*/ 73 h 80"/>
                <a:gd name="T8" fmla="*/ 107 w 107"/>
                <a:gd name="T9" fmla="*/ 0 h 80"/>
              </a:gdLst>
              <a:ahLst/>
              <a:cxnLst>
                <a:cxn ang="0">
                  <a:pos x="T0" y="T1"/>
                </a:cxn>
                <a:cxn ang="0">
                  <a:pos x="T2" y="T3"/>
                </a:cxn>
                <a:cxn ang="0">
                  <a:pos x="T4" y="T5"/>
                </a:cxn>
                <a:cxn ang="0">
                  <a:pos x="T6" y="T7"/>
                </a:cxn>
                <a:cxn ang="0">
                  <a:pos x="T8" y="T9"/>
                </a:cxn>
              </a:cxnLst>
              <a:rect l="0" t="0" r="r" b="b"/>
              <a:pathLst>
                <a:path w="107" h="80">
                  <a:moveTo>
                    <a:pt x="21" y="7"/>
                  </a:moveTo>
                  <a:cubicBezTo>
                    <a:pt x="0" y="72"/>
                    <a:pt x="0" y="72"/>
                    <a:pt x="0" y="72"/>
                  </a:cubicBezTo>
                  <a:cubicBezTo>
                    <a:pt x="0" y="72"/>
                    <a:pt x="6" y="80"/>
                    <a:pt x="31" y="80"/>
                  </a:cubicBezTo>
                  <a:cubicBezTo>
                    <a:pt x="56" y="80"/>
                    <a:pt x="79" y="73"/>
                    <a:pt x="79" y="73"/>
                  </a:cubicBezTo>
                  <a:cubicBezTo>
                    <a:pt x="107" y="0"/>
                    <a:pt x="107" y="0"/>
                    <a:pt x="107" y="0"/>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04" name="Oval 6"/>
            <p:cNvSpPr>
              <a:spLocks noChangeArrowheads="1"/>
            </p:cNvSpPr>
            <p:nvPr userDrawn="1"/>
          </p:nvSpPr>
          <p:spPr bwMode="auto">
            <a:xfrm>
              <a:off x="1021394" y="4755052"/>
              <a:ext cx="142871" cy="146194"/>
            </a:xfrm>
            <a:prstGeom prst="ellipse">
              <a:avLst/>
            </a:prstGeom>
            <a:solidFill>
              <a:srgbClr val="D7F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72" name="Rectangle 50"/>
            <p:cNvSpPr>
              <a:spLocks noChangeArrowheads="1"/>
            </p:cNvSpPr>
            <p:nvPr userDrawn="1"/>
          </p:nvSpPr>
          <p:spPr bwMode="auto">
            <a:xfrm>
              <a:off x="1330394" y="5278594"/>
              <a:ext cx="9968" cy="63129"/>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73" name="Freeform 51"/>
            <p:cNvSpPr/>
            <p:nvPr userDrawn="1"/>
          </p:nvSpPr>
          <p:spPr bwMode="auto">
            <a:xfrm>
              <a:off x="1330394" y="5278594"/>
              <a:ext cx="9968" cy="63129"/>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74" name="Rectangle 52"/>
            <p:cNvSpPr>
              <a:spLocks noChangeArrowheads="1"/>
            </p:cNvSpPr>
            <p:nvPr userDrawn="1"/>
          </p:nvSpPr>
          <p:spPr bwMode="auto">
            <a:xfrm>
              <a:off x="1305475" y="5305175"/>
              <a:ext cx="58146"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75" name="Freeform 53"/>
            <p:cNvSpPr/>
            <p:nvPr userDrawn="1"/>
          </p:nvSpPr>
          <p:spPr bwMode="auto">
            <a:xfrm>
              <a:off x="1305475" y="5305175"/>
              <a:ext cx="58146" cy="9968"/>
            </a:xfrm>
            <a:custGeom>
              <a:avLst/>
              <a:gdLst>
                <a:gd name="T0" fmla="*/ 35 w 35"/>
                <a:gd name="T1" fmla="*/ 0 h 6"/>
                <a:gd name="T2" fmla="*/ 0 w 35"/>
                <a:gd name="T3" fmla="*/ 0 h 6"/>
                <a:gd name="T4" fmla="*/ 0 w 35"/>
                <a:gd name="T5" fmla="*/ 6 h 6"/>
                <a:gd name="T6" fmla="*/ 35 w 35"/>
                <a:gd name="T7" fmla="*/ 6 h 6"/>
              </a:gdLst>
              <a:ahLst/>
              <a:cxnLst>
                <a:cxn ang="0">
                  <a:pos x="T0" y="T1"/>
                </a:cxn>
                <a:cxn ang="0">
                  <a:pos x="T2" y="T3"/>
                </a:cxn>
                <a:cxn ang="0">
                  <a:pos x="T4" y="T5"/>
                </a:cxn>
                <a:cxn ang="0">
                  <a:pos x="T6" y="T7"/>
                </a:cxn>
              </a:cxnLst>
              <a:rect l="0" t="0" r="r" b="b"/>
              <a:pathLst>
                <a:path w="35" h="6">
                  <a:moveTo>
                    <a:pt x="35" y="0"/>
                  </a:moveTo>
                  <a:lnTo>
                    <a:pt x="0" y="0"/>
                  </a:lnTo>
                  <a:lnTo>
                    <a:pt x="0" y="6"/>
                  </a:lnTo>
                  <a:lnTo>
                    <a:pt x="35"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30" name="Freeform 245"/>
            <p:cNvSpPr/>
            <p:nvPr userDrawn="1"/>
          </p:nvSpPr>
          <p:spPr bwMode="auto">
            <a:xfrm>
              <a:off x="1380233" y="4620723"/>
              <a:ext cx="694419" cy="1428709"/>
            </a:xfrm>
            <a:custGeom>
              <a:avLst/>
              <a:gdLst>
                <a:gd name="T0" fmla="*/ 89 w 268"/>
                <a:gd name="T1" fmla="*/ 50 h 551"/>
                <a:gd name="T2" fmla="*/ 91 w 268"/>
                <a:gd name="T3" fmla="*/ 129 h 551"/>
                <a:gd name="T4" fmla="*/ 68 w 268"/>
                <a:gd name="T5" fmla="*/ 288 h 551"/>
                <a:gd name="T6" fmla="*/ 0 w 268"/>
                <a:gd name="T7" fmla="*/ 549 h 551"/>
                <a:gd name="T8" fmla="*/ 134 w 268"/>
                <a:gd name="T9" fmla="*/ 551 h 551"/>
                <a:gd name="T10" fmla="*/ 219 w 268"/>
                <a:gd name="T11" fmla="*/ 318 h 551"/>
                <a:gd name="T12" fmla="*/ 268 w 268"/>
                <a:gd name="T13" fmla="*/ 0 h 551"/>
              </a:gdLst>
              <a:ahLst/>
              <a:cxnLst>
                <a:cxn ang="0">
                  <a:pos x="T0" y="T1"/>
                </a:cxn>
                <a:cxn ang="0">
                  <a:pos x="T2" y="T3"/>
                </a:cxn>
                <a:cxn ang="0">
                  <a:pos x="T4" y="T5"/>
                </a:cxn>
                <a:cxn ang="0">
                  <a:pos x="T6" y="T7"/>
                </a:cxn>
                <a:cxn ang="0">
                  <a:pos x="T8" y="T9"/>
                </a:cxn>
                <a:cxn ang="0">
                  <a:pos x="T10" y="T11"/>
                </a:cxn>
                <a:cxn ang="0">
                  <a:pos x="T12" y="T13"/>
                </a:cxn>
              </a:cxnLst>
              <a:rect l="0" t="0" r="r" b="b"/>
              <a:pathLst>
                <a:path w="268" h="551">
                  <a:moveTo>
                    <a:pt x="89" y="50"/>
                  </a:moveTo>
                  <a:cubicBezTo>
                    <a:pt x="76" y="90"/>
                    <a:pt x="91" y="129"/>
                    <a:pt x="91" y="129"/>
                  </a:cubicBezTo>
                  <a:cubicBezTo>
                    <a:pt x="68" y="288"/>
                    <a:pt x="68" y="288"/>
                    <a:pt x="68" y="288"/>
                  </a:cubicBezTo>
                  <a:cubicBezTo>
                    <a:pt x="0" y="549"/>
                    <a:pt x="0" y="549"/>
                    <a:pt x="0" y="549"/>
                  </a:cubicBezTo>
                  <a:cubicBezTo>
                    <a:pt x="134" y="551"/>
                    <a:pt x="134" y="551"/>
                    <a:pt x="134" y="551"/>
                  </a:cubicBezTo>
                  <a:cubicBezTo>
                    <a:pt x="134" y="551"/>
                    <a:pt x="193" y="384"/>
                    <a:pt x="219" y="318"/>
                  </a:cubicBezTo>
                  <a:cubicBezTo>
                    <a:pt x="251" y="238"/>
                    <a:pt x="268" y="0"/>
                    <a:pt x="268" y="0"/>
                  </a:cubicBezTo>
                </a:path>
              </a:pathLst>
            </a:custGeom>
            <a:solidFill>
              <a:srgbClr val="103B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39" name="Rectangle 253"/>
            <p:cNvSpPr>
              <a:spLocks noChangeArrowheads="1"/>
            </p:cNvSpPr>
            <p:nvPr userDrawn="1"/>
          </p:nvSpPr>
          <p:spPr bwMode="auto">
            <a:xfrm>
              <a:off x="1398508" y="5976336"/>
              <a:ext cx="355516" cy="9968"/>
            </a:xfrm>
            <a:prstGeom prst="rect">
              <a:avLst/>
            </a:prstGeom>
            <a:solidFill>
              <a:srgbClr val="4378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40" name="Freeform 254"/>
            <p:cNvSpPr/>
            <p:nvPr userDrawn="1"/>
          </p:nvSpPr>
          <p:spPr bwMode="auto">
            <a:xfrm>
              <a:off x="1398508" y="5976336"/>
              <a:ext cx="355516" cy="9968"/>
            </a:xfrm>
            <a:custGeom>
              <a:avLst/>
              <a:gdLst>
                <a:gd name="T0" fmla="*/ 0 w 214"/>
                <a:gd name="T1" fmla="*/ 6 h 6"/>
                <a:gd name="T2" fmla="*/ 214 w 214"/>
                <a:gd name="T3" fmla="*/ 6 h 6"/>
                <a:gd name="T4" fmla="*/ 214 w 214"/>
                <a:gd name="T5" fmla="*/ 0 h 6"/>
                <a:gd name="T6" fmla="*/ 0 w 214"/>
                <a:gd name="T7" fmla="*/ 0 h 6"/>
              </a:gdLst>
              <a:ahLst/>
              <a:cxnLst>
                <a:cxn ang="0">
                  <a:pos x="T0" y="T1"/>
                </a:cxn>
                <a:cxn ang="0">
                  <a:pos x="T2" y="T3"/>
                </a:cxn>
                <a:cxn ang="0">
                  <a:pos x="T4" y="T5"/>
                </a:cxn>
                <a:cxn ang="0">
                  <a:pos x="T6" y="T7"/>
                </a:cxn>
              </a:cxnLst>
              <a:rect l="0" t="0" r="r" b="b"/>
              <a:pathLst>
                <a:path w="214" h="6">
                  <a:moveTo>
                    <a:pt x="0" y="6"/>
                  </a:moveTo>
                  <a:lnTo>
                    <a:pt x="214" y="6"/>
                  </a:lnTo>
                  <a:lnTo>
                    <a:pt x="2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34" name="Freeform 249"/>
            <p:cNvSpPr/>
            <p:nvPr userDrawn="1"/>
          </p:nvSpPr>
          <p:spPr bwMode="auto">
            <a:xfrm>
              <a:off x="1435056" y="4773562"/>
              <a:ext cx="249194" cy="1270887"/>
            </a:xfrm>
            <a:custGeom>
              <a:avLst/>
              <a:gdLst>
                <a:gd name="T0" fmla="*/ 3 w 96"/>
                <a:gd name="T1" fmla="*/ 490 h 490"/>
                <a:gd name="T2" fmla="*/ 74 w 96"/>
                <a:gd name="T3" fmla="*/ 229 h 490"/>
                <a:gd name="T4" fmla="*/ 74 w 96"/>
                <a:gd name="T5" fmla="*/ 229 h 490"/>
                <a:gd name="T6" fmla="*/ 96 w 96"/>
                <a:gd name="T7" fmla="*/ 76 h 490"/>
                <a:gd name="T8" fmla="*/ 96 w 96"/>
                <a:gd name="T9" fmla="*/ 72 h 490"/>
                <a:gd name="T10" fmla="*/ 95 w 96"/>
                <a:gd name="T11" fmla="*/ 63 h 490"/>
                <a:gd name="T12" fmla="*/ 87 w 96"/>
                <a:gd name="T13" fmla="*/ 25 h 490"/>
                <a:gd name="T14" fmla="*/ 92 w 96"/>
                <a:gd name="T15" fmla="*/ 2 h 490"/>
                <a:gd name="T16" fmla="*/ 88 w 96"/>
                <a:gd name="T17" fmla="*/ 0 h 490"/>
                <a:gd name="T18" fmla="*/ 83 w 96"/>
                <a:gd name="T19" fmla="*/ 25 h 490"/>
                <a:gd name="T20" fmla="*/ 91 w 96"/>
                <a:gd name="T21" fmla="*/ 64 h 490"/>
                <a:gd name="T22" fmla="*/ 92 w 96"/>
                <a:gd name="T23" fmla="*/ 72 h 490"/>
                <a:gd name="T24" fmla="*/ 92 w 96"/>
                <a:gd name="T25" fmla="*/ 76 h 490"/>
                <a:gd name="T26" fmla="*/ 71 w 96"/>
                <a:gd name="T27" fmla="*/ 229 h 490"/>
                <a:gd name="T28" fmla="*/ 0 w 96"/>
                <a:gd name="T29" fmla="*/ 489 h 490"/>
                <a:gd name="T30" fmla="*/ 3 w 96"/>
                <a:gd name="T31" fmla="*/ 49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90">
                  <a:moveTo>
                    <a:pt x="3" y="490"/>
                  </a:moveTo>
                  <a:cubicBezTo>
                    <a:pt x="74" y="229"/>
                    <a:pt x="74" y="229"/>
                    <a:pt x="74" y="229"/>
                  </a:cubicBezTo>
                  <a:cubicBezTo>
                    <a:pt x="74" y="229"/>
                    <a:pt x="74" y="229"/>
                    <a:pt x="74" y="229"/>
                  </a:cubicBezTo>
                  <a:cubicBezTo>
                    <a:pt x="96" y="76"/>
                    <a:pt x="96" y="76"/>
                    <a:pt x="96" y="76"/>
                  </a:cubicBezTo>
                  <a:cubicBezTo>
                    <a:pt x="96" y="75"/>
                    <a:pt x="96" y="74"/>
                    <a:pt x="96" y="72"/>
                  </a:cubicBezTo>
                  <a:cubicBezTo>
                    <a:pt x="96" y="69"/>
                    <a:pt x="96" y="66"/>
                    <a:pt x="95" y="63"/>
                  </a:cubicBezTo>
                  <a:cubicBezTo>
                    <a:pt x="92" y="55"/>
                    <a:pt x="87" y="40"/>
                    <a:pt x="87" y="25"/>
                  </a:cubicBezTo>
                  <a:cubicBezTo>
                    <a:pt x="87" y="17"/>
                    <a:pt x="88" y="9"/>
                    <a:pt x="92" y="2"/>
                  </a:cubicBezTo>
                  <a:cubicBezTo>
                    <a:pt x="88" y="0"/>
                    <a:pt x="88" y="0"/>
                    <a:pt x="88" y="0"/>
                  </a:cubicBezTo>
                  <a:cubicBezTo>
                    <a:pt x="84" y="8"/>
                    <a:pt x="83" y="16"/>
                    <a:pt x="83" y="25"/>
                  </a:cubicBezTo>
                  <a:cubicBezTo>
                    <a:pt x="83" y="41"/>
                    <a:pt x="88" y="56"/>
                    <a:pt x="91" y="64"/>
                  </a:cubicBezTo>
                  <a:cubicBezTo>
                    <a:pt x="92" y="67"/>
                    <a:pt x="92" y="69"/>
                    <a:pt x="92" y="72"/>
                  </a:cubicBezTo>
                  <a:cubicBezTo>
                    <a:pt x="92" y="73"/>
                    <a:pt x="92" y="75"/>
                    <a:pt x="92" y="76"/>
                  </a:cubicBezTo>
                  <a:cubicBezTo>
                    <a:pt x="71" y="229"/>
                    <a:pt x="71" y="229"/>
                    <a:pt x="71" y="229"/>
                  </a:cubicBezTo>
                  <a:cubicBezTo>
                    <a:pt x="0" y="489"/>
                    <a:pt x="0" y="489"/>
                    <a:pt x="0" y="489"/>
                  </a:cubicBezTo>
                  <a:cubicBezTo>
                    <a:pt x="3" y="490"/>
                    <a:pt x="3" y="490"/>
                    <a:pt x="3" y="490"/>
                  </a:cubicBezTo>
                  <a:close/>
                </a:path>
              </a:pathLst>
            </a:custGeom>
            <a:solidFill>
              <a:srgbClr val="4378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48" name="Freeform 26"/>
            <p:cNvSpPr/>
            <p:nvPr userDrawn="1"/>
          </p:nvSpPr>
          <p:spPr bwMode="auto">
            <a:xfrm>
              <a:off x="1084523" y="3764923"/>
              <a:ext cx="440242" cy="440242"/>
            </a:xfrm>
            <a:custGeom>
              <a:avLst/>
              <a:gdLst>
                <a:gd name="T0" fmla="*/ 154 w 170"/>
                <a:gd name="T1" fmla="*/ 170 h 170"/>
                <a:gd name="T2" fmla="*/ 16 w 170"/>
                <a:gd name="T3" fmla="*/ 170 h 170"/>
                <a:gd name="T4" fmla="*/ 0 w 170"/>
                <a:gd name="T5" fmla="*/ 154 h 170"/>
                <a:gd name="T6" fmla="*/ 0 w 170"/>
                <a:gd name="T7" fmla="*/ 17 h 170"/>
                <a:gd name="T8" fmla="*/ 16 w 170"/>
                <a:gd name="T9" fmla="*/ 0 h 170"/>
                <a:gd name="T10" fmla="*/ 154 w 170"/>
                <a:gd name="T11" fmla="*/ 0 h 170"/>
                <a:gd name="T12" fmla="*/ 170 w 170"/>
                <a:gd name="T13" fmla="*/ 17 h 170"/>
                <a:gd name="T14" fmla="*/ 170 w 170"/>
                <a:gd name="T15" fmla="*/ 154 h 170"/>
                <a:gd name="T16" fmla="*/ 154 w 170"/>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170">
                  <a:moveTo>
                    <a:pt x="154" y="170"/>
                  </a:moveTo>
                  <a:cubicBezTo>
                    <a:pt x="16" y="170"/>
                    <a:pt x="16" y="170"/>
                    <a:pt x="16" y="170"/>
                  </a:cubicBezTo>
                  <a:cubicBezTo>
                    <a:pt x="7" y="170"/>
                    <a:pt x="0" y="163"/>
                    <a:pt x="0" y="154"/>
                  </a:cubicBezTo>
                  <a:cubicBezTo>
                    <a:pt x="0" y="17"/>
                    <a:pt x="0" y="17"/>
                    <a:pt x="0" y="17"/>
                  </a:cubicBezTo>
                  <a:cubicBezTo>
                    <a:pt x="0" y="8"/>
                    <a:pt x="7" y="0"/>
                    <a:pt x="16" y="0"/>
                  </a:cubicBezTo>
                  <a:cubicBezTo>
                    <a:pt x="154" y="0"/>
                    <a:pt x="154" y="0"/>
                    <a:pt x="154" y="0"/>
                  </a:cubicBezTo>
                  <a:cubicBezTo>
                    <a:pt x="163" y="0"/>
                    <a:pt x="170" y="8"/>
                    <a:pt x="170" y="17"/>
                  </a:cubicBezTo>
                  <a:cubicBezTo>
                    <a:pt x="170" y="154"/>
                    <a:pt x="170" y="154"/>
                    <a:pt x="170" y="154"/>
                  </a:cubicBezTo>
                  <a:cubicBezTo>
                    <a:pt x="170" y="163"/>
                    <a:pt x="163" y="170"/>
                    <a:pt x="154" y="170"/>
                  </a:cubicBezTo>
                  <a:close/>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49" name="Freeform 27"/>
            <p:cNvSpPr/>
            <p:nvPr userDrawn="1"/>
          </p:nvSpPr>
          <p:spPr bwMode="auto">
            <a:xfrm>
              <a:off x="1180878" y="3851310"/>
              <a:ext cx="247533" cy="269129"/>
            </a:xfrm>
            <a:custGeom>
              <a:avLst/>
              <a:gdLst>
                <a:gd name="T0" fmla="*/ 149 w 149"/>
                <a:gd name="T1" fmla="*/ 93 h 162"/>
                <a:gd name="T2" fmla="*/ 75 w 149"/>
                <a:gd name="T3" fmla="*/ 0 h 162"/>
                <a:gd name="T4" fmla="*/ 0 w 149"/>
                <a:gd name="T5" fmla="*/ 93 h 162"/>
                <a:gd name="T6" fmla="*/ 42 w 149"/>
                <a:gd name="T7" fmla="*/ 93 h 162"/>
                <a:gd name="T8" fmla="*/ 42 w 149"/>
                <a:gd name="T9" fmla="*/ 162 h 162"/>
                <a:gd name="T10" fmla="*/ 107 w 149"/>
                <a:gd name="T11" fmla="*/ 162 h 162"/>
                <a:gd name="T12" fmla="*/ 107 w 149"/>
                <a:gd name="T13" fmla="*/ 93 h 162"/>
                <a:gd name="T14" fmla="*/ 149 w 149"/>
                <a:gd name="T15" fmla="*/ 93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62">
                  <a:moveTo>
                    <a:pt x="149" y="93"/>
                  </a:moveTo>
                  <a:lnTo>
                    <a:pt x="75" y="0"/>
                  </a:lnTo>
                  <a:lnTo>
                    <a:pt x="0" y="93"/>
                  </a:lnTo>
                  <a:lnTo>
                    <a:pt x="42" y="93"/>
                  </a:lnTo>
                  <a:lnTo>
                    <a:pt x="42" y="162"/>
                  </a:lnTo>
                  <a:lnTo>
                    <a:pt x="107" y="162"/>
                  </a:lnTo>
                  <a:lnTo>
                    <a:pt x="107" y="93"/>
                  </a:lnTo>
                  <a:lnTo>
                    <a:pt x="149" y="9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52" name="Rectangle 30"/>
            <p:cNvSpPr>
              <a:spLocks noChangeArrowheads="1"/>
            </p:cNvSpPr>
            <p:nvPr userDrawn="1"/>
          </p:nvSpPr>
          <p:spPr bwMode="auto">
            <a:xfrm>
              <a:off x="1117749" y="3655278"/>
              <a:ext cx="152839" cy="11630"/>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53" name="Freeform 31"/>
            <p:cNvSpPr/>
            <p:nvPr userDrawn="1"/>
          </p:nvSpPr>
          <p:spPr bwMode="auto">
            <a:xfrm>
              <a:off x="1117749" y="3655278"/>
              <a:ext cx="152839" cy="11630"/>
            </a:xfrm>
            <a:custGeom>
              <a:avLst/>
              <a:gdLst>
                <a:gd name="T0" fmla="*/ 0 w 92"/>
                <a:gd name="T1" fmla="*/ 7 h 7"/>
                <a:gd name="T2" fmla="*/ 92 w 92"/>
                <a:gd name="T3" fmla="*/ 7 h 7"/>
                <a:gd name="T4" fmla="*/ 92 w 92"/>
                <a:gd name="T5" fmla="*/ 0 h 7"/>
                <a:gd name="T6" fmla="*/ 0 w 92"/>
                <a:gd name="T7" fmla="*/ 0 h 7"/>
              </a:gdLst>
              <a:ahLst/>
              <a:cxnLst>
                <a:cxn ang="0">
                  <a:pos x="T0" y="T1"/>
                </a:cxn>
                <a:cxn ang="0">
                  <a:pos x="T2" y="T3"/>
                </a:cxn>
                <a:cxn ang="0">
                  <a:pos x="T4" y="T5"/>
                </a:cxn>
                <a:cxn ang="0">
                  <a:pos x="T6" y="T7"/>
                </a:cxn>
              </a:cxnLst>
              <a:rect l="0" t="0" r="r" b="b"/>
              <a:pathLst>
                <a:path w="92" h="7">
                  <a:moveTo>
                    <a:pt x="0" y="7"/>
                  </a:moveTo>
                  <a:lnTo>
                    <a:pt x="92" y="7"/>
                  </a:lnTo>
                  <a:lnTo>
                    <a:pt x="9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54" name="Rectangle 32"/>
            <p:cNvSpPr>
              <a:spLocks noChangeArrowheads="1"/>
            </p:cNvSpPr>
            <p:nvPr userDrawn="1"/>
          </p:nvSpPr>
          <p:spPr bwMode="auto">
            <a:xfrm>
              <a:off x="983185" y="3655278"/>
              <a:ext cx="83065" cy="11630"/>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55" name="Freeform 33"/>
            <p:cNvSpPr/>
            <p:nvPr userDrawn="1"/>
          </p:nvSpPr>
          <p:spPr bwMode="auto">
            <a:xfrm>
              <a:off x="983185" y="3655278"/>
              <a:ext cx="83065" cy="11630"/>
            </a:xfrm>
            <a:custGeom>
              <a:avLst/>
              <a:gdLst>
                <a:gd name="T0" fmla="*/ 0 w 50"/>
                <a:gd name="T1" fmla="*/ 7 h 7"/>
                <a:gd name="T2" fmla="*/ 50 w 50"/>
                <a:gd name="T3" fmla="*/ 7 h 7"/>
                <a:gd name="T4" fmla="*/ 50 w 50"/>
                <a:gd name="T5" fmla="*/ 0 h 7"/>
                <a:gd name="T6" fmla="*/ 0 w 50"/>
                <a:gd name="T7" fmla="*/ 0 h 7"/>
              </a:gdLst>
              <a:ahLst/>
              <a:cxnLst>
                <a:cxn ang="0">
                  <a:pos x="T0" y="T1"/>
                </a:cxn>
                <a:cxn ang="0">
                  <a:pos x="T2" y="T3"/>
                </a:cxn>
                <a:cxn ang="0">
                  <a:pos x="T4" y="T5"/>
                </a:cxn>
                <a:cxn ang="0">
                  <a:pos x="T6" y="T7"/>
                </a:cxn>
              </a:cxnLst>
              <a:rect l="0" t="0" r="r" b="b"/>
              <a:pathLst>
                <a:path w="50" h="7">
                  <a:moveTo>
                    <a:pt x="0" y="7"/>
                  </a:moveTo>
                  <a:lnTo>
                    <a:pt x="50" y="7"/>
                  </a:lnTo>
                  <a:lnTo>
                    <a:pt x="5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41" name="Freeform 255"/>
            <p:cNvSpPr/>
            <p:nvPr userDrawn="1"/>
          </p:nvSpPr>
          <p:spPr bwMode="auto">
            <a:xfrm>
              <a:off x="1556330" y="3917997"/>
              <a:ext cx="684452" cy="880484"/>
            </a:xfrm>
            <a:custGeom>
              <a:avLst/>
              <a:gdLst>
                <a:gd name="T0" fmla="*/ 149 w 264"/>
                <a:gd name="T1" fmla="*/ 0 h 340"/>
                <a:gd name="T2" fmla="*/ 48 w 264"/>
                <a:gd name="T3" fmla="*/ 95 h 340"/>
                <a:gd name="T4" fmla="*/ 0 w 264"/>
                <a:gd name="T5" fmla="*/ 340 h 340"/>
                <a:gd name="T6" fmla="*/ 264 w 264"/>
                <a:gd name="T7" fmla="*/ 340 h 340"/>
                <a:gd name="T8" fmla="*/ 241 w 264"/>
                <a:gd name="T9" fmla="*/ 82 h 340"/>
                <a:gd name="T10" fmla="*/ 188 w 264"/>
                <a:gd name="T11" fmla="*/ 2 h 340"/>
                <a:gd name="T12" fmla="*/ 149 w 264"/>
                <a:gd name="T13" fmla="*/ 0 h 340"/>
              </a:gdLst>
              <a:ahLst/>
              <a:cxnLst>
                <a:cxn ang="0">
                  <a:pos x="T0" y="T1"/>
                </a:cxn>
                <a:cxn ang="0">
                  <a:pos x="T2" y="T3"/>
                </a:cxn>
                <a:cxn ang="0">
                  <a:pos x="T4" y="T5"/>
                </a:cxn>
                <a:cxn ang="0">
                  <a:pos x="T6" y="T7"/>
                </a:cxn>
                <a:cxn ang="0">
                  <a:pos x="T8" y="T9"/>
                </a:cxn>
                <a:cxn ang="0">
                  <a:pos x="T10" y="T11"/>
                </a:cxn>
                <a:cxn ang="0">
                  <a:pos x="T12" y="T13"/>
                </a:cxn>
              </a:cxnLst>
              <a:rect l="0" t="0" r="r" b="b"/>
              <a:pathLst>
                <a:path w="264" h="340">
                  <a:moveTo>
                    <a:pt x="149" y="0"/>
                  </a:moveTo>
                  <a:cubicBezTo>
                    <a:pt x="149" y="0"/>
                    <a:pt x="83" y="2"/>
                    <a:pt x="48" y="95"/>
                  </a:cubicBezTo>
                  <a:cubicBezTo>
                    <a:pt x="19" y="173"/>
                    <a:pt x="0" y="340"/>
                    <a:pt x="0" y="340"/>
                  </a:cubicBezTo>
                  <a:cubicBezTo>
                    <a:pt x="264" y="340"/>
                    <a:pt x="264" y="340"/>
                    <a:pt x="264" y="340"/>
                  </a:cubicBezTo>
                  <a:cubicBezTo>
                    <a:pt x="264" y="340"/>
                    <a:pt x="262" y="151"/>
                    <a:pt x="241" y="82"/>
                  </a:cubicBezTo>
                  <a:cubicBezTo>
                    <a:pt x="221" y="16"/>
                    <a:pt x="188" y="2"/>
                    <a:pt x="188" y="2"/>
                  </a:cubicBezTo>
                  <a:lnTo>
                    <a:pt x="149" y="0"/>
                  </a:lnTo>
                  <a:close/>
                </a:path>
              </a:pathLst>
            </a:custGeom>
            <a:solidFill>
              <a:srgbClr val="FFAC0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45" name="Freeform 259"/>
            <p:cNvSpPr/>
            <p:nvPr userDrawn="1"/>
          </p:nvSpPr>
          <p:spPr bwMode="auto">
            <a:xfrm>
              <a:off x="1802201" y="4067513"/>
              <a:ext cx="436920" cy="654548"/>
            </a:xfrm>
            <a:custGeom>
              <a:avLst/>
              <a:gdLst>
                <a:gd name="T0" fmla="*/ 1 w 168"/>
                <a:gd name="T1" fmla="*/ 0 h 252"/>
                <a:gd name="T2" fmla="*/ 0 w 168"/>
                <a:gd name="T3" fmla="*/ 19 h 252"/>
                <a:gd name="T4" fmla="*/ 45 w 168"/>
                <a:gd name="T5" fmla="*/ 207 h 252"/>
                <a:gd name="T6" fmla="*/ 86 w 168"/>
                <a:gd name="T7" fmla="*/ 241 h 252"/>
                <a:gd name="T8" fmla="*/ 141 w 168"/>
                <a:gd name="T9" fmla="*/ 252 h 252"/>
                <a:gd name="T10" fmla="*/ 168 w 168"/>
                <a:gd name="T11" fmla="*/ 250 h 252"/>
                <a:gd name="T12" fmla="*/ 168 w 168"/>
                <a:gd name="T13" fmla="*/ 246 h 252"/>
                <a:gd name="T14" fmla="*/ 141 w 168"/>
                <a:gd name="T15" fmla="*/ 248 h 252"/>
                <a:gd name="T16" fmla="*/ 88 w 168"/>
                <a:gd name="T17" fmla="*/ 238 h 252"/>
                <a:gd name="T18" fmla="*/ 49 w 168"/>
                <a:gd name="T19" fmla="*/ 205 h 252"/>
                <a:gd name="T20" fmla="*/ 4 w 168"/>
                <a:gd name="T21" fmla="*/ 19 h 252"/>
                <a:gd name="T22" fmla="*/ 4 w 168"/>
                <a:gd name="T23" fmla="*/ 6 h 252"/>
                <a:gd name="T24" fmla="*/ 5 w 168"/>
                <a:gd name="T25" fmla="*/ 1 h 252"/>
                <a:gd name="T26" fmla="*/ 1 w 168"/>
                <a:gd name="T2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252">
                  <a:moveTo>
                    <a:pt x="1" y="0"/>
                  </a:moveTo>
                  <a:cubicBezTo>
                    <a:pt x="1" y="0"/>
                    <a:pt x="0" y="7"/>
                    <a:pt x="0" y="19"/>
                  </a:cubicBezTo>
                  <a:cubicBezTo>
                    <a:pt x="0" y="58"/>
                    <a:pt x="5" y="147"/>
                    <a:pt x="45" y="207"/>
                  </a:cubicBezTo>
                  <a:cubicBezTo>
                    <a:pt x="56" y="223"/>
                    <a:pt x="70" y="234"/>
                    <a:pt x="86" y="241"/>
                  </a:cubicBezTo>
                  <a:cubicBezTo>
                    <a:pt x="103" y="248"/>
                    <a:pt x="121" y="252"/>
                    <a:pt x="141" y="252"/>
                  </a:cubicBezTo>
                  <a:cubicBezTo>
                    <a:pt x="150" y="252"/>
                    <a:pt x="159" y="251"/>
                    <a:pt x="168" y="250"/>
                  </a:cubicBezTo>
                  <a:cubicBezTo>
                    <a:pt x="168" y="246"/>
                    <a:pt x="168" y="246"/>
                    <a:pt x="168" y="246"/>
                  </a:cubicBezTo>
                  <a:cubicBezTo>
                    <a:pt x="159" y="247"/>
                    <a:pt x="150" y="248"/>
                    <a:pt x="141" y="248"/>
                  </a:cubicBezTo>
                  <a:cubicBezTo>
                    <a:pt x="122" y="248"/>
                    <a:pt x="104" y="244"/>
                    <a:pt x="88" y="238"/>
                  </a:cubicBezTo>
                  <a:cubicBezTo>
                    <a:pt x="72" y="231"/>
                    <a:pt x="59" y="220"/>
                    <a:pt x="49" y="205"/>
                  </a:cubicBezTo>
                  <a:cubicBezTo>
                    <a:pt x="9" y="146"/>
                    <a:pt x="4" y="57"/>
                    <a:pt x="4" y="19"/>
                  </a:cubicBezTo>
                  <a:cubicBezTo>
                    <a:pt x="4" y="13"/>
                    <a:pt x="4" y="9"/>
                    <a:pt x="4" y="6"/>
                  </a:cubicBezTo>
                  <a:cubicBezTo>
                    <a:pt x="5" y="2"/>
                    <a:pt x="5" y="1"/>
                    <a:pt x="5" y="1"/>
                  </a:cubicBezTo>
                  <a:cubicBezTo>
                    <a:pt x="1" y="0"/>
                    <a:pt x="1" y="0"/>
                    <a:pt x="1" y="0"/>
                  </a:cubicBez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92" name="Freeform 262"/>
            <p:cNvSpPr/>
            <p:nvPr userDrawn="1"/>
          </p:nvSpPr>
          <p:spPr bwMode="auto">
            <a:xfrm>
              <a:off x="1911846" y="3919659"/>
              <a:ext cx="181081" cy="78081"/>
            </a:xfrm>
            <a:custGeom>
              <a:avLst/>
              <a:gdLst>
                <a:gd name="T0" fmla="*/ 0 w 70"/>
                <a:gd name="T1" fmla="*/ 1 h 30"/>
                <a:gd name="T2" fmla="*/ 6 w 70"/>
                <a:gd name="T3" fmla="*/ 15 h 30"/>
                <a:gd name="T4" fmla="*/ 39 w 70"/>
                <a:gd name="T5" fmla="*/ 30 h 30"/>
                <a:gd name="T6" fmla="*/ 62 w 70"/>
                <a:gd name="T7" fmla="*/ 23 h 30"/>
                <a:gd name="T8" fmla="*/ 70 w 70"/>
                <a:gd name="T9" fmla="*/ 16 h 30"/>
                <a:gd name="T10" fmla="*/ 67 w 70"/>
                <a:gd name="T11" fmla="*/ 13 h 30"/>
                <a:gd name="T12" fmla="*/ 67 w 70"/>
                <a:gd name="T13" fmla="*/ 13 h 30"/>
                <a:gd name="T14" fmla="*/ 59 w 70"/>
                <a:gd name="T15" fmla="*/ 20 h 30"/>
                <a:gd name="T16" fmla="*/ 39 w 70"/>
                <a:gd name="T17" fmla="*/ 26 h 30"/>
                <a:gd name="T18" fmla="*/ 9 w 70"/>
                <a:gd name="T19" fmla="*/ 13 h 30"/>
                <a:gd name="T20" fmla="*/ 5 w 70"/>
                <a:gd name="T21" fmla="*/ 4 h 30"/>
                <a:gd name="T22" fmla="*/ 4 w 70"/>
                <a:gd name="T23" fmla="*/ 1 h 30"/>
                <a:gd name="T24" fmla="*/ 4 w 70"/>
                <a:gd name="T25" fmla="*/ 0 h 30"/>
                <a:gd name="T26" fmla="*/ 4 w 70"/>
                <a:gd name="T27" fmla="*/ 0 h 30"/>
                <a:gd name="T28" fmla="*/ 4 w 70"/>
                <a:gd name="T29" fmla="*/ 0 h 30"/>
                <a:gd name="T30" fmla="*/ 0 w 70"/>
                <a:gd name="T31"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30">
                  <a:moveTo>
                    <a:pt x="0" y="1"/>
                  </a:moveTo>
                  <a:cubicBezTo>
                    <a:pt x="0" y="1"/>
                    <a:pt x="0" y="8"/>
                    <a:pt x="6" y="15"/>
                  </a:cubicBezTo>
                  <a:cubicBezTo>
                    <a:pt x="11" y="23"/>
                    <a:pt x="21" y="30"/>
                    <a:pt x="39" y="30"/>
                  </a:cubicBezTo>
                  <a:cubicBezTo>
                    <a:pt x="49" y="30"/>
                    <a:pt x="56" y="26"/>
                    <a:pt x="62" y="23"/>
                  </a:cubicBezTo>
                  <a:cubicBezTo>
                    <a:pt x="67" y="19"/>
                    <a:pt x="70" y="16"/>
                    <a:pt x="70" y="16"/>
                  </a:cubicBezTo>
                  <a:cubicBezTo>
                    <a:pt x="67" y="13"/>
                    <a:pt x="67" y="13"/>
                    <a:pt x="67" y="13"/>
                  </a:cubicBezTo>
                  <a:cubicBezTo>
                    <a:pt x="67" y="13"/>
                    <a:pt x="67" y="13"/>
                    <a:pt x="67" y="13"/>
                  </a:cubicBezTo>
                  <a:cubicBezTo>
                    <a:pt x="66" y="14"/>
                    <a:pt x="63" y="17"/>
                    <a:pt x="59" y="20"/>
                  </a:cubicBezTo>
                  <a:cubicBezTo>
                    <a:pt x="54" y="23"/>
                    <a:pt x="47" y="26"/>
                    <a:pt x="39" y="26"/>
                  </a:cubicBezTo>
                  <a:cubicBezTo>
                    <a:pt x="22" y="26"/>
                    <a:pt x="13" y="19"/>
                    <a:pt x="9" y="13"/>
                  </a:cubicBezTo>
                  <a:cubicBezTo>
                    <a:pt x="7" y="10"/>
                    <a:pt x="5" y="7"/>
                    <a:pt x="5" y="4"/>
                  </a:cubicBezTo>
                  <a:cubicBezTo>
                    <a:pt x="4" y="3"/>
                    <a:pt x="4" y="2"/>
                    <a:pt x="4" y="1"/>
                  </a:cubicBezTo>
                  <a:cubicBezTo>
                    <a:pt x="4" y="0"/>
                    <a:pt x="4" y="0"/>
                    <a:pt x="4" y="0"/>
                  </a:cubicBezTo>
                  <a:cubicBezTo>
                    <a:pt x="4" y="0"/>
                    <a:pt x="4" y="0"/>
                    <a:pt x="4" y="0"/>
                  </a:cubicBezTo>
                  <a:cubicBezTo>
                    <a:pt x="4" y="0"/>
                    <a:pt x="4" y="0"/>
                    <a:pt x="4" y="0"/>
                  </a:cubicBezTo>
                  <a:cubicBezTo>
                    <a:pt x="0" y="1"/>
                    <a:pt x="0" y="1"/>
                    <a:pt x="0" y="1"/>
                  </a:cubicBez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93" name="Freeform 263"/>
            <p:cNvSpPr/>
            <p:nvPr userDrawn="1"/>
          </p:nvSpPr>
          <p:spPr bwMode="auto">
            <a:xfrm>
              <a:off x="1915168" y="3655513"/>
              <a:ext cx="237565" cy="259161"/>
            </a:xfrm>
            <a:custGeom>
              <a:avLst/>
              <a:gdLst>
                <a:gd name="T0" fmla="*/ 83 w 92"/>
                <a:gd name="T1" fmla="*/ 39 h 100"/>
                <a:gd name="T2" fmla="*/ 71 w 92"/>
                <a:gd name="T3" fmla="*/ 93 h 100"/>
                <a:gd name="T4" fmla="*/ 8 w 92"/>
                <a:gd name="T5" fmla="*/ 64 h 100"/>
                <a:gd name="T6" fmla="*/ 31 w 92"/>
                <a:gd name="T7" fmla="*/ 6 h 100"/>
                <a:gd name="T8" fmla="*/ 83 w 92"/>
                <a:gd name="T9" fmla="*/ 39 h 100"/>
              </a:gdLst>
              <a:ahLst/>
              <a:cxnLst>
                <a:cxn ang="0">
                  <a:pos x="T0" y="T1"/>
                </a:cxn>
                <a:cxn ang="0">
                  <a:pos x="T2" y="T3"/>
                </a:cxn>
                <a:cxn ang="0">
                  <a:pos x="T4" y="T5"/>
                </a:cxn>
                <a:cxn ang="0">
                  <a:pos x="T6" y="T7"/>
                </a:cxn>
                <a:cxn ang="0">
                  <a:pos x="T8" y="T9"/>
                </a:cxn>
              </a:cxnLst>
              <a:rect l="0" t="0" r="r" b="b"/>
              <a:pathLst>
                <a:path w="92" h="100">
                  <a:moveTo>
                    <a:pt x="83" y="39"/>
                  </a:moveTo>
                  <a:cubicBezTo>
                    <a:pt x="92" y="63"/>
                    <a:pt x="92" y="86"/>
                    <a:pt x="71" y="93"/>
                  </a:cubicBezTo>
                  <a:cubicBezTo>
                    <a:pt x="50" y="100"/>
                    <a:pt x="20" y="99"/>
                    <a:pt x="8" y="64"/>
                  </a:cubicBezTo>
                  <a:cubicBezTo>
                    <a:pt x="0" y="39"/>
                    <a:pt x="10" y="13"/>
                    <a:pt x="31" y="6"/>
                  </a:cubicBezTo>
                  <a:cubicBezTo>
                    <a:pt x="52" y="0"/>
                    <a:pt x="75" y="14"/>
                    <a:pt x="83" y="39"/>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94" name="Freeform 264"/>
            <p:cNvSpPr/>
            <p:nvPr userDrawn="1"/>
          </p:nvSpPr>
          <p:spPr bwMode="auto">
            <a:xfrm>
              <a:off x="1943411" y="3800046"/>
              <a:ext cx="142871" cy="169452"/>
            </a:xfrm>
            <a:custGeom>
              <a:avLst/>
              <a:gdLst>
                <a:gd name="T0" fmla="*/ 48 w 55"/>
                <a:gd name="T1" fmla="*/ 53 h 65"/>
                <a:gd name="T2" fmla="*/ 19 w 55"/>
                <a:gd name="T3" fmla="*/ 61 h 65"/>
                <a:gd name="T4" fmla="*/ 0 w 55"/>
                <a:gd name="T5" fmla="*/ 45 h 65"/>
                <a:gd name="T6" fmla="*/ 12 w 55"/>
                <a:gd name="T7" fmla="*/ 0 h 65"/>
                <a:gd name="T8" fmla="*/ 55 w 55"/>
                <a:gd name="T9" fmla="*/ 11 h 65"/>
                <a:gd name="T10" fmla="*/ 48 w 55"/>
                <a:gd name="T11" fmla="*/ 53 h 65"/>
              </a:gdLst>
              <a:ahLst/>
              <a:cxnLst>
                <a:cxn ang="0">
                  <a:pos x="T0" y="T1"/>
                </a:cxn>
                <a:cxn ang="0">
                  <a:pos x="T2" y="T3"/>
                </a:cxn>
                <a:cxn ang="0">
                  <a:pos x="T4" y="T5"/>
                </a:cxn>
                <a:cxn ang="0">
                  <a:pos x="T6" y="T7"/>
                </a:cxn>
                <a:cxn ang="0">
                  <a:pos x="T8" y="T9"/>
                </a:cxn>
                <a:cxn ang="0">
                  <a:pos x="T10" y="T11"/>
                </a:cxn>
              </a:cxnLst>
              <a:rect l="0" t="0" r="r" b="b"/>
              <a:pathLst>
                <a:path w="55" h="65">
                  <a:moveTo>
                    <a:pt x="48" y="53"/>
                  </a:moveTo>
                  <a:cubicBezTo>
                    <a:pt x="48" y="53"/>
                    <a:pt x="35" y="65"/>
                    <a:pt x="19" y="61"/>
                  </a:cubicBezTo>
                  <a:cubicBezTo>
                    <a:pt x="0" y="56"/>
                    <a:pt x="0" y="45"/>
                    <a:pt x="0" y="45"/>
                  </a:cubicBezTo>
                  <a:cubicBezTo>
                    <a:pt x="12" y="0"/>
                    <a:pt x="12" y="0"/>
                    <a:pt x="12" y="0"/>
                  </a:cubicBezTo>
                  <a:cubicBezTo>
                    <a:pt x="55" y="11"/>
                    <a:pt x="55" y="11"/>
                    <a:pt x="55" y="11"/>
                  </a:cubicBezTo>
                  <a:lnTo>
                    <a:pt x="48" y="53"/>
                  </a:ln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95" name="Freeform 265"/>
            <p:cNvSpPr/>
            <p:nvPr userDrawn="1"/>
          </p:nvSpPr>
          <p:spPr bwMode="auto">
            <a:xfrm>
              <a:off x="2127813" y="3760175"/>
              <a:ext cx="33226" cy="56484"/>
            </a:xfrm>
            <a:custGeom>
              <a:avLst/>
              <a:gdLst>
                <a:gd name="T0" fmla="*/ 0 w 13"/>
                <a:gd name="T1" fmla="*/ 0 h 22"/>
                <a:gd name="T2" fmla="*/ 13 w 13"/>
                <a:gd name="T3" fmla="*/ 17 h 22"/>
                <a:gd name="T4" fmla="*/ 6 w 13"/>
                <a:gd name="T5" fmla="*/ 22 h 22"/>
              </a:gdLst>
              <a:ahLst/>
              <a:cxnLst>
                <a:cxn ang="0">
                  <a:pos x="T0" y="T1"/>
                </a:cxn>
                <a:cxn ang="0">
                  <a:pos x="T2" y="T3"/>
                </a:cxn>
                <a:cxn ang="0">
                  <a:pos x="T4" y="T5"/>
                </a:cxn>
              </a:cxnLst>
              <a:rect l="0" t="0" r="r" b="b"/>
              <a:pathLst>
                <a:path w="13" h="22">
                  <a:moveTo>
                    <a:pt x="0" y="0"/>
                  </a:moveTo>
                  <a:cubicBezTo>
                    <a:pt x="0" y="0"/>
                    <a:pt x="13" y="14"/>
                    <a:pt x="13" y="17"/>
                  </a:cubicBezTo>
                  <a:cubicBezTo>
                    <a:pt x="13" y="20"/>
                    <a:pt x="6" y="22"/>
                    <a:pt x="6" y="22"/>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96" name="Freeform 266"/>
            <p:cNvSpPr/>
            <p:nvPr userDrawn="1"/>
          </p:nvSpPr>
          <p:spPr bwMode="auto">
            <a:xfrm>
              <a:off x="2096249" y="3761836"/>
              <a:ext cx="14952" cy="14952"/>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4"/>
                    <a:pt x="4" y="6"/>
                    <a:pt x="3" y="6"/>
                  </a:cubicBezTo>
                  <a:cubicBezTo>
                    <a:pt x="1" y="6"/>
                    <a:pt x="0" y="4"/>
                    <a:pt x="0" y="3"/>
                  </a:cubicBezTo>
                  <a:cubicBezTo>
                    <a:pt x="0" y="1"/>
                    <a:pt x="2" y="0"/>
                    <a:pt x="3" y="0"/>
                  </a:cubicBezTo>
                  <a:cubicBezTo>
                    <a:pt x="5" y="0"/>
                    <a:pt x="6" y="1"/>
                    <a:pt x="6" y="3"/>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97" name="Freeform 267"/>
            <p:cNvSpPr/>
            <p:nvPr userDrawn="1"/>
          </p:nvSpPr>
          <p:spPr bwMode="auto">
            <a:xfrm>
              <a:off x="2072991" y="3728610"/>
              <a:ext cx="33226" cy="28242"/>
            </a:xfrm>
            <a:custGeom>
              <a:avLst/>
              <a:gdLst>
                <a:gd name="T0" fmla="*/ 11 w 13"/>
                <a:gd name="T1" fmla="*/ 2 h 11"/>
                <a:gd name="T2" fmla="*/ 3 w 13"/>
                <a:gd name="T3" fmla="*/ 4 h 11"/>
                <a:gd name="T4" fmla="*/ 1 w 13"/>
                <a:gd name="T5" fmla="*/ 7 h 11"/>
                <a:gd name="T6" fmla="*/ 0 w 13"/>
                <a:gd name="T7" fmla="*/ 11 h 11"/>
                <a:gd name="T8" fmla="*/ 3 w 13"/>
                <a:gd name="T9" fmla="*/ 9 h 11"/>
                <a:gd name="T10" fmla="*/ 12 w 13"/>
                <a:gd name="T11" fmla="*/ 5 h 11"/>
                <a:gd name="T12" fmla="*/ 12 w 13"/>
                <a:gd name="T13" fmla="*/ 5 h 11"/>
                <a:gd name="T14" fmla="*/ 13 w 13"/>
                <a:gd name="T15" fmla="*/ 4 h 11"/>
                <a:gd name="T16" fmla="*/ 11 w 13"/>
                <a:gd name="T1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11" y="2"/>
                  </a:moveTo>
                  <a:cubicBezTo>
                    <a:pt x="8" y="0"/>
                    <a:pt x="6" y="2"/>
                    <a:pt x="3" y="4"/>
                  </a:cubicBezTo>
                  <a:cubicBezTo>
                    <a:pt x="2" y="5"/>
                    <a:pt x="1" y="6"/>
                    <a:pt x="1" y="7"/>
                  </a:cubicBezTo>
                  <a:cubicBezTo>
                    <a:pt x="0" y="8"/>
                    <a:pt x="0" y="10"/>
                    <a:pt x="0" y="11"/>
                  </a:cubicBezTo>
                  <a:cubicBezTo>
                    <a:pt x="1" y="11"/>
                    <a:pt x="3" y="9"/>
                    <a:pt x="3" y="9"/>
                  </a:cubicBezTo>
                  <a:cubicBezTo>
                    <a:pt x="6" y="7"/>
                    <a:pt x="9" y="5"/>
                    <a:pt x="12" y="5"/>
                  </a:cubicBezTo>
                  <a:cubicBezTo>
                    <a:pt x="12" y="5"/>
                    <a:pt x="12" y="5"/>
                    <a:pt x="12" y="5"/>
                  </a:cubicBezTo>
                  <a:cubicBezTo>
                    <a:pt x="13" y="4"/>
                    <a:pt x="13" y="4"/>
                    <a:pt x="13" y="4"/>
                  </a:cubicBezTo>
                  <a:cubicBezTo>
                    <a:pt x="12" y="3"/>
                    <a:pt x="12" y="2"/>
                    <a:pt x="11" y="2"/>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98" name="Freeform 268"/>
            <p:cNvSpPr/>
            <p:nvPr userDrawn="1"/>
          </p:nvSpPr>
          <p:spPr bwMode="auto">
            <a:xfrm>
              <a:off x="2086282" y="3831610"/>
              <a:ext cx="51501" cy="33226"/>
            </a:xfrm>
            <a:custGeom>
              <a:avLst/>
              <a:gdLst>
                <a:gd name="T0" fmla="*/ 20 w 20"/>
                <a:gd name="T1" fmla="*/ 0 h 13"/>
                <a:gd name="T2" fmla="*/ 0 w 20"/>
                <a:gd name="T3" fmla="*/ 1 h 13"/>
                <a:gd name="T4" fmla="*/ 13 w 20"/>
                <a:gd name="T5" fmla="*/ 11 h 13"/>
                <a:gd name="T6" fmla="*/ 20 w 20"/>
                <a:gd name="T7" fmla="*/ 0 h 13"/>
              </a:gdLst>
              <a:ahLst/>
              <a:cxnLst>
                <a:cxn ang="0">
                  <a:pos x="T0" y="T1"/>
                </a:cxn>
                <a:cxn ang="0">
                  <a:pos x="T2" y="T3"/>
                </a:cxn>
                <a:cxn ang="0">
                  <a:pos x="T4" y="T5"/>
                </a:cxn>
                <a:cxn ang="0">
                  <a:pos x="T6" y="T7"/>
                </a:cxn>
              </a:cxnLst>
              <a:rect l="0" t="0" r="r" b="b"/>
              <a:pathLst>
                <a:path w="20" h="13">
                  <a:moveTo>
                    <a:pt x="20" y="0"/>
                  </a:moveTo>
                  <a:cubicBezTo>
                    <a:pt x="0" y="1"/>
                    <a:pt x="0" y="1"/>
                    <a:pt x="0" y="1"/>
                  </a:cubicBezTo>
                  <a:cubicBezTo>
                    <a:pt x="0" y="1"/>
                    <a:pt x="2" y="13"/>
                    <a:pt x="13" y="11"/>
                  </a:cubicBezTo>
                  <a:cubicBezTo>
                    <a:pt x="19" y="11"/>
                    <a:pt x="20" y="0"/>
                    <a:pt x="2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99" name="Freeform 269"/>
            <p:cNvSpPr/>
            <p:nvPr userDrawn="1"/>
          </p:nvSpPr>
          <p:spPr bwMode="auto">
            <a:xfrm>
              <a:off x="1837088" y="3594046"/>
              <a:ext cx="292387" cy="300694"/>
            </a:xfrm>
            <a:custGeom>
              <a:avLst/>
              <a:gdLst>
                <a:gd name="T0" fmla="*/ 59 w 113"/>
                <a:gd name="T1" fmla="*/ 108 h 116"/>
                <a:gd name="T2" fmla="*/ 35 w 113"/>
                <a:gd name="T3" fmla="*/ 107 h 116"/>
                <a:gd name="T4" fmla="*/ 18 w 113"/>
                <a:gd name="T5" fmla="*/ 86 h 116"/>
                <a:gd name="T6" fmla="*/ 14 w 113"/>
                <a:gd name="T7" fmla="*/ 75 h 116"/>
                <a:gd name="T8" fmla="*/ 17 w 113"/>
                <a:gd name="T9" fmla="*/ 65 h 116"/>
                <a:gd name="T10" fmla="*/ 5 w 113"/>
                <a:gd name="T11" fmla="*/ 56 h 116"/>
                <a:gd name="T12" fmla="*/ 1 w 113"/>
                <a:gd name="T13" fmla="*/ 43 h 116"/>
                <a:gd name="T14" fmla="*/ 7 w 113"/>
                <a:gd name="T15" fmla="*/ 33 h 116"/>
                <a:gd name="T16" fmla="*/ 34 w 113"/>
                <a:gd name="T17" fmla="*/ 19 h 116"/>
                <a:gd name="T18" fmla="*/ 32 w 113"/>
                <a:gd name="T19" fmla="*/ 11 h 116"/>
                <a:gd name="T20" fmla="*/ 41 w 113"/>
                <a:gd name="T21" fmla="*/ 6 h 116"/>
                <a:gd name="T22" fmla="*/ 97 w 113"/>
                <a:gd name="T23" fmla="*/ 15 h 116"/>
                <a:gd name="T24" fmla="*/ 110 w 113"/>
                <a:gd name="T25" fmla="*/ 38 h 116"/>
                <a:gd name="T26" fmla="*/ 98 w 113"/>
                <a:gd name="T27" fmla="*/ 48 h 116"/>
                <a:gd name="T28" fmla="*/ 73 w 113"/>
                <a:gd name="T29" fmla="*/ 58 h 116"/>
                <a:gd name="T30" fmla="*/ 65 w 113"/>
                <a:gd name="T31" fmla="*/ 75 h 116"/>
                <a:gd name="T32" fmla="*/ 51 w 113"/>
                <a:gd name="T33" fmla="*/ 70 h 116"/>
                <a:gd name="T34" fmla="*/ 48 w 113"/>
                <a:gd name="T35" fmla="*/ 87 h 116"/>
                <a:gd name="T36" fmla="*/ 61 w 113"/>
                <a:gd name="T37" fmla="*/ 97 h 116"/>
                <a:gd name="T38" fmla="*/ 59 w 113"/>
                <a:gd name="T39"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16">
                  <a:moveTo>
                    <a:pt x="59" y="108"/>
                  </a:moveTo>
                  <a:cubicBezTo>
                    <a:pt x="54" y="116"/>
                    <a:pt x="41" y="111"/>
                    <a:pt x="35" y="107"/>
                  </a:cubicBezTo>
                  <a:cubicBezTo>
                    <a:pt x="27" y="102"/>
                    <a:pt x="22" y="93"/>
                    <a:pt x="18" y="86"/>
                  </a:cubicBezTo>
                  <a:cubicBezTo>
                    <a:pt x="16" y="82"/>
                    <a:pt x="14" y="79"/>
                    <a:pt x="14" y="75"/>
                  </a:cubicBezTo>
                  <a:cubicBezTo>
                    <a:pt x="13" y="71"/>
                    <a:pt x="14" y="67"/>
                    <a:pt x="17" y="65"/>
                  </a:cubicBezTo>
                  <a:cubicBezTo>
                    <a:pt x="13" y="62"/>
                    <a:pt x="8" y="60"/>
                    <a:pt x="5" y="56"/>
                  </a:cubicBezTo>
                  <a:cubicBezTo>
                    <a:pt x="2" y="53"/>
                    <a:pt x="0" y="48"/>
                    <a:pt x="1" y="43"/>
                  </a:cubicBezTo>
                  <a:cubicBezTo>
                    <a:pt x="2" y="39"/>
                    <a:pt x="4" y="36"/>
                    <a:pt x="7" y="33"/>
                  </a:cubicBezTo>
                  <a:cubicBezTo>
                    <a:pt x="15" y="27"/>
                    <a:pt x="24" y="22"/>
                    <a:pt x="34" y="19"/>
                  </a:cubicBezTo>
                  <a:cubicBezTo>
                    <a:pt x="31" y="18"/>
                    <a:pt x="30" y="14"/>
                    <a:pt x="32" y="11"/>
                  </a:cubicBezTo>
                  <a:cubicBezTo>
                    <a:pt x="34" y="8"/>
                    <a:pt x="37" y="7"/>
                    <a:pt x="41" y="6"/>
                  </a:cubicBezTo>
                  <a:cubicBezTo>
                    <a:pt x="62" y="0"/>
                    <a:pt x="79" y="2"/>
                    <a:pt x="97" y="15"/>
                  </a:cubicBezTo>
                  <a:cubicBezTo>
                    <a:pt x="104" y="21"/>
                    <a:pt x="113" y="30"/>
                    <a:pt x="110" y="38"/>
                  </a:cubicBezTo>
                  <a:cubicBezTo>
                    <a:pt x="107" y="44"/>
                    <a:pt x="105" y="46"/>
                    <a:pt x="98" y="48"/>
                  </a:cubicBezTo>
                  <a:cubicBezTo>
                    <a:pt x="91" y="50"/>
                    <a:pt x="75" y="50"/>
                    <a:pt x="73" y="58"/>
                  </a:cubicBezTo>
                  <a:cubicBezTo>
                    <a:pt x="71" y="64"/>
                    <a:pt x="75" y="73"/>
                    <a:pt x="65" y="75"/>
                  </a:cubicBezTo>
                  <a:cubicBezTo>
                    <a:pt x="57" y="77"/>
                    <a:pt x="61" y="67"/>
                    <a:pt x="51" y="70"/>
                  </a:cubicBezTo>
                  <a:cubicBezTo>
                    <a:pt x="47" y="71"/>
                    <a:pt x="44" y="79"/>
                    <a:pt x="48" y="87"/>
                  </a:cubicBezTo>
                  <a:cubicBezTo>
                    <a:pt x="50" y="93"/>
                    <a:pt x="57" y="97"/>
                    <a:pt x="61" y="97"/>
                  </a:cubicBezTo>
                  <a:cubicBezTo>
                    <a:pt x="63" y="99"/>
                    <a:pt x="62" y="104"/>
                    <a:pt x="59" y="108"/>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00" name="Freeform 270"/>
            <p:cNvSpPr/>
            <p:nvPr userDrawn="1"/>
          </p:nvSpPr>
          <p:spPr bwMode="auto">
            <a:xfrm>
              <a:off x="2004878" y="3891416"/>
              <a:ext cx="68113" cy="18275"/>
            </a:xfrm>
            <a:custGeom>
              <a:avLst/>
              <a:gdLst>
                <a:gd name="T0" fmla="*/ 26 w 26"/>
                <a:gd name="T1" fmla="*/ 5 h 7"/>
                <a:gd name="T2" fmla="*/ 22 w 26"/>
                <a:gd name="T3" fmla="*/ 4 h 7"/>
                <a:gd name="T4" fmla="*/ 1 w 26"/>
                <a:gd name="T5" fmla="*/ 0 h 7"/>
                <a:gd name="T6" fmla="*/ 0 w 26"/>
                <a:gd name="T7" fmla="*/ 2 h 7"/>
                <a:gd name="T8" fmla="*/ 15 w 26"/>
                <a:gd name="T9" fmla="*/ 6 h 7"/>
                <a:gd name="T10" fmla="*/ 22 w 26"/>
                <a:gd name="T11" fmla="*/ 7 h 7"/>
                <a:gd name="T12" fmla="*/ 25 w 26"/>
                <a:gd name="T13" fmla="*/ 7 h 7"/>
                <a:gd name="T14" fmla="*/ 26 w 26"/>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7">
                  <a:moveTo>
                    <a:pt x="26" y="5"/>
                  </a:moveTo>
                  <a:cubicBezTo>
                    <a:pt x="25" y="4"/>
                    <a:pt x="24" y="4"/>
                    <a:pt x="22" y="4"/>
                  </a:cubicBezTo>
                  <a:cubicBezTo>
                    <a:pt x="17" y="4"/>
                    <a:pt x="7" y="3"/>
                    <a:pt x="1" y="0"/>
                  </a:cubicBezTo>
                  <a:cubicBezTo>
                    <a:pt x="0" y="2"/>
                    <a:pt x="0" y="2"/>
                    <a:pt x="0" y="2"/>
                  </a:cubicBezTo>
                  <a:cubicBezTo>
                    <a:pt x="4" y="5"/>
                    <a:pt x="10" y="6"/>
                    <a:pt x="15" y="6"/>
                  </a:cubicBezTo>
                  <a:cubicBezTo>
                    <a:pt x="18" y="7"/>
                    <a:pt x="20" y="7"/>
                    <a:pt x="22" y="7"/>
                  </a:cubicBezTo>
                  <a:cubicBezTo>
                    <a:pt x="23" y="7"/>
                    <a:pt x="25" y="7"/>
                    <a:pt x="25" y="7"/>
                  </a:cubicBezTo>
                  <a:cubicBezTo>
                    <a:pt x="26" y="5"/>
                    <a:pt x="26" y="5"/>
                    <a:pt x="26" y="5"/>
                  </a:cubicBezTo>
                  <a:close/>
                </a:path>
              </a:pathLst>
            </a:custGeom>
            <a:solidFill>
              <a:srgbClr val="EA99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64" name="Rectangle 42"/>
            <p:cNvSpPr>
              <a:spLocks noChangeArrowheads="1"/>
            </p:cNvSpPr>
            <p:nvPr userDrawn="1"/>
          </p:nvSpPr>
          <p:spPr bwMode="auto">
            <a:xfrm>
              <a:off x="876862" y="4588923"/>
              <a:ext cx="144533" cy="11630"/>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65" name="Freeform 43"/>
            <p:cNvSpPr/>
            <p:nvPr userDrawn="1"/>
          </p:nvSpPr>
          <p:spPr bwMode="auto">
            <a:xfrm>
              <a:off x="876862" y="4588923"/>
              <a:ext cx="144533" cy="11630"/>
            </a:xfrm>
            <a:custGeom>
              <a:avLst/>
              <a:gdLst>
                <a:gd name="T0" fmla="*/ 0 w 87"/>
                <a:gd name="T1" fmla="*/ 7 h 7"/>
                <a:gd name="T2" fmla="*/ 87 w 87"/>
                <a:gd name="T3" fmla="*/ 7 h 7"/>
                <a:gd name="T4" fmla="*/ 87 w 87"/>
                <a:gd name="T5" fmla="*/ 0 h 7"/>
                <a:gd name="T6" fmla="*/ 0 w 87"/>
                <a:gd name="T7" fmla="*/ 0 h 7"/>
              </a:gdLst>
              <a:ahLst/>
              <a:cxnLst>
                <a:cxn ang="0">
                  <a:pos x="T0" y="T1"/>
                </a:cxn>
                <a:cxn ang="0">
                  <a:pos x="T2" y="T3"/>
                </a:cxn>
                <a:cxn ang="0">
                  <a:pos x="T4" y="T5"/>
                </a:cxn>
                <a:cxn ang="0">
                  <a:pos x="T6" y="T7"/>
                </a:cxn>
              </a:cxnLst>
              <a:rect l="0" t="0" r="r" b="b"/>
              <a:pathLst>
                <a:path w="87" h="7">
                  <a:moveTo>
                    <a:pt x="0" y="7"/>
                  </a:moveTo>
                  <a:lnTo>
                    <a:pt x="87" y="7"/>
                  </a:lnTo>
                  <a:lnTo>
                    <a:pt x="8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31" name="Freeform 246"/>
            <p:cNvSpPr/>
            <p:nvPr userDrawn="1"/>
          </p:nvSpPr>
          <p:spPr bwMode="auto">
            <a:xfrm>
              <a:off x="1966669" y="4796820"/>
              <a:ext cx="106323" cy="574806"/>
            </a:xfrm>
            <a:custGeom>
              <a:avLst/>
              <a:gdLst>
                <a:gd name="T0" fmla="*/ 37 w 41"/>
                <a:gd name="T1" fmla="*/ 0 h 222"/>
                <a:gd name="T2" fmla="*/ 0 w 41"/>
                <a:gd name="T3" fmla="*/ 221 h 222"/>
                <a:gd name="T4" fmla="*/ 4 w 41"/>
                <a:gd name="T5" fmla="*/ 222 h 222"/>
                <a:gd name="T6" fmla="*/ 41 w 41"/>
                <a:gd name="T7" fmla="*/ 1 h 222"/>
                <a:gd name="T8" fmla="*/ 37 w 41"/>
                <a:gd name="T9" fmla="*/ 0 h 222"/>
              </a:gdLst>
              <a:ahLst/>
              <a:cxnLst>
                <a:cxn ang="0">
                  <a:pos x="T0" y="T1"/>
                </a:cxn>
                <a:cxn ang="0">
                  <a:pos x="T2" y="T3"/>
                </a:cxn>
                <a:cxn ang="0">
                  <a:pos x="T4" y="T5"/>
                </a:cxn>
                <a:cxn ang="0">
                  <a:pos x="T6" y="T7"/>
                </a:cxn>
                <a:cxn ang="0">
                  <a:pos x="T8" y="T9"/>
                </a:cxn>
              </a:cxnLst>
              <a:rect l="0" t="0" r="r" b="b"/>
              <a:pathLst>
                <a:path w="41" h="222">
                  <a:moveTo>
                    <a:pt x="37" y="0"/>
                  </a:moveTo>
                  <a:cubicBezTo>
                    <a:pt x="29" y="82"/>
                    <a:pt x="9" y="185"/>
                    <a:pt x="0" y="221"/>
                  </a:cubicBezTo>
                  <a:cubicBezTo>
                    <a:pt x="4" y="222"/>
                    <a:pt x="4" y="222"/>
                    <a:pt x="4" y="222"/>
                  </a:cubicBezTo>
                  <a:cubicBezTo>
                    <a:pt x="13" y="186"/>
                    <a:pt x="32" y="82"/>
                    <a:pt x="41" y="1"/>
                  </a:cubicBezTo>
                  <a:cubicBezTo>
                    <a:pt x="37" y="0"/>
                    <a:pt x="37" y="0"/>
                    <a:pt x="37" y="0"/>
                  </a:cubicBezTo>
                  <a:close/>
                </a:path>
              </a:pathLst>
            </a:custGeom>
            <a:solidFill>
              <a:srgbClr val="025FB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33" name="Freeform 248"/>
            <p:cNvSpPr/>
            <p:nvPr userDrawn="1"/>
          </p:nvSpPr>
          <p:spPr bwMode="auto">
            <a:xfrm>
              <a:off x="1991588" y="5253674"/>
              <a:ext cx="192710" cy="790774"/>
            </a:xfrm>
            <a:custGeom>
              <a:avLst/>
              <a:gdLst>
                <a:gd name="T0" fmla="*/ 0 w 74"/>
                <a:gd name="T1" fmla="*/ 1 h 305"/>
                <a:gd name="T2" fmla="*/ 30 w 74"/>
                <a:gd name="T3" fmla="*/ 82 h 305"/>
                <a:gd name="T4" fmla="*/ 31 w 74"/>
                <a:gd name="T5" fmla="*/ 86 h 305"/>
                <a:gd name="T6" fmla="*/ 70 w 74"/>
                <a:gd name="T7" fmla="*/ 305 h 305"/>
                <a:gd name="T8" fmla="*/ 74 w 74"/>
                <a:gd name="T9" fmla="*/ 304 h 305"/>
                <a:gd name="T10" fmla="*/ 35 w 74"/>
                <a:gd name="T11" fmla="*/ 86 h 305"/>
                <a:gd name="T12" fmla="*/ 33 w 74"/>
                <a:gd name="T13" fmla="*/ 81 h 305"/>
                <a:gd name="T14" fmla="*/ 4 w 74"/>
                <a:gd name="T15" fmla="*/ 0 h 305"/>
                <a:gd name="T16" fmla="*/ 0 w 74"/>
                <a:gd name="T17" fmla="*/ 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05">
                  <a:moveTo>
                    <a:pt x="0" y="1"/>
                  </a:moveTo>
                  <a:cubicBezTo>
                    <a:pt x="30" y="82"/>
                    <a:pt x="30" y="82"/>
                    <a:pt x="30" y="82"/>
                  </a:cubicBezTo>
                  <a:cubicBezTo>
                    <a:pt x="30" y="83"/>
                    <a:pt x="31" y="85"/>
                    <a:pt x="31" y="86"/>
                  </a:cubicBezTo>
                  <a:cubicBezTo>
                    <a:pt x="70" y="305"/>
                    <a:pt x="70" y="305"/>
                    <a:pt x="70" y="305"/>
                  </a:cubicBezTo>
                  <a:cubicBezTo>
                    <a:pt x="74" y="304"/>
                    <a:pt x="74" y="304"/>
                    <a:pt x="74" y="304"/>
                  </a:cubicBezTo>
                  <a:cubicBezTo>
                    <a:pt x="35" y="86"/>
                    <a:pt x="35" y="86"/>
                    <a:pt x="35" y="86"/>
                  </a:cubicBezTo>
                  <a:cubicBezTo>
                    <a:pt x="34" y="84"/>
                    <a:pt x="34" y="82"/>
                    <a:pt x="33" y="81"/>
                  </a:cubicBezTo>
                  <a:cubicBezTo>
                    <a:pt x="4" y="0"/>
                    <a:pt x="4" y="0"/>
                    <a:pt x="4" y="0"/>
                  </a:cubicBezTo>
                  <a:cubicBezTo>
                    <a:pt x="0" y="1"/>
                    <a:pt x="0" y="1"/>
                    <a:pt x="0" y="1"/>
                  </a:cubicBezTo>
                  <a:close/>
                </a:path>
              </a:pathLst>
            </a:custGeom>
            <a:solidFill>
              <a:srgbClr val="025FB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44" name="Freeform 258"/>
            <p:cNvSpPr/>
            <p:nvPr userDrawn="1"/>
          </p:nvSpPr>
          <p:spPr bwMode="auto">
            <a:xfrm>
              <a:off x="2056378" y="4089110"/>
              <a:ext cx="166129" cy="347210"/>
            </a:xfrm>
            <a:custGeom>
              <a:avLst/>
              <a:gdLst>
                <a:gd name="T0" fmla="*/ 64 w 64"/>
                <a:gd name="T1" fmla="*/ 130 h 134"/>
                <a:gd name="T2" fmla="*/ 31 w 64"/>
                <a:gd name="T3" fmla="*/ 116 h 134"/>
                <a:gd name="T4" fmla="*/ 9 w 64"/>
                <a:gd name="T5" fmla="*/ 59 h 134"/>
                <a:gd name="T6" fmla="*/ 4 w 64"/>
                <a:gd name="T7" fmla="*/ 0 h 134"/>
                <a:gd name="T8" fmla="*/ 0 w 64"/>
                <a:gd name="T9" fmla="*/ 1 h 134"/>
                <a:gd name="T10" fmla="*/ 10 w 64"/>
                <a:gd name="T11" fmla="*/ 82 h 134"/>
                <a:gd name="T12" fmla="*/ 28 w 64"/>
                <a:gd name="T13" fmla="*/ 118 h 134"/>
                <a:gd name="T14" fmla="*/ 64 w 64"/>
                <a:gd name="T15" fmla="*/ 134 h 134"/>
                <a:gd name="T16" fmla="*/ 64 w 64"/>
                <a:gd name="T17" fmla="*/ 13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4">
                  <a:moveTo>
                    <a:pt x="64" y="130"/>
                  </a:moveTo>
                  <a:cubicBezTo>
                    <a:pt x="50" y="130"/>
                    <a:pt x="39" y="125"/>
                    <a:pt x="31" y="116"/>
                  </a:cubicBezTo>
                  <a:cubicBezTo>
                    <a:pt x="19" y="103"/>
                    <a:pt x="13" y="81"/>
                    <a:pt x="9" y="59"/>
                  </a:cubicBezTo>
                  <a:cubicBezTo>
                    <a:pt x="6" y="38"/>
                    <a:pt x="5" y="15"/>
                    <a:pt x="4" y="0"/>
                  </a:cubicBezTo>
                  <a:cubicBezTo>
                    <a:pt x="0" y="1"/>
                    <a:pt x="0" y="1"/>
                    <a:pt x="0" y="1"/>
                  </a:cubicBezTo>
                  <a:cubicBezTo>
                    <a:pt x="1" y="21"/>
                    <a:pt x="2" y="54"/>
                    <a:pt x="10" y="82"/>
                  </a:cubicBezTo>
                  <a:cubicBezTo>
                    <a:pt x="14" y="96"/>
                    <a:pt x="20" y="109"/>
                    <a:pt x="28" y="118"/>
                  </a:cubicBezTo>
                  <a:cubicBezTo>
                    <a:pt x="37" y="128"/>
                    <a:pt x="49" y="134"/>
                    <a:pt x="64" y="134"/>
                  </a:cubicBezTo>
                  <a:cubicBezTo>
                    <a:pt x="64" y="130"/>
                    <a:pt x="64" y="130"/>
                    <a:pt x="64" y="130"/>
                  </a:cubicBez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50" name="Oval 28"/>
            <p:cNvSpPr>
              <a:spLocks noChangeArrowheads="1"/>
            </p:cNvSpPr>
            <p:nvPr userDrawn="1"/>
          </p:nvSpPr>
          <p:spPr bwMode="auto">
            <a:xfrm>
              <a:off x="6995394" y="3921084"/>
              <a:ext cx="104662" cy="103000"/>
            </a:xfrm>
            <a:prstGeom prst="ellipse">
              <a:avLst/>
            </a:prstGeom>
            <a:solidFill>
              <a:srgbClr val="D7F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66" name="Rectangle 44"/>
            <p:cNvSpPr>
              <a:spLocks noChangeArrowheads="1"/>
            </p:cNvSpPr>
            <p:nvPr userDrawn="1"/>
          </p:nvSpPr>
          <p:spPr bwMode="auto">
            <a:xfrm>
              <a:off x="6809329" y="4246697"/>
              <a:ext cx="79742" cy="11630"/>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67" name="Freeform 45"/>
            <p:cNvSpPr/>
            <p:nvPr userDrawn="1"/>
          </p:nvSpPr>
          <p:spPr bwMode="auto">
            <a:xfrm>
              <a:off x="6809329" y="4246697"/>
              <a:ext cx="79742" cy="11630"/>
            </a:xfrm>
            <a:custGeom>
              <a:avLst/>
              <a:gdLst>
                <a:gd name="T0" fmla="*/ 0 w 48"/>
                <a:gd name="T1" fmla="*/ 7 h 7"/>
                <a:gd name="T2" fmla="*/ 48 w 48"/>
                <a:gd name="T3" fmla="*/ 7 h 7"/>
                <a:gd name="T4" fmla="*/ 48 w 48"/>
                <a:gd name="T5" fmla="*/ 0 h 7"/>
                <a:gd name="T6" fmla="*/ 0 w 48"/>
                <a:gd name="T7" fmla="*/ 0 h 7"/>
              </a:gdLst>
              <a:ahLst/>
              <a:cxnLst>
                <a:cxn ang="0">
                  <a:pos x="T0" y="T1"/>
                </a:cxn>
                <a:cxn ang="0">
                  <a:pos x="T2" y="T3"/>
                </a:cxn>
                <a:cxn ang="0">
                  <a:pos x="T4" y="T5"/>
                </a:cxn>
                <a:cxn ang="0">
                  <a:pos x="T6" y="T7"/>
                </a:cxn>
              </a:cxnLst>
              <a:rect l="0" t="0" r="r" b="b"/>
              <a:pathLst>
                <a:path w="48" h="7">
                  <a:moveTo>
                    <a:pt x="0" y="7"/>
                  </a:moveTo>
                  <a:lnTo>
                    <a:pt x="48" y="7"/>
                  </a:lnTo>
                  <a:lnTo>
                    <a:pt x="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80" name="Rectangle 58"/>
            <p:cNvSpPr>
              <a:spLocks noChangeArrowheads="1"/>
            </p:cNvSpPr>
            <p:nvPr userDrawn="1"/>
          </p:nvSpPr>
          <p:spPr bwMode="auto">
            <a:xfrm>
              <a:off x="6619942" y="3668568"/>
              <a:ext cx="9968" cy="63129"/>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81" name="Freeform 59"/>
            <p:cNvSpPr/>
            <p:nvPr userDrawn="1"/>
          </p:nvSpPr>
          <p:spPr bwMode="auto">
            <a:xfrm>
              <a:off x="6619942" y="3668568"/>
              <a:ext cx="9968" cy="63129"/>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82" name="Rectangle 60"/>
            <p:cNvSpPr>
              <a:spLocks noChangeArrowheads="1"/>
            </p:cNvSpPr>
            <p:nvPr userDrawn="1"/>
          </p:nvSpPr>
          <p:spPr bwMode="auto">
            <a:xfrm>
              <a:off x="6596684" y="3695149"/>
              <a:ext cx="59806"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83" name="Freeform 61"/>
            <p:cNvSpPr/>
            <p:nvPr userDrawn="1"/>
          </p:nvSpPr>
          <p:spPr bwMode="auto">
            <a:xfrm>
              <a:off x="6596684" y="3695149"/>
              <a:ext cx="59806" cy="9968"/>
            </a:xfrm>
            <a:custGeom>
              <a:avLst/>
              <a:gdLst>
                <a:gd name="T0" fmla="*/ 36 w 36"/>
                <a:gd name="T1" fmla="*/ 0 h 6"/>
                <a:gd name="T2" fmla="*/ 0 w 36"/>
                <a:gd name="T3" fmla="*/ 0 h 6"/>
                <a:gd name="T4" fmla="*/ 0 w 36"/>
                <a:gd name="T5" fmla="*/ 6 h 6"/>
                <a:gd name="T6" fmla="*/ 36 w 36"/>
                <a:gd name="T7" fmla="*/ 6 h 6"/>
              </a:gdLst>
              <a:ahLst/>
              <a:cxnLst>
                <a:cxn ang="0">
                  <a:pos x="T0" y="T1"/>
                </a:cxn>
                <a:cxn ang="0">
                  <a:pos x="T2" y="T3"/>
                </a:cxn>
                <a:cxn ang="0">
                  <a:pos x="T4" y="T5"/>
                </a:cxn>
                <a:cxn ang="0">
                  <a:pos x="T6" y="T7"/>
                </a:cxn>
              </a:cxnLst>
              <a:rect l="0" t="0" r="r" b="b"/>
              <a:pathLst>
                <a:path w="36" h="6">
                  <a:moveTo>
                    <a:pt x="36" y="0"/>
                  </a:moveTo>
                  <a:lnTo>
                    <a:pt x="0" y="0"/>
                  </a:lnTo>
                  <a:lnTo>
                    <a:pt x="0" y="6"/>
                  </a:lnTo>
                  <a:lnTo>
                    <a:pt x="3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84" name="Rectangle 62"/>
            <p:cNvSpPr>
              <a:spLocks noChangeArrowheads="1"/>
            </p:cNvSpPr>
            <p:nvPr userDrawn="1"/>
          </p:nvSpPr>
          <p:spPr bwMode="auto">
            <a:xfrm>
              <a:off x="6772781" y="5230181"/>
              <a:ext cx="9968" cy="59806"/>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85" name="Freeform 63"/>
            <p:cNvSpPr/>
            <p:nvPr userDrawn="1"/>
          </p:nvSpPr>
          <p:spPr bwMode="auto">
            <a:xfrm>
              <a:off x="6772781" y="5230181"/>
              <a:ext cx="9968" cy="59806"/>
            </a:xfrm>
            <a:custGeom>
              <a:avLst/>
              <a:gdLst>
                <a:gd name="T0" fmla="*/ 0 w 6"/>
                <a:gd name="T1" fmla="*/ 0 h 36"/>
                <a:gd name="T2" fmla="*/ 0 w 6"/>
                <a:gd name="T3" fmla="*/ 36 h 36"/>
                <a:gd name="T4" fmla="*/ 6 w 6"/>
                <a:gd name="T5" fmla="*/ 36 h 36"/>
                <a:gd name="T6" fmla="*/ 6 w 6"/>
                <a:gd name="T7" fmla="*/ 0 h 36"/>
              </a:gdLst>
              <a:ahLst/>
              <a:cxnLst>
                <a:cxn ang="0">
                  <a:pos x="T0" y="T1"/>
                </a:cxn>
                <a:cxn ang="0">
                  <a:pos x="T2" y="T3"/>
                </a:cxn>
                <a:cxn ang="0">
                  <a:pos x="T4" y="T5"/>
                </a:cxn>
                <a:cxn ang="0">
                  <a:pos x="T6" y="T7"/>
                </a:cxn>
              </a:cxnLst>
              <a:rect l="0" t="0" r="r" b="b"/>
              <a:pathLst>
                <a:path w="6" h="36">
                  <a:moveTo>
                    <a:pt x="0" y="0"/>
                  </a:moveTo>
                  <a:lnTo>
                    <a:pt x="0" y="36"/>
                  </a:lnTo>
                  <a:lnTo>
                    <a:pt x="6" y="3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86" name="Rectangle 64"/>
            <p:cNvSpPr>
              <a:spLocks noChangeArrowheads="1"/>
            </p:cNvSpPr>
            <p:nvPr userDrawn="1"/>
          </p:nvSpPr>
          <p:spPr bwMode="auto">
            <a:xfrm>
              <a:off x="6746200" y="5256761"/>
              <a:ext cx="63129"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87" name="Freeform 65"/>
            <p:cNvSpPr/>
            <p:nvPr userDrawn="1"/>
          </p:nvSpPr>
          <p:spPr bwMode="auto">
            <a:xfrm>
              <a:off x="6746200" y="5256761"/>
              <a:ext cx="63129" cy="9968"/>
            </a:xfrm>
            <a:custGeom>
              <a:avLst/>
              <a:gdLst>
                <a:gd name="T0" fmla="*/ 38 w 38"/>
                <a:gd name="T1" fmla="*/ 0 h 6"/>
                <a:gd name="T2" fmla="*/ 0 w 38"/>
                <a:gd name="T3" fmla="*/ 0 h 6"/>
                <a:gd name="T4" fmla="*/ 0 w 38"/>
                <a:gd name="T5" fmla="*/ 6 h 6"/>
                <a:gd name="T6" fmla="*/ 38 w 38"/>
                <a:gd name="T7" fmla="*/ 6 h 6"/>
              </a:gdLst>
              <a:ahLst/>
              <a:cxnLst>
                <a:cxn ang="0">
                  <a:pos x="T0" y="T1"/>
                </a:cxn>
                <a:cxn ang="0">
                  <a:pos x="T2" y="T3"/>
                </a:cxn>
                <a:cxn ang="0">
                  <a:pos x="T4" y="T5"/>
                </a:cxn>
                <a:cxn ang="0">
                  <a:pos x="T6" y="T7"/>
                </a:cxn>
              </a:cxnLst>
              <a:rect l="0" t="0" r="r" b="b"/>
              <a:pathLst>
                <a:path w="38" h="6">
                  <a:moveTo>
                    <a:pt x="38" y="0"/>
                  </a:moveTo>
                  <a:lnTo>
                    <a:pt x="0" y="0"/>
                  </a:lnTo>
                  <a:lnTo>
                    <a:pt x="0" y="6"/>
                  </a:lnTo>
                  <a:lnTo>
                    <a:pt x="3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92" name="Freeform 70"/>
            <p:cNvSpPr/>
            <p:nvPr userDrawn="1"/>
          </p:nvSpPr>
          <p:spPr bwMode="auto">
            <a:xfrm>
              <a:off x="6920636" y="5012552"/>
              <a:ext cx="59806" cy="59806"/>
            </a:xfrm>
            <a:custGeom>
              <a:avLst/>
              <a:gdLst>
                <a:gd name="T0" fmla="*/ 21 w 23"/>
                <a:gd name="T1" fmla="*/ 11 h 23"/>
                <a:gd name="T2" fmla="*/ 19 w 23"/>
                <a:gd name="T3" fmla="*/ 11 h 23"/>
                <a:gd name="T4" fmla="*/ 12 w 23"/>
                <a:gd name="T5" fmla="*/ 19 h 23"/>
                <a:gd name="T6" fmla="*/ 4 w 23"/>
                <a:gd name="T7" fmla="*/ 11 h 23"/>
                <a:gd name="T8" fmla="*/ 12 w 23"/>
                <a:gd name="T9" fmla="*/ 4 h 23"/>
                <a:gd name="T10" fmla="*/ 19 w 23"/>
                <a:gd name="T11" fmla="*/ 11 h 23"/>
                <a:gd name="T12" fmla="*/ 21 w 23"/>
                <a:gd name="T13" fmla="*/ 11 h 23"/>
                <a:gd name="T14" fmla="*/ 23 w 23"/>
                <a:gd name="T15" fmla="*/ 11 h 23"/>
                <a:gd name="T16" fmla="*/ 12 w 23"/>
                <a:gd name="T17" fmla="*/ 0 h 23"/>
                <a:gd name="T18" fmla="*/ 0 w 23"/>
                <a:gd name="T19" fmla="*/ 11 h 23"/>
                <a:gd name="T20" fmla="*/ 12 w 23"/>
                <a:gd name="T21" fmla="*/ 23 h 23"/>
                <a:gd name="T22" fmla="*/ 23 w 23"/>
                <a:gd name="T23" fmla="*/ 11 h 23"/>
                <a:gd name="T24" fmla="*/ 21 w 23"/>
                <a:gd name="T25"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21" y="11"/>
                  </a:moveTo>
                  <a:cubicBezTo>
                    <a:pt x="19" y="11"/>
                    <a:pt x="19" y="11"/>
                    <a:pt x="19" y="11"/>
                  </a:cubicBezTo>
                  <a:cubicBezTo>
                    <a:pt x="19" y="15"/>
                    <a:pt x="16" y="19"/>
                    <a:pt x="12" y="19"/>
                  </a:cubicBezTo>
                  <a:cubicBezTo>
                    <a:pt x="7" y="19"/>
                    <a:pt x="4" y="15"/>
                    <a:pt x="4" y="11"/>
                  </a:cubicBezTo>
                  <a:cubicBezTo>
                    <a:pt x="4" y="7"/>
                    <a:pt x="7" y="4"/>
                    <a:pt x="12" y="4"/>
                  </a:cubicBezTo>
                  <a:cubicBezTo>
                    <a:pt x="16" y="4"/>
                    <a:pt x="19" y="7"/>
                    <a:pt x="19" y="11"/>
                  </a:cubicBezTo>
                  <a:cubicBezTo>
                    <a:pt x="21" y="11"/>
                    <a:pt x="21" y="11"/>
                    <a:pt x="21" y="11"/>
                  </a:cubicBezTo>
                  <a:cubicBezTo>
                    <a:pt x="23" y="11"/>
                    <a:pt x="23" y="11"/>
                    <a:pt x="23" y="11"/>
                  </a:cubicBezTo>
                  <a:cubicBezTo>
                    <a:pt x="23" y="5"/>
                    <a:pt x="18" y="0"/>
                    <a:pt x="12" y="0"/>
                  </a:cubicBezTo>
                  <a:cubicBezTo>
                    <a:pt x="5" y="0"/>
                    <a:pt x="0" y="5"/>
                    <a:pt x="0" y="11"/>
                  </a:cubicBezTo>
                  <a:cubicBezTo>
                    <a:pt x="0" y="18"/>
                    <a:pt x="5" y="23"/>
                    <a:pt x="12" y="23"/>
                  </a:cubicBezTo>
                  <a:cubicBezTo>
                    <a:pt x="18" y="23"/>
                    <a:pt x="23" y="18"/>
                    <a:pt x="23" y="11"/>
                  </a:cubicBezTo>
                  <a:lnTo>
                    <a:pt x="21" y="11"/>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09" name="Freeform 87"/>
            <p:cNvSpPr>
              <a:spLocks noEditPoints="1"/>
            </p:cNvSpPr>
            <p:nvPr userDrawn="1"/>
          </p:nvSpPr>
          <p:spPr bwMode="auto">
            <a:xfrm>
              <a:off x="5553394" y="3389471"/>
              <a:ext cx="161146" cy="225935"/>
            </a:xfrm>
            <a:custGeom>
              <a:avLst/>
              <a:gdLst>
                <a:gd name="T0" fmla="*/ 31 w 62"/>
                <a:gd name="T1" fmla="*/ 83 h 87"/>
                <a:gd name="T2" fmla="*/ 4 w 62"/>
                <a:gd name="T3" fmla="*/ 32 h 87"/>
                <a:gd name="T4" fmla="*/ 17 w 62"/>
                <a:gd name="T5" fmla="*/ 7 h 87"/>
                <a:gd name="T6" fmla="*/ 57 w 62"/>
                <a:gd name="T7" fmla="*/ 83 h 87"/>
                <a:gd name="T8" fmla="*/ 31 w 62"/>
                <a:gd name="T9" fmla="*/ 83 h 87"/>
                <a:gd name="T10" fmla="*/ 16 w 62"/>
                <a:gd name="T11" fmla="*/ 3 h 87"/>
                <a:gd name="T12" fmla="*/ 17 w 62"/>
                <a:gd name="T13" fmla="*/ 2 h 87"/>
                <a:gd name="T14" fmla="*/ 16 w 62"/>
                <a:gd name="T15" fmla="*/ 3 h 87"/>
                <a:gd name="T16" fmla="*/ 17 w 62"/>
                <a:gd name="T17" fmla="*/ 0 h 87"/>
                <a:gd name="T18" fmla="*/ 16 w 62"/>
                <a:gd name="T19" fmla="*/ 1 h 87"/>
                <a:gd name="T20" fmla="*/ 16 w 62"/>
                <a:gd name="T21" fmla="*/ 1 h 87"/>
                <a:gd name="T22" fmla="*/ 0 w 62"/>
                <a:gd name="T23" fmla="*/ 31 h 87"/>
                <a:gd name="T24" fmla="*/ 0 w 62"/>
                <a:gd name="T25" fmla="*/ 33 h 87"/>
                <a:gd name="T26" fmla="*/ 28 w 62"/>
                <a:gd name="T27" fmla="*/ 86 h 87"/>
                <a:gd name="T28" fmla="*/ 30 w 62"/>
                <a:gd name="T29" fmla="*/ 87 h 87"/>
                <a:gd name="T30" fmla="*/ 60 w 62"/>
                <a:gd name="T31" fmla="*/ 87 h 87"/>
                <a:gd name="T32" fmla="*/ 62 w 62"/>
                <a:gd name="T33" fmla="*/ 86 h 87"/>
                <a:gd name="T34" fmla="*/ 62 w 62"/>
                <a:gd name="T35" fmla="*/ 84 h 87"/>
                <a:gd name="T36" fmla="*/ 19 w 62"/>
                <a:gd name="T37" fmla="*/ 1 h 87"/>
                <a:gd name="T38" fmla="*/ 17 w 62"/>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87">
                  <a:moveTo>
                    <a:pt x="31" y="83"/>
                  </a:moveTo>
                  <a:cubicBezTo>
                    <a:pt x="4" y="32"/>
                    <a:pt x="4" y="32"/>
                    <a:pt x="4" y="32"/>
                  </a:cubicBezTo>
                  <a:cubicBezTo>
                    <a:pt x="17" y="7"/>
                    <a:pt x="17" y="7"/>
                    <a:pt x="17" y="7"/>
                  </a:cubicBezTo>
                  <a:cubicBezTo>
                    <a:pt x="57" y="83"/>
                    <a:pt x="57" y="83"/>
                    <a:pt x="57" y="83"/>
                  </a:cubicBezTo>
                  <a:cubicBezTo>
                    <a:pt x="31" y="83"/>
                    <a:pt x="31" y="83"/>
                    <a:pt x="31" y="83"/>
                  </a:cubicBezTo>
                  <a:moveTo>
                    <a:pt x="16" y="3"/>
                  </a:moveTo>
                  <a:cubicBezTo>
                    <a:pt x="17" y="2"/>
                    <a:pt x="17" y="2"/>
                    <a:pt x="17" y="2"/>
                  </a:cubicBezTo>
                  <a:cubicBezTo>
                    <a:pt x="16" y="3"/>
                    <a:pt x="16" y="3"/>
                    <a:pt x="16" y="3"/>
                  </a:cubicBezTo>
                  <a:moveTo>
                    <a:pt x="17" y="0"/>
                  </a:move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30" y="87"/>
                  </a:cubicBezTo>
                  <a:cubicBezTo>
                    <a:pt x="60" y="87"/>
                    <a:pt x="60" y="87"/>
                    <a:pt x="60" y="87"/>
                  </a:cubicBezTo>
                  <a:cubicBezTo>
                    <a:pt x="61" y="87"/>
                    <a:pt x="62" y="87"/>
                    <a:pt x="62" y="86"/>
                  </a:cubicBezTo>
                  <a:cubicBezTo>
                    <a:pt x="62" y="86"/>
                    <a:pt x="62" y="85"/>
                    <a:pt x="62" y="84"/>
                  </a:cubicBezTo>
                  <a:cubicBezTo>
                    <a:pt x="19" y="1"/>
                    <a:pt x="19" y="1"/>
                    <a:pt x="19" y="1"/>
                  </a:cubicBezTo>
                  <a:cubicBezTo>
                    <a:pt x="19" y="1"/>
                    <a:pt x="18" y="0"/>
                    <a:pt x="17"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10" name="Freeform 88"/>
            <p:cNvSpPr>
              <a:spLocks noEditPoints="1"/>
            </p:cNvSpPr>
            <p:nvPr userDrawn="1"/>
          </p:nvSpPr>
          <p:spPr bwMode="auto">
            <a:xfrm>
              <a:off x="5613200" y="3296439"/>
              <a:ext cx="79742" cy="79742"/>
            </a:xfrm>
            <a:custGeom>
              <a:avLst/>
              <a:gdLst>
                <a:gd name="T0" fmla="*/ 31 w 31"/>
                <a:gd name="T1" fmla="*/ 15 h 31"/>
                <a:gd name="T2" fmla="*/ 31 w 31"/>
                <a:gd name="T3" fmla="*/ 15 h 31"/>
                <a:gd name="T4" fmla="*/ 31 w 31"/>
                <a:gd name="T5" fmla="*/ 15 h 31"/>
                <a:gd name="T6" fmla="*/ 15 w 31"/>
                <a:gd name="T7" fmla="*/ 0 h 31"/>
                <a:gd name="T8" fmla="*/ 0 w 31"/>
                <a:gd name="T9" fmla="*/ 15 h 31"/>
                <a:gd name="T10" fmla="*/ 15 w 31"/>
                <a:gd name="T11" fmla="*/ 31 h 31"/>
                <a:gd name="T12" fmla="*/ 31 w 31"/>
                <a:gd name="T13" fmla="*/ 15 h 31"/>
                <a:gd name="T14" fmla="*/ 29 w 31"/>
                <a:gd name="T15" fmla="*/ 15 h 31"/>
                <a:gd name="T16" fmla="*/ 27 w 31"/>
                <a:gd name="T17" fmla="*/ 15 h 31"/>
                <a:gd name="T18" fmla="*/ 15 w 31"/>
                <a:gd name="T19" fmla="*/ 27 h 31"/>
                <a:gd name="T20" fmla="*/ 4 w 31"/>
                <a:gd name="T21" fmla="*/ 15 h 31"/>
                <a:gd name="T22" fmla="*/ 15 w 31"/>
                <a:gd name="T23" fmla="*/ 4 h 31"/>
                <a:gd name="T24" fmla="*/ 27 w 31"/>
                <a:gd name="T25" fmla="*/ 15 h 31"/>
                <a:gd name="T26" fmla="*/ 29 w 31"/>
                <a:gd name="T27" fmla="*/ 15 h 31"/>
                <a:gd name="T28" fmla="*/ 31 w 31"/>
                <a:gd name="T29" fmla="*/ 15 h 31"/>
                <a:gd name="T30" fmla="*/ 31 w 31"/>
                <a:gd name="T31" fmla="*/ 15 h 31"/>
                <a:gd name="T32" fmla="*/ 15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5" y="0"/>
                  </a:moveTo>
                  <a:cubicBezTo>
                    <a:pt x="7" y="0"/>
                    <a:pt x="0" y="7"/>
                    <a:pt x="0" y="15"/>
                  </a:cubicBezTo>
                  <a:cubicBezTo>
                    <a:pt x="0" y="24"/>
                    <a:pt x="7" y="31"/>
                    <a:pt x="15" y="31"/>
                  </a:cubicBezTo>
                  <a:cubicBezTo>
                    <a:pt x="24" y="31"/>
                    <a:pt x="31" y="24"/>
                    <a:pt x="31" y="15"/>
                  </a:cubicBezTo>
                  <a:cubicBezTo>
                    <a:pt x="29" y="15"/>
                    <a:pt x="29" y="15"/>
                    <a:pt x="29" y="15"/>
                  </a:cubicBezTo>
                  <a:cubicBezTo>
                    <a:pt x="27" y="15"/>
                    <a:pt x="27" y="15"/>
                    <a:pt x="27" y="15"/>
                  </a:cubicBezTo>
                  <a:cubicBezTo>
                    <a:pt x="27" y="22"/>
                    <a:pt x="22" y="27"/>
                    <a:pt x="15" y="27"/>
                  </a:cubicBezTo>
                  <a:cubicBezTo>
                    <a:pt x="9" y="27"/>
                    <a:pt x="4" y="22"/>
                    <a:pt x="4" y="15"/>
                  </a:cubicBezTo>
                  <a:cubicBezTo>
                    <a:pt x="4" y="9"/>
                    <a:pt x="9" y="4"/>
                    <a:pt x="15"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5"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 name="Freeform 209"/>
            <p:cNvSpPr/>
            <p:nvPr userDrawn="1"/>
          </p:nvSpPr>
          <p:spPr bwMode="auto">
            <a:xfrm>
              <a:off x="5947120" y="3384488"/>
              <a:ext cx="225935" cy="279097"/>
            </a:xfrm>
            <a:custGeom>
              <a:avLst/>
              <a:gdLst>
                <a:gd name="T0" fmla="*/ 54 w 87"/>
                <a:gd name="T1" fmla="*/ 0 h 108"/>
                <a:gd name="T2" fmla="*/ 26 w 87"/>
                <a:gd name="T3" fmla="*/ 16 h 108"/>
                <a:gd name="T4" fmla="*/ 19 w 87"/>
                <a:gd name="T5" fmla="*/ 35 h 108"/>
                <a:gd name="T6" fmla="*/ 15 w 87"/>
                <a:gd name="T7" fmla="*/ 55 h 108"/>
                <a:gd name="T8" fmla="*/ 0 w 87"/>
                <a:gd name="T9" fmla="*/ 94 h 108"/>
                <a:gd name="T10" fmla="*/ 87 w 87"/>
                <a:gd name="T11" fmla="*/ 97 h 108"/>
              </a:gdLst>
              <a:ahLst/>
              <a:cxnLst>
                <a:cxn ang="0">
                  <a:pos x="T0" y="T1"/>
                </a:cxn>
                <a:cxn ang="0">
                  <a:pos x="T2" y="T3"/>
                </a:cxn>
                <a:cxn ang="0">
                  <a:pos x="T4" y="T5"/>
                </a:cxn>
                <a:cxn ang="0">
                  <a:pos x="T6" y="T7"/>
                </a:cxn>
                <a:cxn ang="0">
                  <a:pos x="T8" y="T9"/>
                </a:cxn>
                <a:cxn ang="0">
                  <a:pos x="T10" y="T11"/>
                </a:cxn>
              </a:cxnLst>
              <a:rect l="0" t="0" r="r" b="b"/>
              <a:pathLst>
                <a:path w="87" h="108">
                  <a:moveTo>
                    <a:pt x="54" y="0"/>
                  </a:moveTo>
                  <a:cubicBezTo>
                    <a:pt x="42" y="2"/>
                    <a:pt x="32" y="6"/>
                    <a:pt x="26" y="16"/>
                  </a:cubicBezTo>
                  <a:cubicBezTo>
                    <a:pt x="22" y="22"/>
                    <a:pt x="20" y="29"/>
                    <a:pt x="19" y="35"/>
                  </a:cubicBezTo>
                  <a:cubicBezTo>
                    <a:pt x="17" y="42"/>
                    <a:pt x="17" y="49"/>
                    <a:pt x="15" y="55"/>
                  </a:cubicBezTo>
                  <a:cubicBezTo>
                    <a:pt x="11" y="69"/>
                    <a:pt x="6" y="81"/>
                    <a:pt x="0" y="94"/>
                  </a:cubicBezTo>
                  <a:cubicBezTo>
                    <a:pt x="22" y="108"/>
                    <a:pt x="61" y="103"/>
                    <a:pt x="87" y="97"/>
                  </a:cubicBezTo>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 name="Freeform 210"/>
            <p:cNvSpPr/>
            <p:nvPr userDrawn="1"/>
          </p:nvSpPr>
          <p:spPr bwMode="auto">
            <a:xfrm>
              <a:off x="6103281" y="3381165"/>
              <a:ext cx="235903" cy="272452"/>
            </a:xfrm>
            <a:custGeom>
              <a:avLst/>
              <a:gdLst>
                <a:gd name="T0" fmla="*/ 80 w 91"/>
                <a:gd name="T1" fmla="*/ 71 h 105"/>
                <a:gd name="T2" fmla="*/ 62 w 91"/>
                <a:gd name="T3" fmla="*/ 29 h 105"/>
                <a:gd name="T4" fmla="*/ 50 w 91"/>
                <a:gd name="T5" fmla="*/ 7 h 105"/>
                <a:gd name="T6" fmla="*/ 37 w 91"/>
                <a:gd name="T7" fmla="*/ 1 h 105"/>
                <a:gd name="T8" fmla="*/ 0 w 91"/>
                <a:gd name="T9" fmla="*/ 102 h 105"/>
                <a:gd name="T10" fmla="*/ 91 w 91"/>
                <a:gd name="T11" fmla="*/ 87 h 105"/>
                <a:gd name="T12" fmla="*/ 80 w 91"/>
                <a:gd name="T13" fmla="*/ 71 h 105"/>
              </a:gdLst>
              <a:ahLst/>
              <a:cxnLst>
                <a:cxn ang="0">
                  <a:pos x="T0" y="T1"/>
                </a:cxn>
                <a:cxn ang="0">
                  <a:pos x="T2" y="T3"/>
                </a:cxn>
                <a:cxn ang="0">
                  <a:pos x="T4" y="T5"/>
                </a:cxn>
                <a:cxn ang="0">
                  <a:pos x="T6" y="T7"/>
                </a:cxn>
                <a:cxn ang="0">
                  <a:pos x="T8" y="T9"/>
                </a:cxn>
                <a:cxn ang="0">
                  <a:pos x="T10" y="T11"/>
                </a:cxn>
                <a:cxn ang="0">
                  <a:pos x="T12" y="T13"/>
                </a:cxn>
              </a:cxnLst>
              <a:rect l="0" t="0" r="r" b="b"/>
              <a:pathLst>
                <a:path w="91" h="105">
                  <a:moveTo>
                    <a:pt x="80" y="71"/>
                  </a:moveTo>
                  <a:cubicBezTo>
                    <a:pt x="73" y="57"/>
                    <a:pt x="67" y="43"/>
                    <a:pt x="62" y="29"/>
                  </a:cubicBezTo>
                  <a:cubicBezTo>
                    <a:pt x="59" y="21"/>
                    <a:pt x="55" y="13"/>
                    <a:pt x="50" y="7"/>
                  </a:cubicBezTo>
                  <a:cubicBezTo>
                    <a:pt x="46" y="3"/>
                    <a:pt x="42" y="0"/>
                    <a:pt x="37" y="1"/>
                  </a:cubicBezTo>
                  <a:cubicBezTo>
                    <a:pt x="0" y="102"/>
                    <a:pt x="0" y="102"/>
                    <a:pt x="0" y="102"/>
                  </a:cubicBezTo>
                  <a:cubicBezTo>
                    <a:pt x="16" y="105"/>
                    <a:pt x="79" y="99"/>
                    <a:pt x="91" y="87"/>
                  </a:cubicBezTo>
                  <a:cubicBezTo>
                    <a:pt x="86" y="83"/>
                    <a:pt x="82" y="77"/>
                    <a:pt x="80" y="71"/>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 name="Freeform 211"/>
            <p:cNvSpPr/>
            <p:nvPr userDrawn="1"/>
          </p:nvSpPr>
          <p:spPr bwMode="auto">
            <a:xfrm>
              <a:off x="5711217" y="5035810"/>
              <a:ext cx="448548" cy="928662"/>
            </a:xfrm>
            <a:custGeom>
              <a:avLst/>
              <a:gdLst>
                <a:gd name="T0" fmla="*/ 59 w 173"/>
                <a:gd name="T1" fmla="*/ 27 h 358"/>
                <a:gd name="T2" fmla="*/ 42 w 173"/>
                <a:gd name="T3" fmla="*/ 325 h 358"/>
                <a:gd name="T4" fmla="*/ 0 w 173"/>
                <a:gd name="T5" fmla="*/ 352 h 358"/>
                <a:gd name="T6" fmla="*/ 119 w 173"/>
                <a:gd name="T7" fmla="*/ 355 h 358"/>
                <a:gd name="T8" fmla="*/ 114 w 173"/>
                <a:gd name="T9" fmla="*/ 325 h 358"/>
                <a:gd name="T10" fmla="*/ 160 w 173"/>
                <a:gd name="T11" fmla="*/ 145 h 358"/>
                <a:gd name="T12" fmla="*/ 173 w 173"/>
                <a:gd name="T13" fmla="*/ 32 h 358"/>
                <a:gd name="T14" fmla="*/ 59 w 173"/>
                <a:gd name="T15" fmla="*/ 27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58">
                  <a:moveTo>
                    <a:pt x="59" y="27"/>
                  </a:moveTo>
                  <a:cubicBezTo>
                    <a:pt x="40" y="81"/>
                    <a:pt x="42" y="325"/>
                    <a:pt x="42" y="325"/>
                  </a:cubicBezTo>
                  <a:cubicBezTo>
                    <a:pt x="0" y="352"/>
                    <a:pt x="0" y="352"/>
                    <a:pt x="0" y="352"/>
                  </a:cubicBezTo>
                  <a:cubicBezTo>
                    <a:pt x="0" y="352"/>
                    <a:pt x="115" y="358"/>
                    <a:pt x="119" y="355"/>
                  </a:cubicBezTo>
                  <a:cubicBezTo>
                    <a:pt x="122" y="351"/>
                    <a:pt x="114" y="325"/>
                    <a:pt x="114" y="325"/>
                  </a:cubicBezTo>
                  <a:cubicBezTo>
                    <a:pt x="114" y="325"/>
                    <a:pt x="153" y="187"/>
                    <a:pt x="160" y="145"/>
                  </a:cubicBezTo>
                  <a:cubicBezTo>
                    <a:pt x="165" y="116"/>
                    <a:pt x="173" y="32"/>
                    <a:pt x="173" y="32"/>
                  </a:cubicBezTo>
                  <a:cubicBezTo>
                    <a:pt x="173" y="32"/>
                    <a:pt x="69" y="0"/>
                    <a:pt x="59" y="27"/>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Freeform 213"/>
            <p:cNvSpPr/>
            <p:nvPr userDrawn="1"/>
          </p:nvSpPr>
          <p:spPr bwMode="auto">
            <a:xfrm>
              <a:off x="6237845" y="4952746"/>
              <a:ext cx="480113" cy="1011726"/>
            </a:xfrm>
            <a:custGeom>
              <a:avLst/>
              <a:gdLst>
                <a:gd name="T0" fmla="*/ 20 w 185"/>
                <a:gd name="T1" fmla="*/ 27 h 390"/>
                <a:gd name="T2" fmla="*/ 104 w 185"/>
                <a:gd name="T3" fmla="*/ 357 h 390"/>
                <a:gd name="T4" fmla="*/ 62 w 185"/>
                <a:gd name="T5" fmla="*/ 384 h 390"/>
                <a:gd name="T6" fmla="*/ 181 w 185"/>
                <a:gd name="T7" fmla="*/ 387 h 390"/>
                <a:gd name="T8" fmla="*/ 176 w 185"/>
                <a:gd name="T9" fmla="*/ 357 h 390"/>
                <a:gd name="T10" fmla="*/ 156 w 185"/>
                <a:gd name="T11" fmla="*/ 140 h 390"/>
                <a:gd name="T12" fmla="*/ 126 w 185"/>
                <a:gd name="T13" fmla="*/ 33 h 390"/>
                <a:gd name="T14" fmla="*/ 20 w 185"/>
                <a:gd name="T15" fmla="*/ 27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390">
                  <a:moveTo>
                    <a:pt x="20" y="27"/>
                  </a:moveTo>
                  <a:cubicBezTo>
                    <a:pt x="0" y="81"/>
                    <a:pt x="104" y="357"/>
                    <a:pt x="104" y="357"/>
                  </a:cubicBezTo>
                  <a:cubicBezTo>
                    <a:pt x="62" y="384"/>
                    <a:pt x="62" y="384"/>
                    <a:pt x="62" y="384"/>
                  </a:cubicBezTo>
                  <a:cubicBezTo>
                    <a:pt x="62" y="384"/>
                    <a:pt x="177" y="390"/>
                    <a:pt x="181" y="387"/>
                  </a:cubicBezTo>
                  <a:cubicBezTo>
                    <a:pt x="185" y="383"/>
                    <a:pt x="176" y="357"/>
                    <a:pt x="176" y="357"/>
                  </a:cubicBezTo>
                  <a:cubicBezTo>
                    <a:pt x="176" y="357"/>
                    <a:pt x="160" y="167"/>
                    <a:pt x="156" y="140"/>
                  </a:cubicBezTo>
                  <a:cubicBezTo>
                    <a:pt x="144" y="74"/>
                    <a:pt x="126" y="33"/>
                    <a:pt x="126" y="33"/>
                  </a:cubicBezTo>
                  <a:cubicBezTo>
                    <a:pt x="126" y="33"/>
                    <a:pt x="29" y="0"/>
                    <a:pt x="20" y="27"/>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 name="Freeform 214"/>
            <p:cNvSpPr/>
            <p:nvPr userDrawn="1"/>
          </p:nvSpPr>
          <p:spPr bwMode="auto">
            <a:xfrm>
              <a:off x="6349152" y="5886391"/>
              <a:ext cx="373791" cy="119613"/>
            </a:xfrm>
            <a:custGeom>
              <a:avLst/>
              <a:gdLst>
                <a:gd name="T0" fmla="*/ 123 w 144"/>
                <a:gd name="T1" fmla="*/ 26 h 46"/>
                <a:gd name="T2" fmla="*/ 141 w 144"/>
                <a:gd name="T3" fmla="*/ 9 h 46"/>
                <a:gd name="T4" fmla="*/ 138 w 144"/>
                <a:gd name="T5" fmla="*/ 0 h 46"/>
                <a:gd name="T6" fmla="*/ 112 w 144"/>
                <a:gd name="T7" fmla="*/ 26 h 46"/>
                <a:gd name="T8" fmla="*/ 99 w 144"/>
                <a:gd name="T9" fmla="*/ 26 h 46"/>
                <a:gd name="T10" fmla="*/ 55 w 144"/>
                <a:gd name="T11" fmla="*/ 4 h 46"/>
                <a:gd name="T12" fmla="*/ 6 w 144"/>
                <a:gd name="T13" fmla="*/ 34 h 46"/>
                <a:gd name="T14" fmla="*/ 9 w 144"/>
                <a:gd name="T15" fmla="*/ 46 h 46"/>
                <a:gd name="T16" fmla="*/ 75 w 144"/>
                <a:gd name="T17" fmla="*/ 46 h 46"/>
                <a:gd name="T18" fmla="*/ 95 w 144"/>
                <a:gd name="T19" fmla="*/ 32 h 46"/>
                <a:gd name="T20" fmla="*/ 101 w 144"/>
                <a:gd name="T21" fmla="*/ 32 h 46"/>
                <a:gd name="T22" fmla="*/ 101 w 144"/>
                <a:gd name="T23" fmla="*/ 46 h 46"/>
                <a:gd name="T24" fmla="*/ 144 w 144"/>
                <a:gd name="T25" fmla="*/ 46 h 46"/>
                <a:gd name="T26" fmla="*/ 144 w 144"/>
                <a:gd name="T27" fmla="*/ 26 h 46"/>
                <a:gd name="T28" fmla="*/ 123 w 144"/>
                <a:gd name="T29" fmla="*/ 2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46">
                  <a:moveTo>
                    <a:pt x="123" y="26"/>
                  </a:moveTo>
                  <a:cubicBezTo>
                    <a:pt x="141" y="9"/>
                    <a:pt x="141" y="9"/>
                    <a:pt x="141" y="9"/>
                  </a:cubicBezTo>
                  <a:cubicBezTo>
                    <a:pt x="138" y="0"/>
                    <a:pt x="138" y="0"/>
                    <a:pt x="138" y="0"/>
                  </a:cubicBezTo>
                  <a:cubicBezTo>
                    <a:pt x="112" y="26"/>
                    <a:pt x="112" y="26"/>
                    <a:pt x="112" y="26"/>
                  </a:cubicBezTo>
                  <a:cubicBezTo>
                    <a:pt x="99" y="26"/>
                    <a:pt x="99" y="26"/>
                    <a:pt x="99" y="26"/>
                  </a:cubicBezTo>
                  <a:cubicBezTo>
                    <a:pt x="55" y="4"/>
                    <a:pt x="55" y="4"/>
                    <a:pt x="55" y="4"/>
                  </a:cubicBezTo>
                  <a:cubicBezTo>
                    <a:pt x="6" y="34"/>
                    <a:pt x="6" y="34"/>
                    <a:pt x="6" y="34"/>
                  </a:cubicBezTo>
                  <a:cubicBezTo>
                    <a:pt x="0" y="38"/>
                    <a:pt x="3" y="46"/>
                    <a:pt x="9" y="46"/>
                  </a:cubicBezTo>
                  <a:cubicBezTo>
                    <a:pt x="75" y="46"/>
                    <a:pt x="75" y="46"/>
                    <a:pt x="75" y="46"/>
                  </a:cubicBezTo>
                  <a:cubicBezTo>
                    <a:pt x="95" y="32"/>
                    <a:pt x="95" y="32"/>
                    <a:pt x="95" y="32"/>
                  </a:cubicBezTo>
                  <a:cubicBezTo>
                    <a:pt x="101" y="32"/>
                    <a:pt x="101" y="32"/>
                    <a:pt x="101" y="32"/>
                  </a:cubicBezTo>
                  <a:cubicBezTo>
                    <a:pt x="101" y="46"/>
                    <a:pt x="101" y="46"/>
                    <a:pt x="101" y="46"/>
                  </a:cubicBezTo>
                  <a:cubicBezTo>
                    <a:pt x="144" y="46"/>
                    <a:pt x="144" y="46"/>
                    <a:pt x="144" y="46"/>
                  </a:cubicBezTo>
                  <a:cubicBezTo>
                    <a:pt x="144" y="26"/>
                    <a:pt x="144" y="26"/>
                    <a:pt x="144" y="26"/>
                  </a:cubicBezTo>
                  <a:lnTo>
                    <a:pt x="123" y="26"/>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215"/>
            <p:cNvSpPr/>
            <p:nvPr userDrawn="1"/>
          </p:nvSpPr>
          <p:spPr bwMode="auto">
            <a:xfrm>
              <a:off x="5845781" y="4211810"/>
              <a:ext cx="797419" cy="1074855"/>
            </a:xfrm>
            <a:custGeom>
              <a:avLst/>
              <a:gdLst>
                <a:gd name="T0" fmla="*/ 237 w 307"/>
                <a:gd name="T1" fmla="*/ 51 h 415"/>
                <a:gd name="T2" fmla="*/ 248 w 307"/>
                <a:gd name="T3" fmla="*/ 80 h 415"/>
                <a:gd name="T4" fmla="*/ 304 w 307"/>
                <a:gd name="T5" fmla="*/ 389 h 415"/>
                <a:gd name="T6" fmla="*/ 150 w 307"/>
                <a:gd name="T7" fmla="*/ 412 h 415"/>
                <a:gd name="T8" fmla="*/ 0 w 307"/>
                <a:gd name="T9" fmla="*/ 392 h 415"/>
                <a:gd name="T10" fmla="*/ 44 w 307"/>
                <a:gd name="T11" fmla="*/ 41 h 415"/>
                <a:gd name="T12" fmla="*/ 237 w 307"/>
                <a:gd name="T13" fmla="*/ 51 h 415"/>
              </a:gdLst>
              <a:ahLst/>
              <a:cxnLst>
                <a:cxn ang="0">
                  <a:pos x="T0" y="T1"/>
                </a:cxn>
                <a:cxn ang="0">
                  <a:pos x="T2" y="T3"/>
                </a:cxn>
                <a:cxn ang="0">
                  <a:pos x="T4" y="T5"/>
                </a:cxn>
                <a:cxn ang="0">
                  <a:pos x="T6" y="T7"/>
                </a:cxn>
                <a:cxn ang="0">
                  <a:pos x="T8" y="T9"/>
                </a:cxn>
                <a:cxn ang="0">
                  <a:pos x="T10" y="T11"/>
                </a:cxn>
                <a:cxn ang="0">
                  <a:pos x="T12" y="T13"/>
                </a:cxn>
              </a:cxnLst>
              <a:rect l="0" t="0" r="r" b="b"/>
              <a:pathLst>
                <a:path w="307" h="415">
                  <a:moveTo>
                    <a:pt x="237" y="51"/>
                  </a:moveTo>
                  <a:cubicBezTo>
                    <a:pt x="243" y="63"/>
                    <a:pt x="243" y="65"/>
                    <a:pt x="248" y="80"/>
                  </a:cubicBezTo>
                  <a:cubicBezTo>
                    <a:pt x="307" y="149"/>
                    <a:pt x="304" y="389"/>
                    <a:pt x="304" y="389"/>
                  </a:cubicBezTo>
                  <a:cubicBezTo>
                    <a:pt x="304" y="389"/>
                    <a:pt x="239" y="415"/>
                    <a:pt x="150" y="412"/>
                  </a:cubicBezTo>
                  <a:cubicBezTo>
                    <a:pt x="54" y="409"/>
                    <a:pt x="0" y="392"/>
                    <a:pt x="0" y="392"/>
                  </a:cubicBezTo>
                  <a:cubicBezTo>
                    <a:pt x="0" y="392"/>
                    <a:pt x="17" y="82"/>
                    <a:pt x="44" y="41"/>
                  </a:cubicBezTo>
                  <a:cubicBezTo>
                    <a:pt x="72" y="0"/>
                    <a:pt x="237" y="51"/>
                    <a:pt x="237" y="51"/>
                  </a:cubicBezTo>
                  <a:close/>
                </a:path>
              </a:pathLst>
            </a:custGeom>
            <a:solidFill>
              <a:srgbClr val="103B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 name="Freeform 216"/>
            <p:cNvSpPr/>
            <p:nvPr userDrawn="1"/>
          </p:nvSpPr>
          <p:spPr bwMode="auto">
            <a:xfrm>
              <a:off x="6324232" y="4412826"/>
              <a:ext cx="157823" cy="101339"/>
            </a:xfrm>
            <a:custGeom>
              <a:avLst/>
              <a:gdLst>
                <a:gd name="T0" fmla="*/ 0 w 61"/>
                <a:gd name="T1" fmla="*/ 1 h 39"/>
                <a:gd name="T2" fmla="*/ 12 w 61"/>
                <a:gd name="T3" fmla="*/ 21 h 39"/>
                <a:gd name="T4" fmla="*/ 43 w 61"/>
                <a:gd name="T5" fmla="*/ 36 h 39"/>
                <a:gd name="T6" fmla="*/ 60 w 61"/>
                <a:gd name="T7" fmla="*/ 39 h 39"/>
                <a:gd name="T8" fmla="*/ 61 w 61"/>
                <a:gd name="T9" fmla="*/ 35 h 39"/>
                <a:gd name="T10" fmla="*/ 60 w 61"/>
                <a:gd name="T11" fmla="*/ 35 h 39"/>
                <a:gd name="T12" fmla="*/ 31 w 61"/>
                <a:gd name="T13" fmla="*/ 28 h 39"/>
                <a:gd name="T14" fmla="*/ 13 w 61"/>
                <a:gd name="T15" fmla="*/ 17 h 39"/>
                <a:gd name="T16" fmla="*/ 4 w 61"/>
                <a:gd name="T17" fmla="*/ 0 h 39"/>
                <a:gd name="T18" fmla="*/ 0 w 61"/>
                <a:gd name="T19"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39">
                  <a:moveTo>
                    <a:pt x="0" y="1"/>
                  </a:moveTo>
                  <a:cubicBezTo>
                    <a:pt x="1" y="9"/>
                    <a:pt x="6" y="16"/>
                    <a:pt x="12" y="21"/>
                  </a:cubicBezTo>
                  <a:cubicBezTo>
                    <a:pt x="21" y="29"/>
                    <a:pt x="33" y="33"/>
                    <a:pt x="43" y="36"/>
                  </a:cubicBezTo>
                  <a:cubicBezTo>
                    <a:pt x="52" y="38"/>
                    <a:pt x="60" y="39"/>
                    <a:pt x="60" y="39"/>
                  </a:cubicBezTo>
                  <a:cubicBezTo>
                    <a:pt x="61" y="35"/>
                    <a:pt x="61" y="35"/>
                    <a:pt x="61" y="35"/>
                  </a:cubicBezTo>
                  <a:cubicBezTo>
                    <a:pt x="61" y="35"/>
                    <a:pt x="60" y="35"/>
                    <a:pt x="60" y="35"/>
                  </a:cubicBezTo>
                  <a:cubicBezTo>
                    <a:pt x="57" y="35"/>
                    <a:pt x="44" y="33"/>
                    <a:pt x="31" y="28"/>
                  </a:cubicBezTo>
                  <a:cubicBezTo>
                    <a:pt x="25" y="25"/>
                    <a:pt x="18" y="22"/>
                    <a:pt x="13" y="17"/>
                  </a:cubicBezTo>
                  <a:cubicBezTo>
                    <a:pt x="8" y="13"/>
                    <a:pt x="5" y="7"/>
                    <a:pt x="4" y="0"/>
                  </a:cubicBezTo>
                  <a:cubicBezTo>
                    <a:pt x="0" y="1"/>
                    <a:pt x="0" y="1"/>
                    <a:pt x="0" y="1"/>
                  </a:cubicBezTo>
                  <a:close/>
                </a:path>
              </a:pathLst>
            </a:custGeom>
            <a:solidFill>
              <a:srgbClr val="0028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 name="Freeform 217"/>
            <p:cNvSpPr/>
            <p:nvPr userDrawn="1"/>
          </p:nvSpPr>
          <p:spPr bwMode="auto">
            <a:xfrm>
              <a:off x="6402314" y="4384585"/>
              <a:ext cx="194371" cy="842275"/>
            </a:xfrm>
            <a:custGeom>
              <a:avLst/>
              <a:gdLst>
                <a:gd name="T0" fmla="*/ 0 w 75"/>
                <a:gd name="T1" fmla="*/ 3 h 325"/>
                <a:gd name="T2" fmla="*/ 38 w 75"/>
                <a:gd name="T3" fmla="*/ 76 h 325"/>
                <a:gd name="T4" fmla="*/ 65 w 75"/>
                <a:gd name="T5" fmla="*/ 237 h 325"/>
                <a:gd name="T6" fmla="*/ 70 w 75"/>
                <a:gd name="T7" fmla="*/ 300 h 325"/>
                <a:gd name="T8" fmla="*/ 70 w 75"/>
                <a:gd name="T9" fmla="*/ 318 h 325"/>
                <a:gd name="T10" fmla="*/ 71 w 75"/>
                <a:gd name="T11" fmla="*/ 325 h 325"/>
                <a:gd name="T12" fmla="*/ 75 w 75"/>
                <a:gd name="T13" fmla="*/ 325 h 325"/>
                <a:gd name="T14" fmla="*/ 63 w 75"/>
                <a:gd name="T15" fmla="*/ 184 h 325"/>
                <a:gd name="T16" fmla="*/ 42 w 75"/>
                <a:gd name="T17" fmla="*/ 75 h 325"/>
                <a:gd name="T18" fmla="*/ 3 w 75"/>
                <a:gd name="T19" fmla="*/ 0 h 325"/>
                <a:gd name="T20" fmla="*/ 0 w 75"/>
                <a:gd name="T21" fmla="*/ 3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5">
                  <a:moveTo>
                    <a:pt x="0" y="3"/>
                  </a:moveTo>
                  <a:cubicBezTo>
                    <a:pt x="16" y="16"/>
                    <a:pt x="28" y="43"/>
                    <a:pt x="38" y="76"/>
                  </a:cubicBezTo>
                  <a:cubicBezTo>
                    <a:pt x="52" y="125"/>
                    <a:pt x="60" y="187"/>
                    <a:pt x="65" y="237"/>
                  </a:cubicBezTo>
                  <a:cubicBezTo>
                    <a:pt x="67" y="262"/>
                    <a:pt x="69" y="284"/>
                    <a:pt x="70" y="300"/>
                  </a:cubicBezTo>
                  <a:cubicBezTo>
                    <a:pt x="70" y="308"/>
                    <a:pt x="70" y="314"/>
                    <a:pt x="70" y="318"/>
                  </a:cubicBezTo>
                  <a:cubicBezTo>
                    <a:pt x="71" y="323"/>
                    <a:pt x="71" y="325"/>
                    <a:pt x="71" y="325"/>
                  </a:cubicBezTo>
                  <a:cubicBezTo>
                    <a:pt x="75" y="325"/>
                    <a:pt x="75" y="325"/>
                    <a:pt x="75" y="325"/>
                  </a:cubicBezTo>
                  <a:cubicBezTo>
                    <a:pt x="75" y="325"/>
                    <a:pt x="73" y="258"/>
                    <a:pt x="63" y="184"/>
                  </a:cubicBezTo>
                  <a:cubicBezTo>
                    <a:pt x="58" y="147"/>
                    <a:pt x="51" y="108"/>
                    <a:pt x="42" y="75"/>
                  </a:cubicBezTo>
                  <a:cubicBezTo>
                    <a:pt x="32" y="42"/>
                    <a:pt x="19" y="14"/>
                    <a:pt x="3" y="0"/>
                  </a:cubicBezTo>
                  <a:cubicBezTo>
                    <a:pt x="0" y="3"/>
                    <a:pt x="0" y="3"/>
                    <a:pt x="0" y="3"/>
                  </a:cubicBezTo>
                  <a:close/>
                </a:path>
              </a:pathLst>
            </a:custGeom>
            <a:solidFill>
              <a:srgbClr val="0028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 name="Freeform 219"/>
            <p:cNvSpPr/>
            <p:nvPr userDrawn="1"/>
          </p:nvSpPr>
          <p:spPr bwMode="auto">
            <a:xfrm>
              <a:off x="5890636" y="3655278"/>
              <a:ext cx="631290" cy="822339"/>
            </a:xfrm>
            <a:custGeom>
              <a:avLst/>
              <a:gdLst>
                <a:gd name="T0" fmla="*/ 41 w 243"/>
                <a:gd name="T1" fmla="*/ 31 h 317"/>
                <a:gd name="T2" fmla="*/ 8 w 243"/>
                <a:gd name="T3" fmla="*/ 300 h 317"/>
                <a:gd name="T4" fmla="*/ 231 w 243"/>
                <a:gd name="T5" fmla="*/ 294 h 317"/>
                <a:gd name="T6" fmla="*/ 128 w 243"/>
                <a:gd name="T7" fmla="*/ 14 h 317"/>
                <a:gd name="T8" fmla="*/ 112 w 243"/>
                <a:gd name="T9" fmla="*/ 0 h 317"/>
                <a:gd name="T10" fmla="*/ 71 w 243"/>
                <a:gd name="T11" fmla="*/ 7 h 317"/>
                <a:gd name="T12" fmla="*/ 41 w 243"/>
                <a:gd name="T13" fmla="*/ 31 h 317"/>
              </a:gdLst>
              <a:ahLst/>
              <a:cxnLst>
                <a:cxn ang="0">
                  <a:pos x="T0" y="T1"/>
                </a:cxn>
                <a:cxn ang="0">
                  <a:pos x="T2" y="T3"/>
                </a:cxn>
                <a:cxn ang="0">
                  <a:pos x="T4" y="T5"/>
                </a:cxn>
                <a:cxn ang="0">
                  <a:pos x="T6" y="T7"/>
                </a:cxn>
                <a:cxn ang="0">
                  <a:pos x="T8" y="T9"/>
                </a:cxn>
                <a:cxn ang="0">
                  <a:pos x="T10" y="T11"/>
                </a:cxn>
                <a:cxn ang="0">
                  <a:pos x="T12" y="T13"/>
                </a:cxn>
              </a:cxnLst>
              <a:rect l="0" t="0" r="r" b="b"/>
              <a:pathLst>
                <a:path w="243" h="317">
                  <a:moveTo>
                    <a:pt x="41" y="31"/>
                  </a:moveTo>
                  <a:cubicBezTo>
                    <a:pt x="1" y="130"/>
                    <a:pt x="8" y="300"/>
                    <a:pt x="8" y="300"/>
                  </a:cubicBezTo>
                  <a:cubicBezTo>
                    <a:pt x="0" y="300"/>
                    <a:pt x="119" y="317"/>
                    <a:pt x="231" y="294"/>
                  </a:cubicBezTo>
                  <a:cubicBezTo>
                    <a:pt x="231" y="294"/>
                    <a:pt x="243" y="49"/>
                    <a:pt x="128" y="14"/>
                  </a:cubicBezTo>
                  <a:cubicBezTo>
                    <a:pt x="112" y="0"/>
                    <a:pt x="112" y="0"/>
                    <a:pt x="112" y="0"/>
                  </a:cubicBezTo>
                  <a:cubicBezTo>
                    <a:pt x="71" y="7"/>
                    <a:pt x="71" y="7"/>
                    <a:pt x="71" y="7"/>
                  </a:cubicBezTo>
                  <a:lnTo>
                    <a:pt x="41" y="31"/>
                  </a:lnTo>
                  <a:close/>
                </a:path>
              </a:pathLst>
            </a:cu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Freeform 223"/>
            <p:cNvSpPr/>
            <p:nvPr userDrawn="1"/>
          </p:nvSpPr>
          <p:spPr bwMode="auto">
            <a:xfrm>
              <a:off x="5918878" y="3806456"/>
              <a:ext cx="54823" cy="259161"/>
            </a:xfrm>
            <a:custGeom>
              <a:avLst/>
              <a:gdLst>
                <a:gd name="T0" fmla="*/ 17 w 21"/>
                <a:gd name="T1" fmla="*/ 0 h 100"/>
                <a:gd name="T2" fmla="*/ 0 w 21"/>
                <a:gd name="T3" fmla="*/ 99 h 100"/>
                <a:gd name="T4" fmla="*/ 4 w 21"/>
                <a:gd name="T5" fmla="*/ 100 h 100"/>
                <a:gd name="T6" fmla="*/ 4 w 21"/>
                <a:gd name="T7" fmla="*/ 97 h 100"/>
                <a:gd name="T8" fmla="*/ 21 w 21"/>
                <a:gd name="T9" fmla="*/ 2 h 100"/>
                <a:gd name="T10" fmla="*/ 17 w 21"/>
                <a:gd name="T11" fmla="*/ 0 h 100"/>
              </a:gdLst>
              <a:ahLst/>
              <a:cxnLst>
                <a:cxn ang="0">
                  <a:pos x="T0" y="T1"/>
                </a:cxn>
                <a:cxn ang="0">
                  <a:pos x="T2" y="T3"/>
                </a:cxn>
                <a:cxn ang="0">
                  <a:pos x="T4" y="T5"/>
                </a:cxn>
                <a:cxn ang="0">
                  <a:pos x="T6" y="T7"/>
                </a:cxn>
                <a:cxn ang="0">
                  <a:pos x="T8" y="T9"/>
                </a:cxn>
                <a:cxn ang="0">
                  <a:pos x="T10" y="T11"/>
                </a:cxn>
              </a:cxnLst>
              <a:rect l="0" t="0" r="r" b="b"/>
              <a:pathLst>
                <a:path w="21" h="100">
                  <a:moveTo>
                    <a:pt x="17" y="0"/>
                  </a:moveTo>
                  <a:cubicBezTo>
                    <a:pt x="2" y="46"/>
                    <a:pt x="0" y="99"/>
                    <a:pt x="0" y="99"/>
                  </a:cubicBezTo>
                  <a:cubicBezTo>
                    <a:pt x="4" y="100"/>
                    <a:pt x="4" y="100"/>
                    <a:pt x="4" y="100"/>
                  </a:cubicBezTo>
                  <a:cubicBezTo>
                    <a:pt x="4" y="100"/>
                    <a:pt x="4" y="99"/>
                    <a:pt x="4" y="97"/>
                  </a:cubicBezTo>
                  <a:cubicBezTo>
                    <a:pt x="5" y="86"/>
                    <a:pt x="8" y="41"/>
                    <a:pt x="21" y="2"/>
                  </a:cubicBezTo>
                  <a:cubicBezTo>
                    <a:pt x="17" y="0"/>
                    <a:pt x="17" y="0"/>
                    <a:pt x="17" y="0"/>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224"/>
            <p:cNvSpPr/>
            <p:nvPr userDrawn="1"/>
          </p:nvSpPr>
          <p:spPr bwMode="auto">
            <a:xfrm>
              <a:off x="6051781" y="3547294"/>
              <a:ext cx="119613" cy="149516"/>
            </a:xfrm>
            <a:custGeom>
              <a:avLst/>
              <a:gdLst>
                <a:gd name="T0" fmla="*/ 39 w 46"/>
                <a:gd name="T1" fmla="*/ 0 h 58"/>
                <a:gd name="T2" fmla="*/ 46 w 46"/>
                <a:gd name="T3" fmla="*/ 42 h 58"/>
                <a:gd name="T4" fmla="*/ 21 w 46"/>
                <a:gd name="T5" fmla="*/ 56 h 58"/>
                <a:gd name="T6" fmla="*/ 5 w 46"/>
                <a:gd name="T7" fmla="*/ 49 h 58"/>
                <a:gd name="T8" fmla="*/ 0 w 46"/>
                <a:gd name="T9" fmla="*/ 10 h 58"/>
                <a:gd name="T10" fmla="*/ 39 w 46"/>
                <a:gd name="T11" fmla="*/ 0 h 58"/>
              </a:gdLst>
              <a:ahLst/>
              <a:cxnLst>
                <a:cxn ang="0">
                  <a:pos x="T0" y="T1"/>
                </a:cxn>
                <a:cxn ang="0">
                  <a:pos x="T2" y="T3"/>
                </a:cxn>
                <a:cxn ang="0">
                  <a:pos x="T4" y="T5"/>
                </a:cxn>
                <a:cxn ang="0">
                  <a:pos x="T6" y="T7"/>
                </a:cxn>
                <a:cxn ang="0">
                  <a:pos x="T8" y="T9"/>
                </a:cxn>
                <a:cxn ang="0">
                  <a:pos x="T10" y="T11"/>
                </a:cxn>
              </a:cxnLst>
              <a:rect l="0" t="0" r="r" b="b"/>
              <a:pathLst>
                <a:path w="46" h="58">
                  <a:moveTo>
                    <a:pt x="39" y="0"/>
                  </a:moveTo>
                  <a:cubicBezTo>
                    <a:pt x="46" y="42"/>
                    <a:pt x="46" y="42"/>
                    <a:pt x="46" y="42"/>
                  </a:cubicBezTo>
                  <a:cubicBezTo>
                    <a:pt x="46" y="42"/>
                    <a:pt x="34" y="53"/>
                    <a:pt x="21" y="56"/>
                  </a:cubicBezTo>
                  <a:cubicBezTo>
                    <a:pt x="8" y="58"/>
                    <a:pt x="5" y="49"/>
                    <a:pt x="5" y="49"/>
                  </a:cubicBezTo>
                  <a:cubicBezTo>
                    <a:pt x="0" y="10"/>
                    <a:pt x="0" y="10"/>
                    <a:pt x="0" y="10"/>
                  </a:cubicBezTo>
                  <a:lnTo>
                    <a:pt x="39" y="0"/>
                  </a:ln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Freeform 225"/>
            <p:cNvSpPr/>
            <p:nvPr userDrawn="1"/>
          </p:nvSpPr>
          <p:spPr bwMode="auto">
            <a:xfrm>
              <a:off x="5955426" y="3376181"/>
              <a:ext cx="254178" cy="277436"/>
            </a:xfrm>
            <a:custGeom>
              <a:avLst/>
              <a:gdLst>
                <a:gd name="T0" fmla="*/ 27 w 98"/>
                <a:gd name="T1" fmla="*/ 23 h 107"/>
                <a:gd name="T2" fmla="*/ 31 w 98"/>
                <a:gd name="T3" fmla="*/ 97 h 107"/>
                <a:gd name="T4" fmla="*/ 77 w 98"/>
                <a:gd name="T5" fmla="*/ 82 h 107"/>
                <a:gd name="T6" fmla="*/ 91 w 98"/>
                <a:gd name="T7" fmla="*/ 33 h 107"/>
                <a:gd name="T8" fmla="*/ 27 w 98"/>
                <a:gd name="T9" fmla="*/ 23 h 107"/>
              </a:gdLst>
              <a:ahLst/>
              <a:cxnLst>
                <a:cxn ang="0">
                  <a:pos x="T0" y="T1"/>
                </a:cxn>
                <a:cxn ang="0">
                  <a:pos x="T2" y="T3"/>
                </a:cxn>
                <a:cxn ang="0">
                  <a:pos x="T4" y="T5"/>
                </a:cxn>
                <a:cxn ang="0">
                  <a:pos x="T6" y="T7"/>
                </a:cxn>
                <a:cxn ang="0">
                  <a:pos x="T8" y="T9"/>
                </a:cxn>
              </a:cxnLst>
              <a:rect l="0" t="0" r="r" b="b"/>
              <a:pathLst>
                <a:path w="98" h="107">
                  <a:moveTo>
                    <a:pt x="27" y="23"/>
                  </a:moveTo>
                  <a:cubicBezTo>
                    <a:pt x="25" y="30"/>
                    <a:pt x="0" y="71"/>
                    <a:pt x="31" y="97"/>
                  </a:cubicBezTo>
                  <a:cubicBezTo>
                    <a:pt x="43" y="107"/>
                    <a:pt x="68" y="94"/>
                    <a:pt x="77" y="82"/>
                  </a:cubicBezTo>
                  <a:cubicBezTo>
                    <a:pt x="87" y="74"/>
                    <a:pt x="98" y="41"/>
                    <a:pt x="91" y="33"/>
                  </a:cubicBezTo>
                  <a:cubicBezTo>
                    <a:pt x="67" y="0"/>
                    <a:pt x="27" y="23"/>
                    <a:pt x="27" y="23"/>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Freeform 226"/>
            <p:cNvSpPr/>
            <p:nvPr userDrawn="1"/>
          </p:nvSpPr>
          <p:spPr bwMode="auto">
            <a:xfrm>
              <a:off x="6088329" y="3502439"/>
              <a:ext cx="14952" cy="26581"/>
            </a:xfrm>
            <a:custGeom>
              <a:avLst/>
              <a:gdLst>
                <a:gd name="T0" fmla="*/ 0 w 6"/>
                <a:gd name="T1" fmla="*/ 5 h 10"/>
                <a:gd name="T2" fmla="*/ 4 w 6"/>
                <a:gd name="T3" fmla="*/ 0 h 10"/>
                <a:gd name="T4" fmla="*/ 6 w 6"/>
                <a:gd name="T5" fmla="*/ 5 h 10"/>
                <a:gd name="T6" fmla="*/ 2 w 6"/>
                <a:gd name="T7" fmla="*/ 10 h 10"/>
                <a:gd name="T8" fmla="*/ 0 w 6"/>
                <a:gd name="T9" fmla="*/ 5 h 10"/>
              </a:gdLst>
              <a:ahLst/>
              <a:cxnLst>
                <a:cxn ang="0">
                  <a:pos x="T0" y="T1"/>
                </a:cxn>
                <a:cxn ang="0">
                  <a:pos x="T2" y="T3"/>
                </a:cxn>
                <a:cxn ang="0">
                  <a:pos x="T4" y="T5"/>
                </a:cxn>
                <a:cxn ang="0">
                  <a:pos x="T6" y="T7"/>
                </a:cxn>
                <a:cxn ang="0">
                  <a:pos x="T8" y="T9"/>
                </a:cxn>
              </a:cxnLst>
              <a:rect l="0" t="0" r="r" b="b"/>
              <a:pathLst>
                <a:path w="6" h="10">
                  <a:moveTo>
                    <a:pt x="0" y="5"/>
                  </a:moveTo>
                  <a:cubicBezTo>
                    <a:pt x="1" y="2"/>
                    <a:pt x="2" y="0"/>
                    <a:pt x="4" y="0"/>
                  </a:cubicBezTo>
                  <a:cubicBezTo>
                    <a:pt x="5" y="0"/>
                    <a:pt x="6" y="2"/>
                    <a:pt x="6" y="5"/>
                  </a:cubicBezTo>
                  <a:cubicBezTo>
                    <a:pt x="5" y="8"/>
                    <a:pt x="4" y="10"/>
                    <a:pt x="2" y="10"/>
                  </a:cubicBezTo>
                  <a:cubicBezTo>
                    <a:pt x="1" y="10"/>
                    <a:pt x="0" y="7"/>
                    <a:pt x="0" y="5"/>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 name="Freeform 227"/>
            <p:cNvSpPr/>
            <p:nvPr userDrawn="1"/>
          </p:nvSpPr>
          <p:spPr bwMode="auto">
            <a:xfrm>
              <a:off x="6023539" y="3492471"/>
              <a:ext cx="11630" cy="23258"/>
            </a:xfrm>
            <a:custGeom>
              <a:avLst/>
              <a:gdLst>
                <a:gd name="T0" fmla="*/ 0 w 5"/>
                <a:gd name="T1" fmla="*/ 4 h 9"/>
                <a:gd name="T2" fmla="*/ 3 w 5"/>
                <a:gd name="T3" fmla="*/ 0 h 9"/>
                <a:gd name="T4" fmla="*/ 5 w 5"/>
                <a:gd name="T5" fmla="*/ 4 h 9"/>
                <a:gd name="T6" fmla="*/ 2 w 5"/>
                <a:gd name="T7" fmla="*/ 8 h 9"/>
                <a:gd name="T8" fmla="*/ 0 w 5"/>
                <a:gd name="T9" fmla="*/ 4 h 9"/>
              </a:gdLst>
              <a:ahLst/>
              <a:cxnLst>
                <a:cxn ang="0">
                  <a:pos x="T0" y="T1"/>
                </a:cxn>
                <a:cxn ang="0">
                  <a:pos x="T2" y="T3"/>
                </a:cxn>
                <a:cxn ang="0">
                  <a:pos x="T4" y="T5"/>
                </a:cxn>
                <a:cxn ang="0">
                  <a:pos x="T6" y="T7"/>
                </a:cxn>
                <a:cxn ang="0">
                  <a:pos x="T8" y="T9"/>
                </a:cxn>
              </a:cxnLst>
              <a:rect l="0" t="0" r="r" b="b"/>
              <a:pathLst>
                <a:path w="5" h="9">
                  <a:moveTo>
                    <a:pt x="0" y="4"/>
                  </a:moveTo>
                  <a:cubicBezTo>
                    <a:pt x="0" y="1"/>
                    <a:pt x="2" y="0"/>
                    <a:pt x="3" y="0"/>
                  </a:cubicBezTo>
                  <a:cubicBezTo>
                    <a:pt x="4" y="0"/>
                    <a:pt x="5" y="2"/>
                    <a:pt x="5" y="4"/>
                  </a:cubicBezTo>
                  <a:cubicBezTo>
                    <a:pt x="4" y="7"/>
                    <a:pt x="3" y="9"/>
                    <a:pt x="2" y="8"/>
                  </a:cubicBezTo>
                  <a:cubicBezTo>
                    <a:pt x="1" y="8"/>
                    <a:pt x="0" y="6"/>
                    <a:pt x="0" y="4"/>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Freeform 228"/>
            <p:cNvSpPr/>
            <p:nvPr userDrawn="1"/>
          </p:nvSpPr>
          <p:spPr bwMode="auto">
            <a:xfrm>
              <a:off x="6025200" y="3573875"/>
              <a:ext cx="44855" cy="28242"/>
            </a:xfrm>
            <a:custGeom>
              <a:avLst/>
              <a:gdLst>
                <a:gd name="T0" fmla="*/ 0 w 17"/>
                <a:gd name="T1" fmla="*/ 0 h 11"/>
                <a:gd name="T2" fmla="*/ 17 w 17"/>
                <a:gd name="T3" fmla="*/ 2 h 11"/>
                <a:gd name="T4" fmla="*/ 6 w 17"/>
                <a:gd name="T5" fmla="*/ 10 h 11"/>
                <a:gd name="T6" fmla="*/ 0 w 17"/>
                <a:gd name="T7" fmla="*/ 0 h 11"/>
              </a:gdLst>
              <a:ahLst/>
              <a:cxnLst>
                <a:cxn ang="0">
                  <a:pos x="T0" y="T1"/>
                </a:cxn>
                <a:cxn ang="0">
                  <a:pos x="T2" y="T3"/>
                </a:cxn>
                <a:cxn ang="0">
                  <a:pos x="T4" y="T5"/>
                </a:cxn>
                <a:cxn ang="0">
                  <a:pos x="T6" y="T7"/>
                </a:cxn>
              </a:cxnLst>
              <a:rect l="0" t="0" r="r" b="b"/>
              <a:pathLst>
                <a:path w="17" h="11">
                  <a:moveTo>
                    <a:pt x="0" y="0"/>
                  </a:moveTo>
                  <a:cubicBezTo>
                    <a:pt x="17" y="2"/>
                    <a:pt x="17" y="2"/>
                    <a:pt x="17" y="2"/>
                  </a:cubicBezTo>
                  <a:cubicBezTo>
                    <a:pt x="17" y="2"/>
                    <a:pt x="14" y="11"/>
                    <a:pt x="6" y="10"/>
                  </a:cubicBezTo>
                  <a:cubicBezTo>
                    <a:pt x="0" y="1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 name="Freeform 229"/>
            <p:cNvSpPr/>
            <p:nvPr userDrawn="1"/>
          </p:nvSpPr>
          <p:spPr bwMode="auto">
            <a:xfrm>
              <a:off x="6028523" y="3515729"/>
              <a:ext cx="28242" cy="44855"/>
            </a:xfrm>
            <a:custGeom>
              <a:avLst/>
              <a:gdLst>
                <a:gd name="T0" fmla="*/ 6 w 11"/>
                <a:gd name="T1" fmla="*/ 0 h 17"/>
                <a:gd name="T2" fmla="*/ 2 w 11"/>
                <a:gd name="T3" fmla="*/ 8 h 17"/>
                <a:gd name="T4" fmla="*/ 0 w 11"/>
                <a:gd name="T5" fmla="*/ 13 h 17"/>
                <a:gd name="T6" fmla="*/ 0 w 11"/>
                <a:gd name="T7" fmla="*/ 14 h 17"/>
                <a:gd name="T8" fmla="*/ 0 w 11"/>
                <a:gd name="T9" fmla="*/ 14 h 17"/>
                <a:gd name="T10" fmla="*/ 1 w 11"/>
                <a:gd name="T11" fmla="*/ 15 h 17"/>
                <a:gd name="T12" fmla="*/ 3 w 11"/>
                <a:gd name="T13" fmla="*/ 16 h 17"/>
                <a:gd name="T14" fmla="*/ 10 w 11"/>
                <a:gd name="T15" fmla="*/ 17 h 17"/>
                <a:gd name="T16" fmla="*/ 11 w 11"/>
                <a:gd name="T17" fmla="*/ 17 h 17"/>
                <a:gd name="T18" fmla="*/ 11 w 11"/>
                <a:gd name="T19" fmla="*/ 14 h 17"/>
                <a:gd name="T20" fmla="*/ 10 w 11"/>
                <a:gd name="T21" fmla="*/ 14 h 17"/>
                <a:gd name="T22" fmla="*/ 5 w 11"/>
                <a:gd name="T23" fmla="*/ 14 h 17"/>
                <a:gd name="T24" fmla="*/ 3 w 11"/>
                <a:gd name="T25" fmla="*/ 13 h 17"/>
                <a:gd name="T26" fmla="*/ 3 w 11"/>
                <a:gd name="T27" fmla="*/ 13 h 17"/>
                <a:gd name="T28" fmla="*/ 3 w 11"/>
                <a:gd name="T29" fmla="*/ 13 h 17"/>
                <a:gd name="T30" fmla="*/ 3 w 11"/>
                <a:gd name="T31" fmla="*/ 13 h 17"/>
                <a:gd name="T32" fmla="*/ 3 w 11"/>
                <a:gd name="T33" fmla="*/ 13 h 17"/>
                <a:gd name="T34" fmla="*/ 3 w 11"/>
                <a:gd name="T35" fmla="*/ 13 h 17"/>
                <a:gd name="T36" fmla="*/ 3 w 11"/>
                <a:gd name="T37" fmla="*/ 13 h 17"/>
                <a:gd name="T38" fmla="*/ 3 w 11"/>
                <a:gd name="T39" fmla="*/ 14 h 17"/>
                <a:gd name="T40" fmla="*/ 3 w 11"/>
                <a:gd name="T41" fmla="*/ 13 h 17"/>
                <a:gd name="T42" fmla="*/ 3 w 11"/>
                <a:gd name="T43" fmla="*/ 13 h 17"/>
                <a:gd name="T44" fmla="*/ 3 w 11"/>
                <a:gd name="T45" fmla="*/ 14 h 17"/>
                <a:gd name="T46" fmla="*/ 3 w 11"/>
                <a:gd name="T47" fmla="*/ 13 h 17"/>
                <a:gd name="T48" fmla="*/ 3 w 11"/>
                <a:gd name="T49" fmla="*/ 13 h 17"/>
                <a:gd name="T50" fmla="*/ 3 w 11"/>
                <a:gd name="T51" fmla="*/ 13 h 17"/>
                <a:gd name="T52" fmla="*/ 3 w 11"/>
                <a:gd name="T53" fmla="*/ 13 h 17"/>
                <a:gd name="T54" fmla="*/ 4 w 11"/>
                <a:gd name="T55" fmla="*/ 9 h 17"/>
                <a:gd name="T56" fmla="*/ 9 w 11"/>
                <a:gd name="T57" fmla="*/ 1 h 17"/>
                <a:gd name="T58" fmla="*/ 7 w 11"/>
                <a:gd name="T59" fmla="*/ 0 h 17"/>
                <a:gd name="T60" fmla="*/ 6 w 11"/>
                <a:gd name="T6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17">
                  <a:moveTo>
                    <a:pt x="6" y="0"/>
                  </a:moveTo>
                  <a:cubicBezTo>
                    <a:pt x="4" y="3"/>
                    <a:pt x="3" y="6"/>
                    <a:pt x="2" y="8"/>
                  </a:cubicBezTo>
                  <a:cubicBezTo>
                    <a:pt x="1" y="10"/>
                    <a:pt x="0" y="12"/>
                    <a:pt x="0" y="13"/>
                  </a:cubicBezTo>
                  <a:cubicBezTo>
                    <a:pt x="0" y="14"/>
                    <a:pt x="0" y="14"/>
                    <a:pt x="0" y="14"/>
                  </a:cubicBezTo>
                  <a:cubicBezTo>
                    <a:pt x="0" y="14"/>
                    <a:pt x="0" y="14"/>
                    <a:pt x="0" y="14"/>
                  </a:cubicBezTo>
                  <a:cubicBezTo>
                    <a:pt x="0" y="14"/>
                    <a:pt x="1" y="15"/>
                    <a:pt x="1" y="15"/>
                  </a:cubicBezTo>
                  <a:cubicBezTo>
                    <a:pt x="2" y="16"/>
                    <a:pt x="2" y="16"/>
                    <a:pt x="3" y="16"/>
                  </a:cubicBezTo>
                  <a:cubicBezTo>
                    <a:pt x="6" y="17"/>
                    <a:pt x="9" y="17"/>
                    <a:pt x="10" y="17"/>
                  </a:cubicBezTo>
                  <a:cubicBezTo>
                    <a:pt x="10" y="17"/>
                    <a:pt x="11" y="17"/>
                    <a:pt x="11" y="17"/>
                  </a:cubicBezTo>
                  <a:cubicBezTo>
                    <a:pt x="11" y="14"/>
                    <a:pt x="11" y="14"/>
                    <a:pt x="11" y="14"/>
                  </a:cubicBezTo>
                  <a:cubicBezTo>
                    <a:pt x="10" y="14"/>
                    <a:pt x="10" y="14"/>
                    <a:pt x="10" y="14"/>
                  </a:cubicBezTo>
                  <a:cubicBezTo>
                    <a:pt x="9" y="14"/>
                    <a:pt x="7" y="14"/>
                    <a:pt x="5" y="14"/>
                  </a:cubicBezTo>
                  <a:cubicBezTo>
                    <a:pt x="5" y="14"/>
                    <a:pt x="4"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4"/>
                    <a:pt x="3" y="14"/>
                    <a:pt x="3" y="14"/>
                  </a:cubicBezTo>
                  <a:cubicBezTo>
                    <a:pt x="3" y="13"/>
                    <a:pt x="3" y="13"/>
                    <a:pt x="3" y="13"/>
                  </a:cubicBezTo>
                  <a:cubicBezTo>
                    <a:pt x="3" y="13"/>
                    <a:pt x="3" y="13"/>
                    <a:pt x="3" y="13"/>
                  </a:cubicBezTo>
                  <a:cubicBezTo>
                    <a:pt x="3" y="14"/>
                    <a:pt x="3" y="14"/>
                    <a:pt x="3" y="14"/>
                  </a:cubicBezTo>
                  <a:cubicBezTo>
                    <a:pt x="3" y="13"/>
                    <a:pt x="3" y="13"/>
                    <a:pt x="3" y="13"/>
                  </a:cubicBezTo>
                  <a:cubicBezTo>
                    <a:pt x="3" y="13"/>
                    <a:pt x="3" y="13"/>
                    <a:pt x="3" y="13"/>
                  </a:cubicBezTo>
                  <a:cubicBezTo>
                    <a:pt x="3" y="13"/>
                    <a:pt x="3" y="13"/>
                    <a:pt x="3" y="13"/>
                  </a:cubicBezTo>
                  <a:cubicBezTo>
                    <a:pt x="3" y="13"/>
                    <a:pt x="3" y="13"/>
                    <a:pt x="3" y="13"/>
                  </a:cubicBezTo>
                  <a:cubicBezTo>
                    <a:pt x="3" y="12"/>
                    <a:pt x="4" y="11"/>
                    <a:pt x="4" y="9"/>
                  </a:cubicBezTo>
                  <a:cubicBezTo>
                    <a:pt x="5" y="7"/>
                    <a:pt x="7" y="5"/>
                    <a:pt x="9" y="1"/>
                  </a:cubicBezTo>
                  <a:cubicBezTo>
                    <a:pt x="7" y="0"/>
                    <a:pt x="7" y="0"/>
                    <a:pt x="7" y="0"/>
                  </a:cubicBezTo>
                  <a:lnTo>
                    <a:pt x="6" y="0"/>
                  </a:lnTo>
                  <a:close/>
                </a:path>
              </a:pathLst>
            </a:custGeom>
            <a:solidFill>
              <a:srgbClr val="EA99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Freeform 230"/>
            <p:cNvSpPr/>
            <p:nvPr userDrawn="1"/>
          </p:nvSpPr>
          <p:spPr bwMode="auto">
            <a:xfrm>
              <a:off x="6020217" y="3467553"/>
              <a:ext cx="36548" cy="19935"/>
            </a:xfrm>
            <a:custGeom>
              <a:avLst/>
              <a:gdLst>
                <a:gd name="T0" fmla="*/ 12 w 14"/>
                <a:gd name="T1" fmla="*/ 8 h 8"/>
                <a:gd name="T2" fmla="*/ 11 w 14"/>
                <a:gd name="T3" fmla="*/ 8 h 8"/>
                <a:gd name="T4" fmla="*/ 2 w 14"/>
                <a:gd name="T5" fmla="*/ 5 h 8"/>
                <a:gd name="T6" fmla="*/ 0 w 14"/>
                <a:gd name="T7" fmla="*/ 4 h 8"/>
                <a:gd name="T8" fmla="*/ 1 w 14"/>
                <a:gd name="T9" fmla="*/ 3 h 8"/>
                <a:gd name="T10" fmla="*/ 13 w 14"/>
                <a:gd name="T11" fmla="*/ 6 h 8"/>
                <a:gd name="T12" fmla="*/ 13 w 14"/>
                <a:gd name="T13" fmla="*/ 8 h 8"/>
                <a:gd name="T14" fmla="*/ 12 w 1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8">
                  <a:moveTo>
                    <a:pt x="12" y="8"/>
                  </a:moveTo>
                  <a:cubicBezTo>
                    <a:pt x="12" y="8"/>
                    <a:pt x="11" y="8"/>
                    <a:pt x="11" y="8"/>
                  </a:cubicBezTo>
                  <a:cubicBezTo>
                    <a:pt x="7" y="4"/>
                    <a:pt x="2" y="5"/>
                    <a:pt x="2" y="5"/>
                  </a:cubicBezTo>
                  <a:cubicBezTo>
                    <a:pt x="1" y="6"/>
                    <a:pt x="0" y="5"/>
                    <a:pt x="0" y="4"/>
                  </a:cubicBezTo>
                  <a:cubicBezTo>
                    <a:pt x="0" y="4"/>
                    <a:pt x="0" y="3"/>
                    <a:pt x="1" y="3"/>
                  </a:cubicBezTo>
                  <a:cubicBezTo>
                    <a:pt x="1" y="2"/>
                    <a:pt x="8" y="0"/>
                    <a:pt x="13" y="6"/>
                  </a:cubicBezTo>
                  <a:cubicBezTo>
                    <a:pt x="14" y="7"/>
                    <a:pt x="14" y="8"/>
                    <a:pt x="13" y="8"/>
                  </a:cubicBezTo>
                  <a:lnTo>
                    <a:pt x="12" y="8"/>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16" name="Freeform 231"/>
            <p:cNvSpPr/>
            <p:nvPr userDrawn="1"/>
          </p:nvSpPr>
          <p:spPr bwMode="auto">
            <a:xfrm>
              <a:off x="6076701" y="3472536"/>
              <a:ext cx="49839" cy="29903"/>
            </a:xfrm>
            <a:custGeom>
              <a:avLst/>
              <a:gdLst>
                <a:gd name="T0" fmla="*/ 17 w 19"/>
                <a:gd name="T1" fmla="*/ 12 h 12"/>
                <a:gd name="T2" fmla="*/ 16 w 19"/>
                <a:gd name="T3" fmla="*/ 12 h 12"/>
                <a:gd name="T4" fmla="*/ 3 w 19"/>
                <a:gd name="T5" fmla="*/ 8 h 12"/>
                <a:gd name="T6" fmla="*/ 1 w 19"/>
                <a:gd name="T7" fmla="*/ 7 h 12"/>
                <a:gd name="T8" fmla="*/ 1 w 19"/>
                <a:gd name="T9" fmla="*/ 5 h 12"/>
                <a:gd name="T10" fmla="*/ 19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6" y="12"/>
                    <a:pt x="16" y="12"/>
                  </a:cubicBezTo>
                  <a:cubicBezTo>
                    <a:pt x="16" y="11"/>
                    <a:pt x="11" y="3"/>
                    <a:pt x="3" y="8"/>
                  </a:cubicBezTo>
                  <a:cubicBezTo>
                    <a:pt x="2" y="8"/>
                    <a:pt x="1" y="8"/>
                    <a:pt x="1" y="7"/>
                  </a:cubicBezTo>
                  <a:cubicBezTo>
                    <a:pt x="0" y="7"/>
                    <a:pt x="1" y="6"/>
                    <a:pt x="1" y="5"/>
                  </a:cubicBezTo>
                  <a:cubicBezTo>
                    <a:pt x="10" y="0"/>
                    <a:pt x="16" y="6"/>
                    <a:pt x="19" y="10"/>
                  </a:cubicBezTo>
                  <a:cubicBezTo>
                    <a:pt x="19" y="11"/>
                    <a:pt x="19" y="12"/>
                    <a:pt x="18" y="12"/>
                  </a:cubicBezTo>
                  <a:lnTo>
                    <a:pt x="17" y="12"/>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17" name="Freeform 232"/>
            <p:cNvSpPr/>
            <p:nvPr userDrawn="1"/>
          </p:nvSpPr>
          <p:spPr bwMode="auto">
            <a:xfrm>
              <a:off x="5978684" y="3344617"/>
              <a:ext cx="285742" cy="212645"/>
            </a:xfrm>
            <a:custGeom>
              <a:avLst/>
              <a:gdLst>
                <a:gd name="T0" fmla="*/ 20 w 110"/>
                <a:gd name="T1" fmla="*/ 47 h 82"/>
                <a:gd name="T2" fmla="*/ 56 w 110"/>
                <a:gd name="T3" fmla="*/ 46 h 82"/>
                <a:gd name="T4" fmla="*/ 66 w 110"/>
                <a:gd name="T5" fmla="*/ 69 h 82"/>
                <a:gd name="T6" fmla="*/ 74 w 110"/>
                <a:gd name="T7" fmla="*/ 70 h 82"/>
                <a:gd name="T8" fmla="*/ 82 w 110"/>
                <a:gd name="T9" fmla="*/ 81 h 82"/>
                <a:gd name="T10" fmla="*/ 98 w 110"/>
                <a:gd name="T11" fmla="*/ 71 h 82"/>
                <a:gd name="T12" fmla="*/ 109 w 110"/>
                <a:gd name="T13" fmla="*/ 50 h 82"/>
                <a:gd name="T14" fmla="*/ 87 w 110"/>
                <a:gd name="T15" fmla="*/ 19 h 82"/>
                <a:gd name="T16" fmla="*/ 55 w 110"/>
                <a:gd name="T17" fmla="*/ 1 h 82"/>
                <a:gd name="T18" fmla="*/ 0 w 110"/>
                <a:gd name="T19" fmla="*/ 25 h 82"/>
                <a:gd name="T20" fmla="*/ 1 w 110"/>
                <a:gd name="T21" fmla="*/ 30 h 82"/>
                <a:gd name="T22" fmla="*/ 4 w 110"/>
                <a:gd name="T23" fmla="*/ 36 h 82"/>
                <a:gd name="T24" fmla="*/ 12 w 110"/>
                <a:gd name="T25" fmla="*/ 44 h 82"/>
                <a:gd name="T26" fmla="*/ 20 w 110"/>
                <a:gd name="T27"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82">
                  <a:moveTo>
                    <a:pt x="20" y="47"/>
                  </a:moveTo>
                  <a:cubicBezTo>
                    <a:pt x="31" y="51"/>
                    <a:pt x="44" y="50"/>
                    <a:pt x="56" y="46"/>
                  </a:cubicBezTo>
                  <a:cubicBezTo>
                    <a:pt x="56" y="54"/>
                    <a:pt x="60" y="64"/>
                    <a:pt x="66" y="69"/>
                  </a:cubicBezTo>
                  <a:cubicBezTo>
                    <a:pt x="68" y="71"/>
                    <a:pt x="71" y="70"/>
                    <a:pt x="74" y="70"/>
                  </a:cubicBezTo>
                  <a:cubicBezTo>
                    <a:pt x="77" y="70"/>
                    <a:pt x="80" y="82"/>
                    <a:pt x="82" y="81"/>
                  </a:cubicBezTo>
                  <a:cubicBezTo>
                    <a:pt x="87" y="76"/>
                    <a:pt x="92" y="74"/>
                    <a:pt x="98" y="71"/>
                  </a:cubicBezTo>
                  <a:cubicBezTo>
                    <a:pt x="103" y="67"/>
                    <a:pt x="110" y="57"/>
                    <a:pt x="109" y="50"/>
                  </a:cubicBezTo>
                  <a:cubicBezTo>
                    <a:pt x="107" y="37"/>
                    <a:pt x="98" y="23"/>
                    <a:pt x="87" y="19"/>
                  </a:cubicBezTo>
                  <a:cubicBezTo>
                    <a:pt x="85" y="6"/>
                    <a:pt x="63" y="1"/>
                    <a:pt x="55" y="1"/>
                  </a:cubicBezTo>
                  <a:cubicBezTo>
                    <a:pt x="34" y="0"/>
                    <a:pt x="15" y="10"/>
                    <a:pt x="0" y="25"/>
                  </a:cubicBezTo>
                  <a:cubicBezTo>
                    <a:pt x="0" y="27"/>
                    <a:pt x="1" y="28"/>
                    <a:pt x="1" y="30"/>
                  </a:cubicBezTo>
                  <a:cubicBezTo>
                    <a:pt x="2" y="32"/>
                    <a:pt x="3" y="34"/>
                    <a:pt x="4" y="36"/>
                  </a:cubicBezTo>
                  <a:cubicBezTo>
                    <a:pt x="6" y="39"/>
                    <a:pt x="9" y="42"/>
                    <a:pt x="12" y="44"/>
                  </a:cubicBezTo>
                  <a:cubicBezTo>
                    <a:pt x="14" y="45"/>
                    <a:pt x="17" y="46"/>
                    <a:pt x="20" y="47"/>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18" name="Freeform 233"/>
            <p:cNvSpPr/>
            <p:nvPr userDrawn="1"/>
          </p:nvSpPr>
          <p:spPr bwMode="auto">
            <a:xfrm>
              <a:off x="6139830" y="3510746"/>
              <a:ext cx="54823" cy="79742"/>
            </a:xfrm>
            <a:custGeom>
              <a:avLst/>
              <a:gdLst>
                <a:gd name="T0" fmla="*/ 3 w 21"/>
                <a:gd name="T1" fmla="*/ 8 h 31"/>
                <a:gd name="T2" fmla="*/ 17 w 21"/>
                <a:gd name="T3" fmla="*/ 4 h 31"/>
                <a:gd name="T4" fmla="*/ 13 w 21"/>
                <a:gd name="T5" fmla="*/ 25 h 31"/>
                <a:gd name="T6" fmla="*/ 0 w 21"/>
                <a:gd name="T7" fmla="*/ 25 h 31"/>
                <a:gd name="T8" fmla="*/ 3 w 21"/>
                <a:gd name="T9" fmla="*/ 8 h 31"/>
              </a:gdLst>
              <a:ahLst/>
              <a:cxnLst>
                <a:cxn ang="0">
                  <a:pos x="T0" y="T1"/>
                </a:cxn>
                <a:cxn ang="0">
                  <a:pos x="T2" y="T3"/>
                </a:cxn>
                <a:cxn ang="0">
                  <a:pos x="T4" y="T5"/>
                </a:cxn>
                <a:cxn ang="0">
                  <a:pos x="T6" y="T7"/>
                </a:cxn>
                <a:cxn ang="0">
                  <a:pos x="T8" y="T9"/>
                </a:cxn>
              </a:cxnLst>
              <a:rect l="0" t="0" r="r" b="b"/>
              <a:pathLst>
                <a:path w="21" h="31">
                  <a:moveTo>
                    <a:pt x="3" y="8"/>
                  </a:moveTo>
                  <a:cubicBezTo>
                    <a:pt x="4" y="1"/>
                    <a:pt x="14" y="0"/>
                    <a:pt x="17" y="4"/>
                  </a:cubicBezTo>
                  <a:cubicBezTo>
                    <a:pt x="21" y="10"/>
                    <a:pt x="19" y="20"/>
                    <a:pt x="13" y="25"/>
                  </a:cubicBezTo>
                  <a:cubicBezTo>
                    <a:pt x="7" y="31"/>
                    <a:pt x="2" y="30"/>
                    <a:pt x="0" y="25"/>
                  </a:cubicBezTo>
                  <a:cubicBezTo>
                    <a:pt x="0" y="25"/>
                    <a:pt x="2" y="15"/>
                    <a:pt x="3" y="8"/>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19" name="Freeform 234"/>
            <p:cNvSpPr/>
            <p:nvPr userDrawn="1"/>
          </p:nvSpPr>
          <p:spPr bwMode="auto">
            <a:xfrm>
              <a:off x="6071716" y="3602117"/>
              <a:ext cx="73097" cy="38210"/>
            </a:xfrm>
            <a:custGeom>
              <a:avLst/>
              <a:gdLst>
                <a:gd name="T0" fmla="*/ 0 w 28"/>
                <a:gd name="T1" fmla="*/ 15 h 15"/>
                <a:gd name="T2" fmla="*/ 28 w 28"/>
                <a:gd name="T3" fmla="*/ 2 h 15"/>
                <a:gd name="T4" fmla="*/ 26 w 28"/>
                <a:gd name="T5" fmla="*/ 0 h 15"/>
                <a:gd name="T6" fmla="*/ 9 w 28"/>
                <a:gd name="T7" fmla="*/ 10 h 15"/>
                <a:gd name="T8" fmla="*/ 2 w 28"/>
                <a:gd name="T9" fmla="*/ 12 h 15"/>
                <a:gd name="T10" fmla="*/ 0 w 28"/>
                <a:gd name="T11" fmla="*/ 12 h 15"/>
                <a:gd name="T12" fmla="*/ 0 w 28"/>
                <a:gd name="T13" fmla="*/ 12 h 15"/>
                <a:gd name="T14" fmla="*/ 0 w 28"/>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5">
                  <a:moveTo>
                    <a:pt x="0" y="15"/>
                  </a:moveTo>
                  <a:cubicBezTo>
                    <a:pt x="0" y="15"/>
                    <a:pt x="16" y="14"/>
                    <a:pt x="28" y="2"/>
                  </a:cubicBezTo>
                  <a:cubicBezTo>
                    <a:pt x="26" y="0"/>
                    <a:pt x="26" y="0"/>
                    <a:pt x="26" y="0"/>
                  </a:cubicBezTo>
                  <a:cubicBezTo>
                    <a:pt x="21" y="6"/>
                    <a:pt x="14" y="9"/>
                    <a:pt x="9" y="10"/>
                  </a:cubicBezTo>
                  <a:cubicBezTo>
                    <a:pt x="6" y="11"/>
                    <a:pt x="4" y="12"/>
                    <a:pt x="2" y="12"/>
                  </a:cubicBezTo>
                  <a:cubicBezTo>
                    <a:pt x="1" y="12"/>
                    <a:pt x="1" y="12"/>
                    <a:pt x="0" y="12"/>
                  </a:cubicBezTo>
                  <a:cubicBezTo>
                    <a:pt x="0" y="12"/>
                    <a:pt x="0" y="12"/>
                    <a:pt x="0" y="12"/>
                  </a:cubicBezTo>
                  <a:cubicBezTo>
                    <a:pt x="0" y="15"/>
                    <a:pt x="0" y="15"/>
                    <a:pt x="0" y="15"/>
                  </a:cubicBezTo>
                  <a:close/>
                </a:path>
              </a:pathLst>
            </a:custGeom>
            <a:solidFill>
              <a:srgbClr val="EA99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22" name="Freeform 237"/>
            <p:cNvSpPr/>
            <p:nvPr userDrawn="1"/>
          </p:nvSpPr>
          <p:spPr bwMode="auto">
            <a:xfrm>
              <a:off x="6038491" y="3653617"/>
              <a:ext cx="166129" cy="68113"/>
            </a:xfrm>
            <a:custGeom>
              <a:avLst/>
              <a:gdLst>
                <a:gd name="T0" fmla="*/ 0 w 64"/>
                <a:gd name="T1" fmla="*/ 9 h 26"/>
                <a:gd name="T2" fmla="*/ 5 w 64"/>
                <a:gd name="T3" fmla="*/ 17 h 26"/>
                <a:gd name="T4" fmla="*/ 25 w 64"/>
                <a:gd name="T5" fmla="*/ 26 h 26"/>
                <a:gd name="T6" fmla="*/ 26 w 64"/>
                <a:gd name="T7" fmla="*/ 26 h 26"/>
                <a:gd name="T8" fmla="*/ 55 w 64"/>
                <a:gd name="T9" fmla="*/ 14 h 26"/>
                <a:gd name="T10" fmla="*/ 64 w 64"/>
                <a:gd name="T11" fmla="*/ 1 h 26"/>
                <a:gd name="T12" fmla="*/ 61 w 64"/>
                <a:gd name="T13" fmla="*/ 0 h 26"/>
                <a:gd name="T14" fmla="*/ 61 w 64"/>
                <a:gd name="T15" fmla="*/ 0 h 26"/>
                <a:gd name="T16" fmla="*/ 51 w 64"/>
                <a:gd name="T17" fmla="*/ 12 h 26"/>
                <a:gd name="T18" fmla="*/ 26 w 64"/>
                <a:gd name="T19" fmla="*/ 22 h 26"/>
                <a:gd name="T20" fmla="*/ 25 w 64"/>
                <a:gd name="T21" fmla="*/ 22 h 26"/>
                <a:gd name="T22" fmla="*/ 8 w 64"/>
                <a:gd name="T23" fmla="*/ 15 h 26"/>
                <a:gd name="T24" fmla="*/ 5 w 64"/>
                <a:gd name="T25" fmla="*/ 10 h 26"/>
                <a:gd name="T26" fmla="*/ 4 w 64"/>
                <a:gd name="T27" fmla="*/ 8 h 26"/>
                <a:gd name="T28" fmla="*/ 4 w 64"/>
                <a:gd name="T29" fmla="*/ 8 h 26"/>
                <a:gd name="T30" fmla="*/ 4 w 64"/>
                <a:gd name="T31" fmla="*/ 8 h 26"/>
                <a:gd name="T32" fmla="*/ 4 w 64"/>
                <a:gd name="T33" fmla="*/ 8 h 26"/>
                <a:gd name="T34" fmla="*/ 0 w 64"/>
                <a:gd name="T35"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6">
                  <a:moveTo>
                    <a:pt x="0" y="9"/>
                  </a:moveTo>
                  <a:cubicBezTo>
                    <a:pt x="0" y="9"/>
                    <a:pt x="1" y="13"/>
                    <a:pt x="5" y="17"/>
                  </a:cubicBezTo>
                  <a:cubicBezTo>
                    <a:pt x="9" y="21"/>
                    <a:pt x="15" y="25"/>
                    <a:pt x="25" y="26"/>
                  </a:cubicBezTo>
                  <a:cubicBezTo>
                    <a:pt x="26" y="26"/>
                    <a:pt x="26" y="26"/>
                    <a:pt x="26" y="26"/>
                  </a:cubicBezTo>
                  <a:cubicBezTo>
                    <a:pt x="39" y="26"/>
                    <a:pt x="48" y="20"/>
                    <a:pt x="55" y="14"/>
                  </a:cubicBezTo>
                  <a:cubicBezTo>
                    <a:pt x="61" y="8"/>
                    <a:pt x="64" y="2"/>
                    <a:pt x="64" y="1"/>
                  </a:cubicBezTo>
                  <a:cubicBezTo>
                    <a:pt x="61" y="0"/>
                    <a:pt x="61" y="0"/>
                    <a:pt x="61" y="0"/>
                  </a:cubicBezTo>
                  <a:cubicBezTo>
                    <a:pt x="61" y="0"/>
                    <a:pt x="61" y="0"/>
                    <a:pt x="61" y="0"/>
                  </a:cubicBezTo>
                  <a:cubicBezTo>
                    <a:pt x="60" y="1"/>
                    <a:pt x="57" y="7"/>
                    <a:pt x="51" y="12"/>
                  </a:cubicBezTo>
                  <a:cubicBezTo>
                    <a:pt x="45" y="17"/>
                    <a:pt x="37" y="22"/>
                    <a:pt x="26" y="22"/>
                  </a:cubicBezTo>
                  <a:cubicBezTo>
                    <a:pt x="25" y="22"/>
                    <a:pt x="25" y="22"/>
                    <a:pt x="25" y="22"/>
                  </a:cubicBezTo>
                  <a:cubicBezTo>
                    <a:pt x="16" y="21"/>
                    <a:pt x="11" y="18"/>
                    <a:pt x="8" y="15"/>
                  </a:cubicBezTo>
                  <a:cubicBezTo>
                    <a:pt x="7" y="13"/>
                    <a:pt x="6" y="11"/>
                    <a:pt x="5" y="10"/>
                  </a:cubicBezTo>
                  <a:cubicBezTo>
                    <a:pt x="5" y="9"/>
                    <a:pt x="4" y="9"/>
                    <a:pt x="4" y="8"/>
                  </a:cubicBezTo>
                  <a:cubicBezTo>
                    <a:pt x="4" y="8"/>
                    <a:pt x="4" y="8"/>
                    <a:pt x="4" y="8"/>
                  </a:cubicBezTo>
                  <a:cubicBezTo>
                    <a:pt x="4" y="8"/>
                    <a:pt x="4" y="8"/>
                    <a:pt x="4" y="8"/>
                  </a:cubicBezTo>
                  <a:cubicBezTo>
                    <a:pt x="4" y="8"/>
                    <a:pt x="4" y="8"/>
                    <a:pt x="4" y="8"/>
                  </a:cubicBezTo>
                  <a:cubicBezTo>
                    <a:pt x="0" y="9"/>
                    <a:pt x="0" y="9"/>
                    <a:pt x="0" y="9"/>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 name="Freeform 220"/>
            <p:cNvSpPr/>
            <p:nvPr userDrawn="1"/>
          </p:nvSpPr>
          <p:spPr bwMode="auto">
            <a:xfrm>
              <a:off x="5692942" y="3635342"/>
              <a:ext cx="927000" cy="865533"/>
            </a:xfrm>
            <a:custGeom>
              <a:avLst/>
              <a:gdLst>
                <a:gd name="T0" fmla="*/ 188 w 357"/>
                <a:gd name="T1" fmla="*/ 8 h 334"/>
                <a:gd name="T2" fmla="*/ 302 w 357"/>
                <a:gd name="T3" fmla="*/ 224 h 334"/>
                <a:gd name="T4" fmla="*/ 0 w 357"/>
                <a:gd name="T5" fmla="*/ 325 h 334"/>
                <a:gd name="T6" fmla="*/ 0 w 357"/>
                <a:gd name="T7" fmla="*/ 239 h 334"/>
                <a:gd name="T8" fmla="*/ 204 w 357"/>
                <a:gd name="T9" fmla="*/ 116 h 334"/>
              </a:gdLst>
              <a:ahLst/>
              <a:cxnLst>
                <a:cxn ang="0">
                  <a:pos x="T0" y="T1"/>
                </a:cxn>
                <a:cxn ang="0">
                  <a:pos x="T2" y="T3"/>
                </a:cxn>
                <a:cxn ang="0">
                  <a:pos x="T4" y="T5"/>
                </a:cxn>
                <a:cxn ang="0">
                  <a:pos x="T6" y="T7"/>
                </a:cxn>
                <a:cxn ang="0">
                  <a:pos x="T8" y="T9"/>
                </a:cxn>
              </a:cxnLst>
              <a:rect l="0" t="0" r="r" b="b"/>
              <a:pathLst>
                <a:path w="357" h="334">
                  <a:moveTo>
                    <a:pt x="188" y="8"/>
                  </a:moveTo>
                  <a:cubicBezTo>
                    <a:pt x="267" y="0"/>
                    <a:pt x="357" y="102"/>
                    <a:pt x="302" y="224"/>
                  </a:cubicBezTo>
                  <a:cubicBezTo>
                    <a:pt x="253" y="334"/>
                    <a:pt x="0" y="325"/>
                    <a:pt x="0" y="325"/>
                  </a:cubicBezTo>
                  <a:cubicBezTo>
                    <a:pt x="0" y="239"/>
                    <a:pt x="0" y="239"/>
                    <a:pt x="0" y="239"/>
                  </a:cubicBezTo>
                  <a:cubicBezTo>
                    <a:pt x="0" y="239"/>
                    <a:pt x="204" y="241"/>
                    <a:pt x="204" y="116"/>
                  </a:cubicBezTo>
                </a:path>
              </a:pathLst>
            </a:cu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 name="Freeform 221"/>
            <p:cNvSpPr/>
            <p:nvPr userDrawn="1"/>
          </p:nvSpPr>
          <p:spPr bwMode="auto">
            <a:xfrm>
              <a:off x="5917217" y="3936036"/>
              <a:ext cx="313984" cy="290726"/>
            </a:xfrm>
            <a:custGeom>
              <a:avLst/>
              <a:gdLst>
                <a:gd name="T0" fmla="*/ 116 w 121"/>
                <a:gd name="T1" fmla="*/ 1 h 112"/>
                <a:gd name="T2" fmla="*/ 117 w 121"/>
                <a:gd name="T3" fmla="*/ 14 h 112"/>
                <a:gd name="T4" fmla="*/ 105 w 121"/>
                <a:gd name="T5" fmla="*/ 54 h 112"/>
                <a:gd name="T6" fmla="*/ 56 w 121"/>
                <a:gd name="T7" fmla="*/ 92 h 112"/>
                <a:gd name="T8" fmla="*/ 0 w 121"/>
                <a:gd name="T9" fmla="*/ 108 h 112"/>
                <a:gd name="T10" fmla="*/ 1 w 121"/>
                <a:gd name="T11" fmla="*/ 112 h 112"/>
                <a:gd name="T12" fmla="*/ 77 w 121"/>
                <a:gd name="T13" fmla="*/ 86 h 112"/>
                <a:gd name="T14" fmla="*/ 108 w 121"/>
                <a:gd name="T15" fmla="*/ 57 h 112"/>
                <a:gd name="T16" fmla="*/ 121 w 121"/>
                <a:gd name="T17" fmla="*/ 14 h 112"/>
                <a:gd name="T18" fmla="*/ 120 w 121"/>
                <a:gd name="T19" fmla="*/ 0 h 112"/>
                <a:gd name="T20" fmla="*/ 116 w 121"/>
                <a:gd name="T21" fmla="*/ 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2">
                  <a:moveTo>
                    <a:pt x="116" y="1"/>
                  </a:moveTo>
                  <a:cubicBezTo>
                    <a:pt x="117" y="5"/>
                    <a:pt x="117" y="10"/>
                    <a:pt x="117" y="14"/>
                  </a:cubicBezTo>
                  <a:cubicBezTo>
                    <a:pt x="117" y="30"/>
                    <a:pt x="112" y="43"/>
                    <a:pt x="105" y="54"/>
                  </a:cubicBezTo>
                  <a:cubicBezTo>
                    <a:pt x="93" y="71"/>
                    <a:pt x="75" y="83"/>
                    <a:pt x="56" y="92"/>
                  </a:cubicBezTo>
                  <a:cubicBezTo>
                    <a:pt x="36" y="101"/>
                    <a:pt x="16" y="106"/>
                    <a:pt x="0" y="108"/>
                  </a:cubicBezTo>
                  <a:cubicBezTo>
                    <a:pt x="1" y="112"/>
                    <a:pt x="1" y="112"/>
                    <a:pt x="1" y="112"/>
                  </a:cubicBezTo>
                  <a:cubicBezTo>
                    <a:pt x="22" y="109"/>
                    <a:pt x="52" y="101"/>
                    <a:pt x="77" y="86"/>
                  </a:cubicBezTo>
                  <a:cubicBezTo>
                    <a:pt x="89" y="78"/>
                    <a:pt x="100" y="68"/>
                    <a:pt x="108" y="57"/>
                  </a:cubicBezTo>
                  <a:cubicBezTo>
                    <a:pt x="116" y="45"/>
                    <a:pt x="121" y="31"/>
                    <a:pt x="121" y="14"/>
                  </a:cubicBezTo>
                  <a:cubicBezTo>
                    <a:pt x="121" y="10"/>
                    <a:pt x="121" y="5"/>
                    <a:pt x="120" y="0"/>
                  </a:cubicBezTo>
                  <a:cubicBezTo>
                    <a:pt x="116" y="1"/>
                    <a:pt x="116" y="1"/>
                    <a:pt x="116" y="1"/>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 name="Freeform 222"/>
            <p:cNvSpPr/>
            <p:nvPr userDrawn="1"/>
          </p:nvSpPr>
          <p:spPr bwMode="auto">
            <a:xfrm>
              <a:off x="6116572" y="4221778"/>
              <a:ext cx="368806" cy="225935"/>
            </a:xfrm>
            <a:custGeom>
              <a:avLst/>
              <a:gdLst>
                <a:gd name="T0" fmla="*/ 138 w 142"/>
                <a:gd name="T1" fmla="*/ 0 h 87"/>
                <a:gd name="T2" fmla="*/ 81 w 142"/>
                <a:gd name="T3" fmla="*/ 56 h 87"/>
                <a:gd name="T4" fmla="*/ 0 w 142"/>
                <a:gd name="T5" fmla="*/ 83 h 87"/>
                <a:gd name="T6" fmla="*/ 0 w 142"/>
                <a:gd name="T7" fmla="*/ 87 h 87"/>
                <a:gd name="T8" fmla="*/ 83 w 142"/>
                <a:gd name="T9" fmla="*/ 60 h 87"/>
                <a:gd name="T10" fmla="*/ 142 w 142"/>
                <a:gd name="T11" fmla="*/ 1 h 87"/>
                <a:gd name="T12" fmla="*/ 138 w 142"/>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42" h="87">
                  <a:moveTo>
                    <a:pt x="138" y="0"/>
                  </a:moveTo>
                  <a:cubicBezTo>
                    <a:pt x="130" y="24"/>
                    <a:pt x="108" y="43"/>
                    <a:pt x="81" y="56"/>
                  </a:cubicBezTo>
                  <a:cubicBezTo>
                    <a:pt x="55" y="70"/>
                    <a:pt x="24" y="79"/>
                    <a:pt x="0" y="83"/>
                  </a:cubicBezTo>
                  <a:cubicBezTo>
                    <a:pt x="0" y="87"/>
                    <a:pt x="0" y="87"/>
                    <a:pt x="0" y="87"/>
                  </a:cubicBezTo>
                  <a:cubicBezTo>
                    <a:pt x="26" y="83"/>
                    <a:pt x="56" y="74"/>
                    <a:pt x="83" y="60"/>
                  </a:cubicBezTo>
                  <a:cubicBezTo>
                    <a:pt x="110" y="46"/>
                    <a:pt x="133" y="27"/>
                    <a:pt x="142" y="1"/>
                  </a:cubicBezTo>
                  <a:cubicBezTo>
                    <a:pt x="138" y="0"/>
                    <a:pt x="138" y="0"/>
                    <a:pt x="138" y="0"/>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16" name="Freeform 94"/>
            <p:cNvSpPr>
              <a:spLocks noEditPoints="1"/>
            </p:cNvSpPr>
            <p:nvPr userDrawn="1"/>
          </p:nvSpPr>
          <p:spPr bwMode="auto">
            <a:xfrm>
              <a:off x="5613200" y="4181907"/>
              <a:ext cx="79742" cy="81404"/>
            </a:xfrm>
            <a:custGeom>
              <a:avLst/>
              <a:gdLst>
                <a:gd name="T0" fmla="*/ 31 w 31"/>
                <a:gd name="T1" fmla="*/ 15 h 31"/>
                <a:gd name="T2" fmla="*/ 31 w 31"/>
                <a:gd name="T3" fmla="*/ 15 h 31"/>
                <a:gd name="T4" fmla="*/ 31 w 31"/>
                <a:gd name="T5" fmla="*/ 15 h 31"/>
                <a:gd name="T6" fmla="*/ 15 w 31"/>
                <a:gd name="T7" fmla="*/ 0 h 31"/>
                <a:gd name="T8" fmla="*/ 0 w 31"/>
                <a:gd name="T9" fmla="*/ 15 h 31"/>
                <a:gd name="T10" fmla="*/ 15 w 31"/>
                <a:gd name="T11" fmla="*/ 31 h 31"/>
                <a:gd name="T12" fmla="*/ 31 w 31"/>
                <a:gd name="T13" fmla="*/ 15 h 31"/>
                <a:gd name="T14" fmla="*/ 29 w 31"/>
                <a:gd name="T15" fmla="*/ 15 h 31"/>
                <a:gd name="T16" fmla="*/ 27 w 31"/>
                <a:gd name="T17" fmla="*/ 15 h 31"/>
                <a:gd name="T18" fmla="*/ 15 w 31"/>
                <a:gd name="T19" fmla="*/ 27 h 31"/>
                <a:gd name="T20" fmla="*/ 4 w 31"/>
                <a:gd name="T21" fmla="*/ 15 h 31"/>
                <a:gd name="T22" fmla="*/ 15 w 31"/>
                <a:gd name="T23" fmla="*/ 4 h 31"/>
                <a:gd name="T24" fmla="*/ 27 w 31"/>
                <a:gd name="T25" fmla="*/ 15 h 31"/>
                <a:gd name="T26" fmla="*/ 29 w 31"/>
                <a:gd name="T27" fmla="*/ 15 h 31"/>
                <a:gd name="T28" fmla="*/ 31 w 31"/>
                <a:gd name="T29" fmla="*/ 15 h 31"/>
                <a:gd name="T30" fmla="*/ 31 w 31"/>
                <a:gd name="T31" fmla="*/ 15 h 31"/>
                <a:gd name="T32" fmla="*/ 15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5" y="0"/>
                  </a:moveTo>
                  <a:cubicBezTo>
                    <a:pt x="7" y="0"/>
                    <a:pt x="0" y="7"/>
                    <a:pt x="0" y="15"/>
                  </a:cubicBezTo>
                  <a:cubicBezTo>
                    <a:pt x="0" y="24"/>
                    <a:pt x="7" y="31"/>
                    <a:pt x="15" y="31"/>
                  </a:cubicBezTo>
                  <a:cubicBezTo>
                    <a:pt x="24" y="31"/>
                    <a:pt x="31" y="24"/>
                    <a:pt x="31" y="15"/>
                  </a:cubicBezTo>
                  <a:cubicBezTo>
                    <a:pt x="29" y="15"/>
                    <a:pt x="29" y="15"/>
                    <a:pt x="29" y="15"/>
                  </a:cubicBezTo>
                  <a:cubicBezTo>
                    <a:pt x="27" y="15"/>
                    <a:pt x="27" y="15"/>
                    <a:pt x="27" y="15"/>
                  </a:cubicBezTo>
                  <a:cubicBezTo>
                    <a:pt x="27" y="21"/>
                    <a:pt x="22" y="26"/>
                    <a:pt x="15" y="27"/>
                  </a:cubicBezTo>
                  <a:cubicBezTo>
                    <a:pt x="9" y="26"/>
                    <a:pt x="4" y="21"/>
                    <a:pt x="4" y="15"/>
                  </a:cubicBezTo>
                  <a:cubicBezTo>
                    <a:pt x="4" y="9"/>
                    <a:pt x="9" y="4"/>
                    <a:pt x="15"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5"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Freeform 212"/>
            <p:cNvSpPr/>
            <p:nvPr userDrawn="1"/>
          </p:nvSpPr>
          <p:spPr bwMode="auto">
            <a:xfrm>
              <a:off x="5661378" y="5886391"/>
              <a:ext cx="373791" cy="119613"/>
            </a:xfrm>
            <a:custGeom>
              <a:avLst/>
              <a:gdLst>
                <a:gd name="T0" fmla="*/ 123 w 144"/>
                <a:gd name="T1" fmla="*/ 26 h 46"/>
                <a:gd name="T2" fmla="*/ 141 w 144"/>
                <a:gd name="T3" fmla="*/ 9 h 46"/>
                <a:gd name="T4" fmla="*/ 138 w 144"/>
                <a:gd name="T5" fmla="*/ 0 h 46"/>
                <a:gd name="T6" fmla="*/ 112 w 144"/>
                <a:gd name="T7" fmla="*/ 26 h 46"/>
                <a:gd name="T8" fmla="*/ 99 w 144"/>
                <a:gd name="T9" fmla="*/ 26 h 46"/>
                <a:gd name="T10" fmla="*/ 54 w 144"/>
                <a:gd name="T11" fmla="*/ 4 h 46"/>
                <a:gd name="T12" fmla="*/ 6 w 144"/>
                <a:gd name="T13" fmla="*/ 34 h 46"/>
                <a:gd name="T14" fmla="*/ 9 w 144"/>
                <a:gd name="T15" fmla="*/ 46 h 46"/>
                <a:gd name="T16" fmla="*/ 74 w 144"/>
                <a:gd name="T17" fmla="*/ 46 h 46"/>
                <a:gd name="T18" fmla="*/ 95 w 144"/>
                <a:gd name="T19" fmla="*/ 32 h 46"/>
                <a:gd name="T20" fmla="*/ 101 w 144"/>
                <a:gd name="T21" fmla="*/ 32 h 46"/>
                <a:gd name="T22" fmla="*/ 101 w 144"/>
                <a:gd name="T23" fmla="*/ 46 h 46"/>
                <a:gd name="T24" fmla="*/ 144 w 144"/>
                <a:gd name="T25" fmla="*/ 46 h 46"/>
                <a:gd name="T26" fmla="*/ 144 w 144"/>
                <a:gd name="T27" fmla="*/ 26 h 46"/>
                <a:gd name="T28" fmla="*/ 123 w 144"/>
                <a:gd name="T29" fmla="*/ 2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46">
                  <a:moveTo>
                    <a:pt x="123" y="26"/>
                  </a:moveTo>
                  <a:cubicBezTo>
                    <a:pt x="141" y="9"/>
                    <a:pt x="141" y="9"/>
                    <a:pt x="141" y="9"/>
                  </a:cubicBezTo>
                  <a:cubicBezTo>
                    <a:pt x="138" y="0"/>
                    <a:pt x="138" y="0"/>
                    <a:pt x="138" y="0"/>
                  </a:cubicBezTo>
                  <a:cubicBezTo>
                    <a:pt x="112" y="26"/>
                    <a:pt x="112" y="26"/>
                    <a:pt x="112" y="26"/>
                  </a:cubicBezTo>
                  <a:cubicBezTo>
                    <a:pt x="99" y="26"/>
                    <a:pt x="99" y="26"/>
                    <a:pt x="99" y="26"/>
                  </a:cubicBezTo>
                  <a:cubicBezTo>
                    <a:pt x="54" y="4"/>
                    <a:pt x="54" y="4"/>
                    <a:pt x="54" y="4"/>
                  </a:cubicBezTo>
                  <a:cubicBezTo>
                    <a:pt x="6" y="34"/>
                    <a:pt x="6" y="34"/>
                    <a:pt x="6" y="34"/>
                  </a:cubicBezTo>
                  <a:cubicBezTo>
                    <a:pt x="0" y="38"/>
                    <a:pt x="3" y="46"/>
                    <a:pt x="9" y="46"/>
                  </a:cubicBezTo>
                  <a:cubicBezTo>
                    <a:pt x="74" y="46"/>
                    <a:pt x="74" y="46"/>
                    <a:pt x="74" y="46"/>
                  </a:cubicBezTo>
                  <a:cubicBezTo>
                    <a:pt x="95" y="32"/>
                    <a:pt x="95" y="32"/>
                    <a:pt x="95" y="32"/>
                  </a:cubicBezTo>
                  <a:cubicBezTo>
                    <a:pt x="101" y="32"/>
                    <a:pt x="101" y="32"/>
                    <a:pt x="101" y="32"/>
                  </a:cubicBezTo>
                  <a:cubicBezTo>
                    <a:pt x="101" y="46"/>
                    <a:pt x="101" y="46"/>
                    <a:pt x="101" y="46"/>
                  </a:cubicBezTo>
                  <a:cubicBezTo>
                    <a:pt x="144" y="46"/>
                    <a:pt x="144" y="46"/>
                    <a:pt x="144" y="46"/>
                  </a:cubicBezTo>
                  <a:cubicBezTo>
                    <a:pt x="144" y="26"/>
                    <a:pt x="144" y="26"/>
                    <a:pt x="144" y="26"/>
                  </a:cubicBezTo>
                  <a:lnTo>
                    <a:pt x="123" y="26"/>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20" name="Rectangle 235"/>
            <p:cNvSpPr>
              <a:spLocks noChangeArrowheads="1"/>
            </p:cNvSpPr>
            <p:nvPr userDrawn="1"/>
          </p:nvSpPr>
          <p:spPr bwMode="auto">
            <a:xfrm>
              <a:off x="5721185" y="4255004"/>
              <a:ext cx="11630" cy="222613"/>
            </a:xfrm>
            <a:prstGeom prst="rect">
              <a:avLst/>
            </a:prstGeom>
            <a:solidFill>
              <a:srgbClr val="B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021" name="Freeform 236"/>
            <p:cNvSpPr/>
            <p:nvPr userDrawn="1"/>
          </p:nvSpPr>
          <p:spPr bwMode="auto">
            <a:xfrm>
              <a:off x="5721185" y="4255004"/>
              <a:ext cx="11630" cy="222613"/>
            </a:xfrm>
            <a:custGeom>
              <a:avLst/>
              <a:gdLst>
                <a:gd name="T0" fmla="*/ 0 w 7"/>
                <a:gd name="T1" fmla="*/ 0 h 134"/>
                <a:gd name="T2" fmla="*/ 0 w 7"/>
                <a:gd name="T3" fmla="*/ 134 h 134"/>
                <a:gd name="T4" fmla="*/ 7 w 7"/>
                <a:gd name="T5" fmla="*/ 134 h 134"/>
                <a:gd name="T6" fmla="*/ 7 w 7"/>
                <a:gd name="T7" fmla="*/ 0 h 134"/>
              </a:gdLst>
              <a:ahLst/>
              <a:cxnLst>
                <a:cxn ang="0">
                  <a:pos x="T0" y="T1"/>
                </a:cxn>
                <a:cxn ang="0">
                  <a:pos x="T2" y="T3"/>
                </a:cxn>
                <a:cxn ang="0">
                  <a:pos x="T4" y="T5"/>
                </a:cxn>
                <a:cxn ang="0">
                  <a:pos x="T6" y="T7"/>
                </a:cxn>
              </a:cxnLst>
              <a:rect l="0" t="0" r="r" b="b"/>
              <a:pathLst>
                <a:path w="7" h="134">
                  <a:moveTo>
                    <a:pt x="0" y="0"/>
                  </a:moveTo>
                  <a:lnTo>
                    <a:pt x="0" y="134"/>
                  </a:lnTo>
                  <a:lnTo>
                    <a:pt x="7" y="134"/>
                  </a:lnTo>
                  <a:lnTo>
                    <a:pt x="7" y="0"/>
                  </a:lnTo>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grpSp>
      <p:sp>
        <p:nvSpPr>
          <p:cNvPr id="9801" name="副标题 9800"/>
          <p:cNvSpPr>
            <a:spLocks noGrp="1"/>
          </p:cNvSpPr>
          <p:nvPr userDrawn="1">
            <p:ph type="subTitle" idx="1"/>
          </p:nvPr>
        </p:nvSpPr>
        <p:spPr>
          <a:xfrm>
            <a:off x="5543549" y="3555797"/>
            <a:ext cx="5975351" cy="558799"/>
          </a:xfrm>
        </p:spPr>
        <p:txBody>
          <a:bodyPr anchor="t">
            <a:normAutofit/>
          </a:bodyPr>
          <a:lstStyle>
            <a:lvl1pPr marL="0" indent="0" algn="r">
              <a:buNone/>
              <a:defRPr sz="1600">
                <a:solidFill>
                  <a:schemeClr val="accent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5196795" y="1384742"/>
            <a:ext cx="6322106" cy="2065284"/>
          </a:xfrm>
        </p:spPr>
        <p:txBody>
          <a:bodyPr anchor="b">
            <a:noAutofit/>
          </a:bodyPr>
          <a:lstStyle>
            <a:lvl1pPr algn="r" defTabSz="913765" rtl="0" eaLnBrk="1" latinLnBrk="0" hangingPunct="1">
              <a:lnSpc>
                <a:spcPct val="110000"/>
              </a:lnSpc>
              <a:spcBef>
                <a:spcPct val="0"/>
              </a:spcBef>
              <a:buNone/>
              <a:defRPr lang="zh-CN" altLang="en-US" sz="4800" b="1" kern="1200" dirty="0">
                <a:solidFill>
                  <a:schemeClr val="accent1">
                    <a:lumMod val="50000"/>
                  </a:schemeClr>
                </a:solidFill>
                <a:latin typeface="+mj-lt"/>
                <a:ea typeface="+mj-ea"/>
                <a:cs typeface="+mj-cs"/>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096000" y="4890683"/>
            <a:ext cx="5422900" cy="296271"/>
          </a:xfrm>
        </p:spPr>
        <p:txBody>
          <a:bodyPr vert="horz" anchor="ctr">
            <a:noAutofit/>
          </a:bodyPr>
          <a:lstStyle>
            <a:lvl1pPr marL="0" indent="0" algn="r">
              <a:buNone/>
              <a:defRPr sz="1400" b="0">
                <a:solidFill>
                  <a:schemeClr val="accent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096000" y="5186954"/>
            <a:ext cx="5422900" cy="296271"/>
          </a:xfrm>
        </p:spPr>
        <p:txBody>
          <a:bodyPr vert="horz" anchor="ctr">
            <a:noAutofit/>
          </a:bodyPr>
          <a:lstStyle>
            <a:lvl1pPr marL="0" indent="0" algn="r">
              <a:buNone/>
              <a:defRPr sz="1400" b="0">
                <a:solidFill>
                  <a:schemeClr val="accent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319" name="Freeform 7"/>
          <p:cNvSpPr/>
          <p:nvPr userDrawn="1"/>
        </p:nvSpPr>
        <p:spPr bwMode="auto">
          <a:xfrm>
            <a:off x="11284450" y="114910"/>
            <a:ext cx="154501" cy="156161"/>
          </a:xfrm>
          <a:custGeom>
            <a:avLst/>
            <a:gdLst>
              <a:gd name="T0" fmla="*/ 58 w 60"/>
              <a:gd name="T1" fmla="*/ 30 h 60"/>
              <a:gd name="T2" fmla="*/ 56 w 60"/>
              <a:gd name="T3" fmla="*/ 30 h 60"/>
              <a:gd name="T4" fmla="*/ 48 w 60"/>
              <a:gd name="T5" fmla="*/ 48 h 60"/>
              <a:gd name="T6" fmla="*/ 30 w 60"/>
              <a:gd name="T7" fmla="*/ 56 h 60"/>
              <a:gd name="T8" fmla="*/ 12 w 60"/>
              <a:gd name="T9" fmla="*/ 48 h 60"/>
              <a:gd name="T10" fmla="*/ 4 w 60"/>
              <a:gd name="T11" fmla="*/ 30 h 60"/>
              <a:gd name="T12" fmla="*/ 12 w 60"/>
              <a:gd name="T13" fmla="*/ 12 h 60"/>
              <a:gd name="T14" fmla="*/ 30 w 60"/>
              <a:gd name="T15" fmla="*/ 4 h 60"/>
              <a:gd name="T16" fmla="*/ 48 w 60"/>
              <a:gd name="T17" fmla="*/ 12 h 60"/>
              <a:gd name="T18" fmla="*/ 56 w 60"/>
              <a:gd name="T19" fmla="*/ 30 h 60"/>
              <a:gd name="T20" fmla="*/ 58 w 60"/>
              <a:gd name="T21" fmla="*/ 30 h 60"/>
              <a:gd name="T22" fmla="*/ 60 w 60"/>
              <a:gd name="T23" fmla="*/ 30 h 60"/>
              <a:gd name="T24" fmla="*/ 30 w 60"/>
              <a:gd name="T25" fmla="*/ 0 h 60"/>
              <a:gd name="T26" fmla="*/ 0 w 60"/>
              <a:gd name="T27" fmla="*/ 30 h 60"/>
              <a:gd name="T28" fmla="*/ 30 w 60"/>
              <a:gd name="T29" fmla="*/ 60 h 60"/>
              <a:gd name="T30" fmla="*/ 60 w 60"/>
              <a:gd name="T31" fmla="*/ 30 h 60"/>
              <a:gd name="T32" fmla="*/ 58 w 60"/>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60">
                <a:moveTo>
                  <a:pt x="58" y="30"/>
                </a:moveTo>
                <a:cubicBezTo>
                  <a:pt x="56" y="30"/>
                  <a:pt x="56" y="30"/>
                  <a:pt x="56" y="30"/>
                </a:cubicBezTo>
                <a:cubicBezTo>
                  <a:pt x="56" y="37"/>
                  <a:pt x="53" y="43"/>
                  <a:pt x="48" y="48"/>
                </a:cubicBezTo>
                <a:cubicBezTo>
                  <a:pt x="43" y="53"/>
                  <a:pt x="37" y="56"/>
                  <a:pt x="30" y="56"/>
                </a:cubicBezTo>
                <a:cubicBezTo>
                  <a:pt x="23" y="56"/>
                  <a:pt x="16" y="53"/>
                  <a:pt x="12" y="48"/>
                </a:cubicBezTo>
                <a:cubicBezTo>
                  <a:pt x="7" y="43"/>
                  <a:pt x="4" y="37"/>
                  <a:pt x="4" y="30"/>
                </a:cubicBezTo>
                <a:cubicBezTo>
                  <a:pt x="4" y="23"/>
                  <a:pt x="7" y="16"/>
                  <a:pt x="12" y="12"/>
                </a:cubicBezTo>
                <a:cubicBezTo>
                  <a:pt x="16" y="7"/>
                  <a:pt x="23" y="4"/>
                  <a:pt x="30" y="4"/>
                </a:cubicBezTo>
                <a:cubicBezTo>
                  <a:pt x="37" y="4"/>
                  <a:pt x="43" y="7"/>
                  <a:pt x="48" y="12"/>
                </a:cubicBezTo>
                <a:cubicBezTo>
                  <a:pt x="53" y="16"/>
                  <a:pt x="56" y="23"/>
                  <a:pt x="56" y="30"/>
                </a:cubicBezTo>
                <a:cubicBezTo>
                  <a:pt x="58" y="30"/>
                  <a:pt x="58" y="30"/>
                  <a:pt x="58" y="30"/>
                </a:cubicBezTo>
                <a:cubicBezTo>
                  <a:pt x="60" y="30"/>
                  <a:pt x="60" y="30"/>
                  <a:pt x="60" y="30"/>
                </a:cubicBezTo>
                <a:cubicBezTo>
                  <a:pt x="60" y="14"/>
                  <a:pt x="46" y="0"/>
                  <a:pt x="30" y="0"/>
                </a:cubicBezTo>
                <a:cubicBezTo>
                  <a:pt x="14" y="0"/>
                  <a:pt x="0" y="14"/>
                  <a:pt x="0" y="30"/>
                </a:cubicBezTo>
                <a:cubicBezTo>
                  <a:pt x="0" y="46"/>
                  <a:pt x="14" y="60"/>
                  <a:pt x="30" y="60"/>
                </a:cubicBezTo>
                <a:cubicBezTo>
                  <a:pt x="46" y="60"/>
                  <a:pt x="60" y="46"/>
                  <a:pt x="60" y="30"/>
                </a:cubicBezTo>
                <a:lnTo>
                  <a:pt x="58" y="30"/>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675698" y="2657929"/>
            <a:ext cx="5419185" cy="895350"/>
          </a:xfrm>
        </p:spPr>
        <p:txBody>
          <a:bodyPr anchor="b">
            <a:normAutofit/>
          </a:bodyPr>
          <a:lstStyle>
            <a:lvl1pPr algn="l">
              <a:defRPr sz="2400" b="1">
                <a:solidFill>
                  <a:schemeClr val="tx1"/>
                </a:solidFill>
              </a:defRPr>
            </a:lvl1pPr>
          </a:lstStyle>
          <a:p>
            <a:r>
              <a:rPr lang="zh-CN" altLang="en-US"/>
              <a:t>单击此处编辑母版标题样式</a:t>
            </a:r>
            <a:endParaRPr lang="zh-CN" altLang="en-US" dirty="0"/>
          </a:p>
        </p:txBody>
      </p:sp>
      <p:sp>
        <p:nvSpPr>
          <p:cNvPr id="21" name="文本占位符 20"/>
          <p:cNvSpPr>
            <a:spLocks noGrp="1"/>
          </p:cNvSpPr>
          <p:nvPr userDrawn="1">
            <p:ph type="body" idx="1"/>
          </p:nvPr>
        </p:nvSpPr>
        <p:spPr>
          <a:xfrm>
            <a:off x="676814" y="3553279"/>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grpSp>
        <p:nvGrpSpPr>
          <p:cNvPr id="273" name="组合 272"/>
          <p:cNvGrpSpPr/>
          <p:nvPr userDrawn="1"/>
        </p:nvGrpSpPr>
        <p:grpSpPr>
          <a:xfrm>
            <a:off x="7652241" y="3657600"/>
            <a:ext cx="3866659" cy="2578100"/>
            <a:chOff x="673100" y="2070100"/>
            <a:chExt cx="6249988" cy="4167188"/>
          </a:xfrm>
        </p:grpSpPr>
        <p:sp>
          <p:nvSpPr>
            <p:cNvPr id="274" name="Freeform 5"/>
            <p:cNvSpPr>
              <a:spLocks noEditPoints="1"/>
            </p:cNvSpPr>
            <p:nvPr userDrawn="1"/>
          </p:nvSpPr>
          <p:spPr bwMode="auto">
            <a:xfrm>
              <a:off x="673100" y="3236913"/>
              <a:ext cx="422275" cy="422275"/>
            </a:xfrm>
            <a:custGeom>
              <a:avLst/>
              <a:gdLst>
                <a:gd name="T0" fmla="*/ 169 w 170"/>
                <a:gd name="T1" fmla="*/ 96 h 170"/>
                <a:gd name="T2" fmla="*/ 169 w 170"/>
                <a:gd name="T3" fmla="*/ 76 h 170"/>
                <a:gd name="T4" fmla="*/ 164 w 170"/>
                <a:gd name="T5" fmla="*/ 57 h 170"/>
                <a:gd name="T6" fmla="*/ 147 w 170"/>
                <a:gd name="T7" fmla="*/ 61 h 170"/>
                <a:gd name="T8" fmla="*/ 138 w 170"/>
                <a:gd name="T9" fmla="*/ 46 h 170"/>
                <a:gd name="T10" fmla="*/ 152 w 170"/>
                <a:gd name="T11" fmla="*/ 33 h 170"/>
                <a:gd name="T12" fmla="*/ 121 w 170"/>
                <a:gd name="T13" fmla="*/ 9 h 170"/>
                <a:gd name="T14" fmla="*/ 112 w 170"/>
                <a:gd name="T15" fmla="*/ 24 h 170"/>
                <a:gd name="T16" fmla="*/ 95 w 170"/>
                <a:gd name="T17" fmla="*/ 19 h 170"/>
                <a:gd name="T18" fmla="*/ 96 w 170"/>
                <a:gd name="T19" fmla="*/ 1 h 170"/>
                <a:gd name="T20" fmla="*/ 76 w 170"/>
                <a:gd name="T21" fmla="*/ 1 h 170"/>
                <a:gd name="T22" fmla="*/ 56 w 170"/>
                <a:gd name="T23" fmla="*/ 5 h 170"/>
                <a:gd name="T24" fmla="*/ 61 w 170"/>
                <a:gd name="T25" fmla="*/ 23 h 170"/>
                <a:gd name="T26" fmla="*/ 45 w 170"/>
                <a:gd name="T27" fmla="*/ 31 h 170"/>
                <a:gd name="T28" fmla="*/ 33 w 170"/>
                <a:gd name="T29" fmla="*/ 18 h 170"/>
                <a:gd name="T30" fmla="*/ 8 w 170"/>
                <a:gd name="T31" fmla="*/ 49 h 170"/>
                <a:gd name="T32" fmla="*/ 24 w 170"/>
                <a:gd name="T33" fmla="*/ 58 h 170"/>
                <a:gd name="T34" fmla="*/ 19 w 170"/>
                <a:gd name="T35" fmla="*/ 75 h 170"/>
                <a:gd name="T36" fmla="*/ 1 w 170"/>
                <a:gd name="T37" fmla="*/ 74 h 170"/>
                <a:gd name="T38" fmla="*/ 0 w 170"/>
                <a:gd name="T39" fmla="*/ 94 h 170"/>
                <a:gd name="T40" fmla="*/ 5 w 170"/>
                <a:gd name="T41" fmla="*/ 113 h 170"/>
                <a:gd name="T42" fmla="*/ 22 w 170"/>
                <a:gd name="T43" fmla="*/ 109 h 170"/>
                <a:gd name="T44" fmla="*/ 31 w 170"/>
                <a:gd name="T45" fmla="*/ 124 h 170"/>
                <a:gd name="T46" fmla="*/ 18 w 170"/>
                <a:gd name="T47" fmla="*/ 137 h 170"/>
                <a:gd name="T48" fmla="*/ 48 w 170"/>
                <a:gd name="T49" fmla="*/ 161 h 170"/>
                <a:gd name="T50" fmla="*/ 57 w 170"/>
                <a:gd name="T51" fmla="*/ 146 h 170"/>
                <a:gd name="T52" fmla="*/ 74 w 170"/>
                <a:gd name="T53" fmla="*/ 151 h 170"/>
                <a:gd name="T54" fmla="*/ 74 w 170"/>
                <a:gd name="T55" fmla="*/ 169 h 170"/>
                <a:gd name="T56" fmla="*/ 94 w 170"/>
                <a:gd name="T57" fmla="*/ 169 h 170"/>
                <a:gd name="T58" fmla="*/ 113 w 170"/>
                <a:gd name="T59" fmla="*/ 165 h 170"/>
                <a:gd name="T60" fmla="*/ 108 w 170"/>
                <a:gd name="T61" fmla="*/ 147 h 170"/>
                <a:gd name="T62" fmla="*/ 124 w 170"/>
                <a:gd name="T63" fmla="*/ 139 h 170"/>
                <a:gd name="T64" fmla="*/ 136 w 170"/>
                <a:gd name="T65" fmla="*/ 152 h 170"/>
                <a:gd name="T66" fmla="*/ 161 w 170"/>
                <a:gd name="T67" fmla="*/ 121 h 170"/>
                <a:gd name="T68" fmla="*/ 146 w 170"/>
                <a:gd name="T69" fmla="*/ 112 h 170"/>
                <a:gd name="T70" fmla="*/ 151 w 170"/>
                <a:gd name="T71" fmla="*/ 95 h 170"/>
                <a:gd name="T72" fmla="*/ 169 w 170"/>
                <a:gd name="T73" fmla="*/ 96 h 170"/>
                <a:gd name="T74" fmla="*/ 89 w 170"/>
                <a:gd name="T75" fmla="*/ 126 h 170"/>
                <a:gd name="T76" fmla="*/ 44 w 170"/>
                <a:gd name="T77" fmla="*/ 89 h 170"/>
                <a:gd name="T78" fmla="*/ 80 w 170"/>
                <a:gd name="T79" fmla="*/ 44 h 170"/>
                <a:gd name="T80" fmla="*/ 125 w 170"/>
                <a:gd name="T81" fmla="*/ 81 h 170"/>
                <a:gd name="T82" fmla="*/ 89 w 170"/>
                <a:gd name="T83" fmla="*/ 126 h 170"/>
                <a:gd name="T84" fmla="*/ 88 w 170"/>
                <a:gd name="T85" fmla="*/ 115 h 170"/>
                <a:gd name="T86" fmla="*/ 55 w 170"/>
                <a:gd name="T87" fmla="*/ 88 h 170"/>
                <a:gd name="T88" fmla="*/ 81 w 170"/>
                <a:gd name="T89" fmla="*/ 55 h 170"/>
                <a:gd name="T90" fmla="*/ 114 w 170"/>
                <a:gd name="T91" fmla="*/ 82 h 170"/>
                <a:gd name="T92" fmla="*/ 88 w 170"/>
                <a:gd name="T93" fmla="*/ 11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0" h="170">
                  <a:moveTo>
                    <a:pt x="169" y="96"/>
                  </a:moveTo>
                  <a:cubicBezTo>
                    <a:pt x="169" y="89"/>
                    <a:pt x="170" y="83"/>
                    <a:pt x="169" y="76"/>
                  </a:cubicBezTo>
                  <a:cubicBezTo>
                    <a:pt x="168" y="69"/>
                    <a:pt x="167" y="63"/>
                    <a:pt x="164" y="57"/>
                  </a:cubicBezTo>
                  <a:cubicBezTo>
                    <a:pt x="147" y="61"/>
                    <a:pt x="147" y="61"/>
                    <a:pt x="147" y="61"/>
                  </a:cubicBezTo>
                  <a:cubicBezTo>
                    <a:pt x="145" y="56"/>
                    <a:pt x="142" y="50"/>
                    <a:pt x="138" y="46"/>
                  </a:cubicBezTo>
                  <a:cubicBezTo>
                    <a:pt x="152" y="33"/>
                    <a:pt x="152" y="33"/>
                    <a:pt x="152" y="33"/>
                  </a:cubicBezTo>
                  <a:cubicBezTo>
                    <a:pt x="144" y="23"/>
                    <a:pt x="133" y="14"/>
                    <a:pt x="121" y="9"/>
                  </a:cubicBezTo>
                  <a:cubicBezTo>
                    <a:pt x="112" y="24"/>
                    <a:pt x="112" y="24"/>
                    <a:pt x="112" y="24"/>
                  </a:cubicBezTo>
                  <a:cubicBezTo>
                    <a:pt x="106" y="22"/>
                    <a:pt x="101" y="20"/>
                    <a:pt x="95" y="19"/>
                  </a:cubicBezTo>
                  <a:cubicBezTo>
                    <a:pt x="96" y="1"/>
                    <a:pt x="96" y="1"/>
                    <a:pt x="96" y="1"/>
                  </a:cubicBezTo>
                  <a:cubicBezTo>
                    <a:pt x="89" y="0"/>
                    <a:pt x="82" y="0"/>
                    <a:pt x="76" y="1"/>
                  </a:cubicBezTo>
                  <a:cubicBezTo>
                    <a:pt x="69" y="2"/>
                    <a:pt x="62" y="3"/>
                    <a:pt x="56" y="5"/>
                  </a:cubicBezTo>
                  <a:cubicBezTo>
                    <a:pt x="61" y="23"/>
                    <a:pt x="61" y="23"/>
                    <a:pt x="61" y="23"/>
                  </a:cubicBezTo>
                  <a:cubicBezTo>
                    <a:pt x="55" y="25"/>
                    <a:pt x="50" y="28"/>
                    <a:pt x="45" y="31"/>
                  </a:cubicBezTo>
                  <a:cubicBezTo>
                    <a:pt x="33" y="18"/>
                    <a:pt x="33" y="18"/>
                    <a:pt x="33" y="18"/>
                  </a:cubicBezTo>
                  <a:cubicBezTo>
                    <a:pt x="22" y="26"/>
                    <a:pt x="14" y="37"/>
                    <a:pt x="8" y="49"/>
                  </a:cubicBezTo>
                  <a:cubicBezTo>
                    <a:pt x="24" y="58"/>
                    <a:pt x="24" y="58"/>
                    <a:pt x="24" y="58"/>
                  </a:cubicBezTo>
                  <a:cubicBezTo>
                    <a:pt x="21" y="63"/>
                    <a:pt x="20" y="69"/>
                    <a:pt x="19" y="75"/>
                  </a:cubicBezTo>
                  <a:cubicBezTo>
                    <a:pt x="1" y="74"/>
                    <a:pt x="1" y="74"/>
                    <a:pt x="1" y="74"/>
                  </a:cubicBezTo>
                  <a:cubicBezTo>
                    <a:pt x="0" y="81"/>
                    <a:pt x="0" y="87"/>
                    <a:pt x="0" y="94"/>
                  </a:cubicBezTo>
                  <a:cubicBezTo>
                    <a:pt x="1" y="101"/>
                    <a:pt x="3" y="107"/>
                    <a:pt x="5" y="113"/>
                  </a:cubicBezTo>
                  <a:cubicBezTo>
                    <a:pt x="22" y="109"/>
                    <a:pt x="22" y="109"/>
                    <a:pt x="22" y="109"/>
                  </a:cubicBezTo>
                  <a:cubicBezTo>
                    <a:pt x="24" y="114"/>
                    <a:pt x="27" y="120"/>
                    <a:pt x="31" y="124"/>
                  </a:cubicBezTo>
                  <a:cubicBezTo>
                    <a:pt x="18" y="137"/>
                    <a:pt x="18" y="137"/>
                    <a:pt x="18" y="137"/>
                  </a:cubicBezTo>
                  <a:cubicBezTo>
                    <a:pt x="26" y="147"/>
                    <a:pt x="36" y="156"/>
                    <a:pt x="48" y="161"/>
                  </a:cubicBezTo>
                  <a:cubicBezTo>
                    <a:pt x="57" y="146"/>
                    <a:pt x="57" y="146"/>
                    <a:pt x="57" y="146"/>
                  </a:cubicBezTo>
                  <a:cubicBezTo>
                    <a:pt x="63" y="148"/>
                    <a:pt x="69" y="150"/>
                    <a:pt x="74" y="151"/>
                  </a:cubicBezTo>
                  <a:cubicBezTo>
                    <a:pt x="74" y="169"/>
                    <a:pt x="74" y="169"/>
                    <a:pt x="74" y="169"/>
                  </a:cubicBezTo>
                  <a:cubicBezTo>
                    <a:pt x="80" y="170"/>
                    <a:pt x="87" y="170"/>
                    <a:pt x="94" y="169"/>
                  </a:cubicBezTo>
                  <a:cubicBezTo>
                    <a:pt x="100" y="168"/>
                    <a:pt x="107" y="167"/>
                    <a:pt x="113" y="165"/>
                  </a:cubicBezTo>
                  <a:cubicBezTo>
                    <a:pt x="108" y="147"/>
                    <a:pt x="108" y="147"/>
                    <a:pt x="108" y="147"/>
                  </a:cubicBezTo>
                  <a:cubicBezTo>
                    <a:pt x="114" y="145"/>
                    <a:pt x="119" y="142"/>
                    <a:pt x="124" y="139"/>
                  </a:cubicBezTo>
                  <a:cubicBezTo>
                    <a:pt x="136" y="152"/>
                    <a:pt x="136" y="152"/>
                    <a:pt x="136" y="152"/>
                  </a:cubicBezTo>
                  <a:cubicBezTo>
                    <a:pt x="147" y="144"/>
                    <a:pt x="155" y="133"/>
                    <a:pt x="161" y="121"/>
                  </a:cubicBezTo>
                  <a:cubicBezTo>
                    <a:pt x="146" y="112"/>
                    <a:pt x="146" y="112"/>
                    <a:pt x="146" y="112"/>
                  </a:cubicBezTo>
                  <a:cubicBezTo>
                    <a:pt x="148" y="107"/>
                    <a:pt x="150" y="101"/>
                    <a:pt x="151" y="95"/>
                  </a:cubicBezTo>
                  <a:lnTo>
                    <a:pt x="169" y="96"/>
                  </a:lnTo>
                  <a:close/>
                  <a:moveTo>
                    <a:pt x="89" y="126"/>
                  </a:moveTo>
                  <a:cubicBezTo>
                    <a:pt x="67" y="128"/>
                    <a:pt x="46" y="112"/>
                    <a:pt x="44" y="89"/>
                  </a:cubicBezTo>
                  <a:cubicBezTo>
                    <a:pt x="42" y="67"/>
                    <a:pt x="58" y="47"/>
                    <a:pt x="80" y="44"/>
                  </a:cubicBezTo>
                  <a:cubicBezTo>
                    <a:pt x="103" y="42"/>
                    <a:pt x="123" y="58"/>
                    <a:pt x="125" y="81"/>
                  </a:cubicBezTo>
                  <a:cubicBezTo>
                    <a:pt x="128" y="103"/>
                    <a:pt x="111" y="123"/>
                    <a:pt x="89" y="126"/>
                  </a:cubicBezTo>
                  <a:close/>
                  <a:moveTo>
                    <a:pt x="88" y="115"/>
                  </a:moveTo>
                  <a:cubicBezTo>
                    <a:pt x="71" y="116"/>
                    <a:pt x="57" y="105"/>
                    <a:pt x="55" y="88"/>
                  </a:cubicBezTo>
                  <a:cubicBezTo>
                    <a:pt x="53" y="72"/>
                    <a:pt x="65" y="57"/>
                    <a:pt x="81" y="55"/>
                  </a:cubicBezTo>
                  <a:cubicBezTo>
                    <a:pt x="98" y="53"/>
                    <a:pt x="113" y="65"/>
                    <a:pt x="114" y="82"/>
                  </a:cubicBezTo>
                  <a:cubicBezTo>
                    <a:pt x="116" y="98"/>
                    <a:pt x="104" y="113"/>
                    <a:pt x="88" y="115"/>
                  </a:cubicBezTo>
                  <a:close/>
                </a:path>
              </a:pathLst>
            </a:custGeom>
            <a:solidFill>
              <a:srgbClr val="D9E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5" name="Oval 6"/>
            <p:cNvSpPr>
              <a:spLocks noChangeArrowheads="1"/>
            </p:cNvSpPr>
            <p:nvPr userDrawn="1"/>
          </p:nvSpPr>
          <p:spPr bwMode="auto">
            <a:xfrm>
              <a:off x="1035050" y="5013325"/>
              <a:ext cx="136525" cy="139700"/>
            </a:xfrm>
            <a:prstGeom prst="ellipse">
              <a:avLst/>
            </a:prstGeom>
            <a:solidFill>
              <a:srgbClr val="D7F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6" name="Freeform 7"/>
            <p:cNvSpPr/>
            <p:nvPr userDrawn="1"/>
          </p:nvSpPr>
          <p:spPr bwMode="auto">
            <a:xfrm>
              <a:off x="2493963" y="2181225"/>
              <a:ext cx="147638" cy="149225"/>
            </a:xfrm>
            <a:custGeom>
              <a:avLst/>
              <a:gdLst>
                <a:gd name="T0" fmla="*/ 58 w 60"/>
                <a:gd name="T1" fmla="*/ 30 h 60"/>
                <a:gd name="T2" fmla="*/ 56 w 60"/>
                <a:gd name="T3" fmla="*/ 30 h 60"/>
                <a:gd name="T4" fmla="*/ 48 w 60"/>
                <a:gd name="T5" fmla="*/ 48 h 60"/>
                <a:gd name="T6" fmla="*/ 30 w 60"/>
                <a:gd name="T7" fmla="*/ 56 h 60"/>
                <a:gd name="T8" fmla="*/ 12 w 60"/>
                <a:gd name="T9" fmla="*/ 48 h 60"/>
                <a:gd name="T10" fmla="*/ 4 w 60"/>
                <a:gd name="T11" fmla="*/ 30 h 60"/>
                <a:gd name="T12" fmla="*/ 12 w 60"/>
                <a:gd name="T13" fmla="*/ 12 h 60"/>
                <a:gd name="T14" fmla="*/ 30 w 60"/>
                <a:gd name="T15" fmla="*/ 4 h 60"/>
                <a:gd name="T16" fmla="*/ 48 w 60"/>
                <a:gd name="T17" fmla="*/ 12 h 60"/>
                <a:gd name="T18" fmla="*/ 56 w 60"/>
                <a:gd name="T19" fmla="*/ 30 h 60"/>
                <a:gd name="T20" fmla="*/ 58 w 60"/>
                <a:gd name="T21" fmla="*/ 30 h 60"/>
                <a:gd name="T22" fmla="*/ 60 w 60"/>
                <a:gd name="T23" fmla="*/ 30 h 60"/>
                <a:gd name="T24" fmla="*/ 30 w 60"/>
                <a:gd name="T25" fmla="*/ 0 h 60"/>
                <a:gd name="T26" fmla="*/ 0 w 60"/>
                <a:gd name="T27" fmla="*/ 30 h 60"/>
                <a:gd name="T28" fmla="*/ 30 w 60"/>
                <a:gd name="T29" fmla="*/ 60 h 60"/>
                <a:gd name="T30" fmla="*/ 60 w 60"/>
                <a:gd name="T31" fmla="*/ 30 h 60"/>
                <a:gd name="T32" fmla="*/ 58 w 60"/>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60">
                  <a:moveTo>
                    <a:pt x="58" y="30"/>
                  </a:moveTo>
                  <a:cubicBezTo>
                    <a:pt x="56" y="30"/>
                    <a:pt x="56" y="30"/>
                    <a:pt x="56" y="30"/>
                  </a:cubicBezTo>
                  <a:cubicBezTo>
                    <a:pt x="56" y="37"/>
                    <a:pt x="53" y="43"/>
                    <a:pt x="48" y="48"/>
                  </a:cubicBezTo>
                  <a:cubicBezTo>
                    <a:pt x="43" y="53"/>
                    <a:pt x="37" y="56"/>
                    <a:pt x="30" y="56"/>
                  </a:cubicBezTo>
                  <a:cubicBezTo>
                    <a:pt x="23" y="56"/>
                    <a:pt x="16" y="53"/>
                    <a:pt x="12" y="48"/>
                  </a:cubicBezTo>
                  <a:cubicBezTo>
                    <a:pt x="7" y="43"/>
                    <a:pt x="4" y="37"/>
                    <a:pt x="4" y="30"/>
                  </a:cubicBezTo>
                  <a:cubicBezTo>
                    <a:pt x="4" y="23"/>
                    <a:pt x="7" y="16"/>
                    <a:pt x="12" y="12"/>
                  </a:cubicBezTo>
                  <a:cubicBezTo>
                    <a:pt x="16" y="7"/>
                    <a:pt x="23" y="4"/>
                    <a:pt x="30" y="4"/>
                  </a:cubicBezTo>
                  <a:cubicBezTo>
                    <a:pt x="37" y="4"/>
                    <a:pt x="43" y="7"/>
                    <a:pt x="48" y="12"/>
                  </a:cubicBezTo>
                  <a:cubicBezTo>
                    <a:pt x="53" y="16"/>
                    <a:pt x="56" y="23"/>
                    <a:pt x="56" y="30"/>
                  </a:cubicBezTo>
                  <a:cubicBezTo>
                    <a:pt x="58" y="30"/>
                    <a:pt x="58" y="30"/>
                    <a:pt x="58" y="30"/>
                  </a:cubicBezTo>
                  <a:cubicBezTo>
                    <a:pt x="60" y="30"/>
                    <a:pt x="60" y="30"/>
                    <a:pt x="60" y="30"/>
                  </a:cubicBezTo>
                  <a:cubicBezTo>
                    <a:pt x="60" y="14"/>
                    <a:pt x="46" y="0"/>
                    <a:pt x="30" y="0"/>
                  </a:cubicBezTo>
                  <a:cubicBezTo>
                    <a:pt x="14" y="0"/>
                    <a:pt x="0" y="14"/>
                    <a:pt x="0" y="30"/>
                  </a:cubicBezTo>
                  <a:cubicBezTo>
                    <a:pt x="0" y="46"/>
                    <a:pt x="14" y="60"/>
                    <a:pt x="30" y="60"/>
                  </a:cubicBezTo>
                  <a:cubicBezTo>
                    <a:pt x="46" y="60"/>
                    <a:pt x="60" y="46"/>
                    <a:pt x="60" y="30"/>
                  </a:cubicBezTo>
                  <a:lnTo>
                    <a:pt x="58" y="30"/>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7" name="Freeform 8"/>
            <p:cNvSpPr/>
            <p:nvPr userDrawn="1"/>
          </p:nvSpPr>
          <p:spPr bwMode="auto">
            <a:xfrm>
              <a:off x="5410200" y="2384425"/>
              <a:ext cx="949325" cy="393700"/>
            </a:xfrm>
            <a:custGeom>
              <a:avLst/>
              <a:gdLst>
                <a:gd name="T0" fmla="*/ 0 w 383"/>
                <a:gd name="T1" fmla="*/ 159 h 159"/>
                <a:gd name="T2" fmla="*/ 1 w 383"/>
                <a:gd name="T3" fmla="*/ 150 h 159"/>
                <a:gd name="T4" fmla="*/ 35 w 383"/>
                <a:gd name="T5" fmla="*/ 128 h 159"/>
                <a:gd name="T6" fmla="*/ 67 w 383"/>
                <a:gd name="T7" fmla="*/ 117 h 159"/>
                <a:gd name="T8" fmla="*/ 71 w 383"/>
                <a:gd name="T9" fmla="*/ 99 h 159"/>
                <a:gd name="T10" fmla="*/ 98 w 383"/>
                <a:gd name="T11" fmla="*/ 79 h 159"/>
                <a:gd name="T12" fmla="*/ 129 w 383"/>
                <a:gd name="T13" fmla="*/ 93 h 159"/>
                <a:gd name="T14" fmla="*/ 145 w 383"/>
                <a:gd name="T15" fmla="*/ 100 h 159"/>
                <a:gd name="T16" fmla="*/ 154 w 383"/>
                <a:gd name="T17" fmla="*/ 92 h 159"/>
                <a:gd name="T18" fmla="*/ 183 w 383"/>
                <a:gd name="T19" fmla="*/ 22 h 159"/>
                <a:gd name="T20" fmla="*/ 250 w 383"/>
                <a:gd name="T21" fmla="*/ 16 h 159"/>
                <a:gd name="T22" fmla="*/ 288 w 383"/>
                <a:gd name="T23" fmla="*/ 87 h 159"/>
                <a:gd name="T24" fmla="*/ 297 w 383"/>
                <a:gd name="T25" fmla="*/ 112 h 159"/>
                <a:gd name="T26" fmla="*/ 330 w 383"/>
                <a:gd name="T27" fmla="*/ 117 h 159"/>
                <a:gd name="T28" fmla="*/ 368 w 383"/>
                <a:gd name="T29" fmla="*/ 127 h 159"/>
                <a:gd name="T30" fmla="*/ 382 w 383"/>
                <a:gd name="T31" fmla="*/ 159 h 159"/>
                <a:gd name="T32" fmla="*/ 0 w 383"/>
                <a:gd name="T3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3" h="159">
                  <a:moveTo>
                    <a:pt x="0" y="159"/>
                  </a:moveTo>
                  <a:cubicBezTo>
                    <a:pt x="0" y="157"/>
                    <a:pt x="1" y="154"/>
                    <a:pt x="1" y="150"/>
                  </a:cubicBezTo>
                  <a:cubicBezTo>
                    <a:pt x="4" y="124"/>
                    <a:pt x="23" y="127"/>
                    <a:pt x="35" y="128"/>
                  </a:cubicBezTo>
                  <a:cubicBezTo>
                    <a:pt x="47" y="128"/>
                    <a:pt x="61" y="129"/>
                    <a:pt x="67" y="117"/>
                  </a:cubicBezTo>
                  <a:cubicBezTo>
                    <a:pt x="69" y="111"/>
                    <a:pt x="69" y="105"/>
                    <a:pt x="71" y="99"/>
                  </a:cubicBezTo>
                  <a:cubicBezTo>
                    <a:pt x="75" y="87"/>
                    <a:pt x="86" y="79"/>
                    <a:pt x="98" y="79"/>
                  </a:cubicBezTo>
                  <a:cubicBezTo>
                    <a:pt x="109" y="79"/>
                    <a:pt x="120" y="85"/>
                    <a:pt x="129" y="93"/>
                  </a:cubicBezTo>
                  <a:cubicBezTo>
                    <a:pt x="134" y="97"/>
                    <a:pt x="140" y="101"/>
                    <a:pt x="145" y="100"/>
                  </a:cubicBezTo>
                  <a:cubicBezTo>
                    <a:pt x="149" y="99"/>
                    <a:pt x="152" y="96"/>
                    <a:pt x="154" y="92"/>
                  </a:cubicBezTo>
                  <a:cubicBezTo>
                    <a:pt x="168" y="71"/>
                    <a:pt x="168" y="41"/>
                    <a:pt x="183" y="22"/>
                  </a:cubicBezTo>
                  <a:cubicBezTo>
                    <a:pt x="199" y="1"/>
                    <a:pt x="229" y="0"/>
                    <a:pt x="250" y="16"/>
                  </a:cubicBezTo>
                  <a:cubicBezTo>
                    <a:pt x="271" y="31"/>
                    <a:pt x="283" y="59"/>
                    <a:pt x="288" y="87"/>
                  </a:cubicBezTo>
                  <a:cubicBezTo>
                    <a:pt x="290" y="96"/>
                    <a:pt x="291" y="106"/>
                    <a:pt x="297" y="112"/>
                  </a:cubicBezTo>
                  <a:cubicBezTo>
                    <a:pt x="306" y="121"/>
                    <a:pt x="319" y="118"/>
                    <a:pt x="330" y="117"/>
                  </a:cubicBezTo>
                  <a:cubicBezTo>
                    <a:pt x="343" y="116"/>
                    <a:pt x="358" y="118"/>
                    <a:pt x="368" y="127"/>
                  </a:cubicBezTo>
                  <a:cubicBezTo>
                    <a:pt x="377" y="134"/>
                    <a:pt x="383" y="147"/>
                    <a:pt x="382" y="159"/>
                  </a:cubicBezTo>
                  <a:lnTo>
                    <a:pt x="0" y="15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8" name="Freeform 9"/>
            <p:cNvSpPr/>
            <p:nvPr userDrawn="1"/>
          </p:nvSpPr>
          <p:spPr bwMode="auto">
            <a:xfrm>
              <a:off x="5405438" y="2392363"/>
              <a:ext cx="957263" cy="390525"/>
            </a:xfrm>
            <a:custGeom>
              <a:avLst/>
              <a:gdLst>
                <a:gd name="T0" fmla="*/ 4 w 386"/>
                <a:gd name="T1" fmla="*/ 156 h 158"/>
                <a:gd name="T2" fmla="*/ 14 w 386"/>
                <a:gd name="T3" fmla="*/ 130 h 158"/>
                <a:gd name="T4" fmla="*/ 37 w 386"/>
                <a:gd name="T5" fmla="*/ 127 h 158"/>
                <a:gd name="T6" fmla="*/ 60 w 386"/>
                <a:gd name="T7" fmla="*/ 125 h 158"/>
                <a:gd name="T8" fmla="*/ 75 w 386"/>
                <a:gd name="T9" fmla="*/ 97 h 158"/>
                <a:gd name="T10" fmla="*/ 100 w 386"/>
                <a:gd name="T11" fmla="*/ 78 h 158"/>
                <a:gd name="T12" fmla="*/ 137 w 386"/>
                <a:gd name="T13" fmla="*/ 97 h 158"/>
                <a:gd name="T14" fmla="*/ 148 w 386"/>
                <a:gd name="T15" fmla="*/ 99 h 158"/>
                <a:gd name="T16" fmla="*/ 172 w 386"/>
                <a:gd name="T17" fmla="*/ 54 h 158"/>
                <a:gd name="T18" fmla="*/ 220 w 386"/>
                <a:gd name="T19" fmla="*/ 4 h 158"/>
                <a:gd name="T20" fmla="*/ 288 w 386"/>
                <a:gd name="T21" fmla="*/ 84 h 158"/>
                <a:gd name="T22" fmla="*/ 298 w 386"/>
                <a:gd name="T23" fmla="*/ 111 h 158"/>
                <a:gd name="T24" fmla="*/ 316 w 386"/>
                <a:gd name="T25" fmla="*/ 117 h 158"/>
                <a:gd name="T26" fmla="*/ 340 w 386"/>
                <a:gd name="T27" fmla="*/ 116 h 158"/>
                <a:gd name="T28" fmla="*/ 382 w 386"/>
                <a:gd name="T29" fmla="*/ 153 h 158"/>
                <a:gd name="T30" fmla="*/ 384 w 386"/>
                <a:gd name="T31" fmla="*/ 156 h 158"/>
                <a:gd name="T32" fmla="*/ 2 w 386"/>
                <a:gd name="T33" fmla="*/ 154 h 158"/>
                <a:gd name="T34" fmla="*/ 4 w 386"/>
                <a:gd name="T35" fmla="*/ 156 h 158"/>
                <a:gd name="T36" fmla="*/ 2 w 386"/>
                <a:gd name="T37" fmla="*/ 158 h 158"/>
                <a:gd name="T38" fmla="*/ 386 w 386"/>
                <a:gd name="T39" fmla="*/ 157 h 158"/>
                <a:gd name="T40" fmla="*/ 372 w 386"/>
                <a:gd name="T41" fmla="*/ 122 h 158"/>
                <a:gd name="T42" fmla="*/ 332 w 386"/>
                <a:gd name="T43" fmla="*/ 112 h 158"/>
                <a:gd name="T44" fmla="*/ 308 w 386"/>
                <a:gd name="T45" fmla="*/ 112 h 158"/>
                <a:gd name="T46" fmla="*/ 295 w 386"/>
                <a:gd name="T47" fmla="*/ 97 h 158"/>
                <a:gd name="T48" fmla="*/ 253 w 386"/>
                <a:gd name="T49" fmla="*/ 11 h 158"/>
                <a:gd name="T50" fmla="*/ 183 w 386"/>
                <a:gd name="T51" fmla="*/ 18 h 158"/>
                <a:gd name="T52" fmla="*/ 155 w 386"/>
                <a:gd name="T53" fmla="*/ 88 h 158"/>
                <a:gd name="T54" fmla="*/ 145 w 386"/>
                <a:gd name="T55" fmla="*/ 95 h 158"/>
                <a:gd name="T56" fmla="*/ 133 w 386"/>
                <a:gd name="T57" fmla="*/ 88 h 158"/>
                <a:gd name="T58" fmla="*/ 100 w 386"/>
                <a:gd name="T59" fmla="*/ 74 h 158"/>
                <a:gd name="T60" fmla="*/ 67 w 386"/>
                <a:gd name="T61" fmla="*/ 113 h 158"/>
                <a:gd name="T62" fmla="*/ 45 w 386"/>
                <a:gd name="T63" fmla="*/ 123 h 158"/>
                <a:gd name="T64" fmla="*/ 28 w 386"/>
                <a:gd name="T65" fmla="*/ 122 h 158"/>
                <a:gd name="T66" fmla="*/ 1 w 386"/>
                <a:gd name="T67" fmla="*/ 147 h 158"/>
                <a:gd name="T68" fmla="*/ 1 w 386"/>
                <a:gd name="T69" fmla="*/ 158 h 158"/>
                <a:gd name="T70" fmla="*/ 2 w 386"/>
                <a:gd name="T71" fmla="*/ 15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6" h="158">
                  <a:moveTo>
                    <a:pt x="2" y="156"/>
                  </a:moveTo>
                  <a:cubicBezTo>
                    <a:pt x="4" y="156"/>
                    <a:pt x="4" y="156"/>
                    <a:pt x="4" y="156"/>
                  </a:cubicBezTo>
                  <a:cubicBezTo>
                    <a:pt x="4" y="154"/>
                    <a:pt x="5" y="151"/>
                    <a:pt x="5" y="148"/>
                  </a:cubicBezTo>
                  <a:cubicBezTo>
                    <a:pt x="6" y="138"/>
                    <a:pt x="10" y="133"/>
                    <a:pt x="14" y="130"/>
                  </a:cubicBezTo>
                  <a:cubicBezTo>
                    <a:pt x="18" y="127"/>
                    <a:pt x="23" y="126"/>
                    <a:pt x="28" y="126"/>
                  </a:cubicBezTo>
                  <a:cubicBezTo>
                    <a:pt x="31" y="126"/>
                    <a:pt x="34" y="126"/>
                    <a:pt x="37" y="127"/>
                  </a:cubicBezTo>
                  <a:cubicBezTo>
                    <a:pt x="39" y="127"/>
                    <a:pt x="42" y="127"/>
                    <a:pt x="45" y="127"/>
                  </a:cubicBezTo>
                  <a:cubicBezTo>
                    <a:pt x="50" y="127"/>
                    <a:pt x="55" y="126"/>
                    <a:pt x="60" y="125"/>
                  </a:cubicBezTo>
                  <a:cubicBezTo>
                    <a:pt x="64" y="123"/>
                    <a:pt x="68" y="120"/>
                    <a:pt x="71" y="114"/>
                  </a:cubicBezTo>
                  <a:cubicBezTo>
                    <a:pt x="73" y="109"/>
                    <a:pt x="73" y="102"/>
                    <a:pt x="75" y="97"/>
                  </a:cubicBezTo>
                  <a:cubicBezTo>
                    <a:pt x="78" y="85"/>
                    <a:pt x="89" y="78"/>
                    <a:pt x="100" y="78"/>
                  </a:cubicBezTo>
                  <a:cubicBezTo>
                    <a:pt x="100" y="78"/>
                    <a:pt x="100" y="78"/>
                    <a:pt x="100" y="78"/>
                  </a:cubicBezTo>
                  <a:cubicBezTo>
                    <a:pt x="111" y="78"/>
                    <a:pt x="121" y="84"/>
                    <a:pt x="130" y="91"/>
                  </a:cubicBezTo>
                  <a:cubicBezTo>
                    <a:pt x="132" y="93"/>
                    <a:pt x="135" y="95"/>
                    <a:pt x="137" y="97"/>
                  </a:cubicBezTo>
                  <a:cubicBezTo>
                    <a:pt x="139" y="98"/>
                    <a:pt x="142" y="99"/>
                    <a:pt x="145" y="99"/>
                  </a:cubicBezTo>
                  <a:cubicBezTo>
                    <a:pt x="146" y="99"/>
                    <a:pt x="147" y="99"/>
                    <a:pt x="148" y="99"/>
                  </a:cubicBezTo>
                  <a:cubicBezTo>
                    <a:pt x="153" y="98"/>
                    <a:pt x="156" y="94"/>
                    <a:pt x="158" y="90"/>
                  </a:cubicBezTo>
                  <a:cubicBezTo>
                    <a:pt x="165" y="80"/>
                    <a:pt x="168" y="67"/>
                    <a:pt x="172" y="54"/>
                  </a:cubicBezTo>
                  <a:cubicBezTo>
                    <a:pt x="175" y="42"/>
                    <a:pt x="179" y="30"/>
                    <a:pt x="186" y="20"/>
                  </a:cubicBezTo>
                  <a:cubicBezTo>
                    <a:pt x="195" y="9"/>
                    <a:pt x="207" y="4"/>
                    <a:pt x="220" y="4"/>
                  </a:cubicBezTo>
                  <a:cubicBezTo>
                    <a:pt x="231" y="4"/>
                    <a:pt x="242" y="7"/>
                    <a:pt x="251" y="14"/>
                  </a:cubicBezTo>
                  <a:cubicBezTo>
                    <a:pt x="271" y="29"/>
                    <a:pt x="283" y="57"/>
                    <a:pt x="288" y="84"/>
                  </a:cubicBezTo>
                  <a:cubicBezTo>
                    <a:pt x="289" y="89"/>
                    <a:pt x="290" y="94"/>
                    <a:pt x="291" y="98"/>
                  </a:cubicBezTo>
                  <a:cubicBezTo>
                    <a:pt x="293" y="103"/>
                    <a:pt x="295" y="107"/>
                    <a:pt x="298" y="111"/>
                  </a:cubicBezTo>
                  <a:cubicBezTo>
                    <a:pt x="300" y="113"/>
                    <a:pt x="303" y="115"/>
                    <a:pt x="307" y="116"/>
                  </a:cubicBezTo>
                  <a:cubicBezTo>
                    <a:pt x="310" y="117"/>
                    <a:pt x="313" y="117"/>
                    <a:pt x="316" y="117"/>
                  </a:cubicBezTo>
                  <a:cubicBezTo>
                    <a:pt x="322" y="117"/>
                    <a:pt x="327" y="117"/>
                    <a:pt x="332" y="116"/>
                  </a:cubicBezTo>
                  <a:cubicBezTo>
                    <a:pt x="335" y="116"/>
                    <a:pt x="337" y="116"/>
                    <a:pt x="340" y="116"/>
                  </a:cubicBezTo>
                  <a:cubicBezTo>
                    <a:pt x="350" y="116"/>
                    <a:pt x="361" y="118"/>
                    <a:pt x="369" y="125"/>
                  </a:cubicBezTo>
                  <a:cubicBezTo>
                    <a:pt x="376" y="132"/>
                    <a:pt x="382" y="143"/>
                    <a:pt x="382" y="153"/>
                  </a:cubicBezTo>
                  <a:cubicBezTo>
                    <a:pt x="382" y="154"/>
                    <a:pt x="382" y="155"/>
                    <a:pt x="382" y="156"/>
                  </a:cubicBezTo>
                  <a:cubicBezTo>
                    <a:pt x="384" y="156"/>
                    <a:pt x="384" y="156"/>
                    <a:pt x="384" y="156"/>
                  </a:cubicBezTo>
                  <a:cubicBezTo>
                    <a:pt x="384" y="154"/>
                    <a:pt x="384" y="154"/>
                    <a:pt x="384" y="154"/>
                  </a:cubicBezTo>
                  <a:cubicBezTo>
                    <a:pt x="2" y="154"/>
                    <a:pt x="2" y="154"/>
                    <a:pt x="2" y="154"/>
                  </a:cubicBezTo>
                  <a:cubicBezTo>
                    <a:pt x="2" y="156"/>
                    <a:pt x="2" y="156"/>
                    <a:pt x="2" y="156"/>
                  </a:cubicBezTo>
                  <a:cubicBezTo>
                    <a:pt x="4" y="156"/>
                    <a:pt x="4" y="156"/>
                    <a:pt x="4" y="156"/>
                  </a:cubicBezTo>
                  <a:cubicBezTo>
                    <a:pt x="2" y="156"/>
                    <a:pt x="2" y="156"/>
                    <a:pt x="2" y="156"/>
                  </a:cubicBezTo>
                  <a:cubicBezTo>
                    <a:pt x="2" y="158"/>
                    <a:pt x="2" y="158"/>
                    <a:pt x="2" y="158"/>
                  </a:cubicBezTo>
                  <a:cubicBezTo>
                    <a:pt x="384" y="158"/>
                    <a:pt x="384" y="158"/>
                    <a:pt x="384" y="158"/>
                  </a:cubicBezTo>
                  <a:cubicBezTo>
                    <a:pt x="385" y="158"/>
                    <a:pt x="385" y="158"/>
                    <a:pt x="386" y="157"/>
                  </a:cubicBezTo>
                  <a:cubicBezTo>
                    <a:pt x="386" y="155"/>
                    <a:pt x="386" y="154"/>
                    <a:pt x="386" y="153"/>
                  </a:cubicBezTo>
                  <a:cubicBezTo>
                    <a:pt x="386" y="141"/>
                    <a:pt x="380" y="129"/>
                    <a:pt x="372" y="122"/>
                  </a:cubicBezTo>
                  <a:cubicBezTo>
                    <a:pt x="362" y="114"/>
                    <a:pt x="351" y="112"/>
                    <a:pt x="340" y="112"/>
                  </a:cubicBezTo>
                  <a:cubicBezTo>
                    <a:pt x="337" y="112"/>
                    <a:pt x="335" y="112"/>
                    <a:pt x="332" y="112"/>
                  </a:cubicBezTo>
                  <a:cubicBezTo>
                    <a:pt x="327" y="113"/>
                    <a:pt x="321" y="113"/>
                    <a:pt x="316" y="113"/>
                  </a:cubicBezTo>
                  <a:cubicBezTo>
                    <a:pt x="313" y="113"/>
                    <a:pt x="310" y="113"/>
                    <a:pt x="308" y="112"/>
                  </a:cubicBezTo>
                  <a:cubicBezTo>
                    <a:pt x="305" y="111"/>
                    <a:pt x="303" y="110"/>
                    <a:pt x="301" y="108"/>
                  </a:cubicBezTo>
                  <a:cubicBezTo>
                    <a:pt x="298" y="105"/>
                    <a:pt x="296" y="101"/>
                    <a:pt x="295" y="97"/>
                  </a:cubicBezTo>
                  <a:cubicBezTo>
                    <a:pt x="294" y="93"/>
                    <a:pt x="293" y="88"/>
                    <a:pt x="292" y="84"/>
                  </a:cubicBezTo>
                  <a:cubicBezTo>
                    <a:pt x="287" y="55"/>
                    <a:pt x="275" y="27"/>
                    <a:pt x="253" y="11"/>
                  </a:cubicBezTo>
                  <a:cubicBezTo>
                    <a:pt x="244" y="4"/>
                    <a:pt x="232" y="0"/>
                    <a:pt x="220" y="0"/>
                  </a:cubicBezTo>
                  <a:cubicBezTo>
                    <a:pt x="206" y="0"/>
                    <a:pt x="192" y="6"/>
                    <a:pt x="183" y="18"/>
                  </a:cubicBezTo>
                  <a:cubicBezTo>
                    <a:pt x="175" y="28"/>
                    <a:pt x="172" y="41"/>
                    <a:pt x="168" y="53"/>
                  </a:cubicBezTo>
                  <a:cubicBezTo>
                    <a:pt x="165" y="66"/>
                    <a:pt x="161" y="78"/>
                    <a:pt x="155" y="88"/>
                  </a:cubicBezTo>
                  <a:cubicBezTo>
                    <a:pt x="153" y="91"/>
                    <a:pt x="150" y="94"/>
                    <a:pt x="147" y="95"/>
                  </a:cubicBezTo>
                  <a:cubicBezTo>
                    <a:pt x="146" y="95"/>
                    <a:pt x="146" y="95"/>
                    <a:pt x="145" y="95"/>
                  </a:cubicBezTo>
                  <a:cubicBezTo>
                    <a:pt x="143" y="95"/>
                    <a:pt x="141" y="94"/>
                    <a:pt x="139" y="93"/>
                  </a:cubicBezTo>
                  <a:cubicBezTo>
                    <a:pt x="137" y="92"/>
                    <a:pt x="135" y="90"/>
                    <a:pt x="133" y="88"/>
                  </a:cubicBezTo>
                  <a:cubicBezTo>
                    <a:pt x="123" y="81"/>
                    <a:pt x="112" y="74"/>
                    <a:pt x="100" y="74"/>
                  </a:cubicBezTo>
                  <a:cubicBezTo>
                    <a:pt x="100" y="74"/>
                    <a:pt x="100" y="74"/>
                    <a:pt x="100" y="74"/>
                  </a:cubicBezTo>
                  <a:cubicBezTo>
                    <a:pt x="88" y="74"/>
                    <a:pt x="75" y="82"/>
                    <a:pt x="71" y="96"/>
                  </a:cubicBezTo>
                  <a:cubicBezTo>
                    <a:pt x="69" y="102"/>
                    <a:pt x="69" y="108"/>
                    <a:pt x="67" y="113"/>
                  </a:cubicBezTo>
                  <a:cubicBezTo>
                    <a:pt x="65" y="117"/>
                    <a:pt x="62" y="119"/>
                    <a:pt x="58" y="121"/>
                  </a:cubicBezTo>
                  <a:cubicBezTo>
                    <a:pt x="55" y="122"/>
                    <a:pt x="50" y="123"/>
                    <a:pt x="45" y="123"/>
                  </a:cubicBezTo>
                  <a:cubicBezTo>
                    <a:pt x="42" y="123"/>
                    <a:pt x="40" y="123"/>
                    <a:pt x="37" y="123"/>
                  </a:cubicBezTo>
                  <a:cubicBezTo>
                    <a:pt x="34" y="122"/>
                    <a:pt x="31" y="122"/>
                    <a:pt x="28" y="122"/>
                  </a:cubicBezTo>
                  <a:cubicBezTo>
                    <a:pt x="23" y="122"/>
                    <a:pt x="16" y="123"/>
                    <a:pt x="11" y="127"/>
                  </a:cubicBezTo>
                  <a:cubicBezTo>
                    <a:pt x="6" y="130"/>
                    <a:pt x="2" y="137"/>
                    <a:pt x="1" y="147"/>
                  </a:cubicBezTo>
                  <a:cubicBezTo>
                    <a:pt x="1" y="150"/>
                    <a:pt x="0" y="153"/>
                    <a:pt x="0" y="156"/>
                  </a:cubicBezTo>
                  <a:cubicBezTo>
                    <a:pt x="0" y="157"/>
                    <a:pt x="0" y="157"/>
                    <a:pt x="1" y="158"/>
                  </a:cubicBezTo>
                  <a:cubicBezTo>
                    <a:pt x="1" y="158"/>
                    <a:pt x="2" y="158"/>
                    <a:pt x="2" y="158"/>
                  </a:cubicBezTo>
                  <a:lnTo>
                    <a:pt x="2" y="156"/>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9" name="Freeform 10"/>
            <p:cNvSpPr/>
            <p:nvPr userDrawn="1"/>
          </p:nvSpPr>
          <p:spPr bwMode="auto">
            <a:xfrm>
              <a:off x="1219200" y="2105025"/>
              <a:ext cx="862013" cy="354013"/>
            </a:xfrm>
            <a:custGeom>
              <a:avLst/>
              <a:gdLst>
                <a:gd name="T0" fmla="*/ 20 w 348"/>
                <a:gd name="T1" fmla="*/ 143 h 143"/>
                <a:gd name="T2" fmla="*/ 348 w 348"/>
                <a:gd name="T3" fmla="*/ 143 h 143"/>
                <a:gd name="T4" fmla="*/ 321 w 348"/>
                <a:gd name="T5" fmla="*/ 112 h 143"/>
                <a:gd name="T6" fmla="*/ 288 w 348"/>
                <a:gd name="T7" fmla="*/ 108 h 143"/>
                <a:gd name="T8" fmla="*/ 259 w 348"/>
                <a:gd name="T9" fmla="*/ 69 h 143"/>
                <a:gd name="T10" fmla="*/ 210 w 348"/>
                <a:gd name="T11" fmla="*/ 79 h 143"/>
                <a:gd name="T12" fmla="*/ 187 w 348"/>
                <a:gd name="T13" fmla="*/ 30 h 143"/>
                <a:gd name="T14" fmla="*/ 128 w 348"/>
                <a:gd name="T15" fmla="*/ 9 h 143"/>
                <a:gd name="T16" fmla="*/ 86 w 348"/>
                <a:gd name="T17" fmla="*/ 66 h 143"/>
                <a:gd name="T18" fmla="*/ 20 w 348"/>
                <a:gd name="T19" fmla="*/ 78 h 143"/>
                <a:gd name="T20" fmla="*/ 20 w 348"/>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8" h="143">
                  <a:moveTo>
                    <a:pt x="20" y="143"/>
                  </a:moveTo>
                  <a:cubicBezTo>
                    <a:pt x="348" y="143"/>
                    <a:pt x="348" y="143"/>
                    <a:pt x="348" y="143"/>
                  </a:cubicBezTo>
                  <a:cubicBezTo>
                    <a:pt x="348" y="143"/>
                    <a:pt x="342" y="122"/>
                    <a:pt x="321" y="112"/>
                  </a:cubicBezTo>
                  <a:cubicBezTo>
                    <a:pt x="302" y="104"/>
                    <a:pt x="296" y="116"/>
                    <a:pt x="288" y="108"/>
                  </a:cubicBezTo>
                  <a:cubicBezTo>
                    <a:pt x="285" y="104"/>
                    <a:pt x="288" y="69"/>
                    <a:pt x="259" y="69"/>
                  </a:cubicBezTo>
                  <a:cubicBezTo>
                    <a:pt x="230" y="69"/>
                    <a:pt x="224" y="86"/>
                    <a:pt x="210" y="79"/>
                  </a:cubicBezTo>
                  <a:cubicBezTo>
                    <a:pt x="199" y="73"/>
                    <a:pt x="199" y="50"/>
                    <a:pt x="187" y="30"/>
                  </a:cubicBezTo>
                  <a:cubicBezTo>
                    <a:pt x="176" y="11"/>
                    <a:pt x="148" y="0"/>
                    <a:pt x="128" y="9"/>
                  </a:cubicBezTo>
                  <a:cubicBezTo>
                    <a:pt x="93" y="28"/>
                    <a:pt x="98" y="57"/>
                    <a:pt x="86" y="66"/>
                  </a:cubicBezTo>
                  <a:cubicBezTo>
                    <a:pt x="75" y="76"/>
                    <a:pt x="49" y="42"/>
                    <a:pt x="20" y="78"/>
                  </a:cubicBezTo>
                  <a:cubicBezTo>
                    <a:pt x="0" y="103"/>
                    <a:pt x="20" y="143"/>
                    <a:pt x="20" y="1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0" name="Freeform 11"/>
            <p:cNvSpPr/>
            <p:nvPr userDrawn="1"/>
          </p:nvSpPr>
          <p:spPr bwMode="auto">
            <a:xfrm>
              <a:off x="1241425" y="2114550"/>
              <a:ext cx="846138" cy="349250"/>
            </a:xfrm>
            <a:custGeom>
              <a:avLst/>
              <a:gdLst>
                <a:gd name="T0" fmla="*/ 11 w 341"/>
                <a:gd name="T1" fmla="*/ 141 h 141"/>
                <a:gd name="T2" fmla="*/ 340 w 341"/>
                <a:gd name="T3" fmla="*/ 141 h 141"/>
                <a:gd name="T4" fmla="*/ 335 w 341"/>
                <a:gd name="T5" fmla="*/ 126 h 141"/>
                <a:gd name="T6" fmla="*/ 299 w 341"/>
                <a:gd name="T7" fmla="*/ 103 h 141"/>
                <a:gd name="T8" fmla="*/ 283 w 341"/>
                <a:gd name="T9" fmla="*/ 104 h 141"/>
                <a:gd name="T10" fmla="*/ 281 w 341"/>
                <a:gd name="T11" fmla="*/ 103 h 141"/>
                <a:gd name="T12" fmla="*/ 281 w 341"/>
                <a:gd name="T13" fmla="*/ 103 h 141"/>
                <a:gd name="T14" fmla="*/ 281 w 341"/>
                <a:gd name="T15" fmla="*/ 103 h 141"/>
                <a:gd name="T16" fmla="*/ 278 w 341"/>
                <a:gd name="T17" fmla="*/ 91 h 141"/>
                <a:gd name="T18" fmla="*/ 250 w 341"/>
                <a:gd name="T19" fmla="*/ 63 h 141"/>
                <a:gd name="T20" fmla="*/ 214 w 341"/>
                <a:gd name="T21" fmla="*/ 73 h 141"/>
                <a:gd name="T22" fmla="*/ 202 w 341"/>
                <a:gd name="T23" fmla="*/ 73 h 141"/>
                <a:gd name="T24" fmla="*/ 190 w 341"/>
                <a:gd name="T25" fmla="*/ 48 h 141"/>
                <a:gd name="T26" fmla="*/ 135 w 341"/>
                <a:gd name="T27" fmla="*/ 0 h 141"/>
                <a:gd name="T28" fmla="*/ 88 w 341"/>
                <a:gd name="T29" fmla="*/ 36 h 141"/>
                <a:gd name="T30" fmla="*/ 76 w 341"/>
                <a:gd name="T31" fmla="*/ 61 h 141"/>
                <a:gd name="T32" fmla="*/ 59 w 341"/>
                <a:gd name="T33" fmla="*/ 59 h 141"/>
                <a:gd name="T34" fmla="*/ 26 w 341"/>
                <a:gd name="T35" fmla="*/ 59 h 141"/>
                <a:gd name="T36" fmla="*/ 0 w 341"/>
                <a:gd name="T37" fmla="*/ 102 h 141"/>
                <a:gd name="T38" fmla="*/ 11 w 341"/>
                <a:gd name="T39" fmla="*/ 141 h 141"/>
                <a:gd name="T40" fmla="*/ 13 w 341"/>
                <a:gd name="T41" fmla="*/ 138 h 141"/>
                <a:gd name="T42" fmla="*/ 4 w 341"/>
                <a:gd name="T43" fmla="*/ 102 h 141"/>
                <a:gd name="T44" fmla="*/ 28 w 341"/>
                <a:gd name="T45" fmla="*/ 63 h 141"/>
                <a:gd name="T46" fmla="*/ 58 w 341"/>
                <a:gd name="T47" fmla="*/ 63 h 141"/>
                <a:gd name="T48" fmla="*/ 79 w 341"/>
                <a:gd name="T49" fmla="*/ 64 h 141"/>
                <a:gd name="T50" fmla="*/ 95 w 341"/>
                <a:gd name="T51" fmla="*/ 30 h 141"/>
                <a:gd name="T52" fmla="*/ 135 w 341"/>
                <a:gd name="T53" fmla="*/ 4 h 141"/>
                <a:gd name="T54" fmla="*/ 188 w 341"/>
                <a:gd name="T55" fmla="*/ 57 h 141"/>
                <a:gd name="T56" fmla="*/ 201 w 341"/>
                <a:gd name="T57" fmla="*/ 77 h 141"/>
                <a:gd name="T58" fmla="*/ 216 w 341"/>
                <a:gd name="T59" fmla="*/ 77 h 141"/>
                <a:gd name="T60" fmla="*/ 265 w 341"/>
                <a:gd name="T61" fmla="*/ 72 h 141"/>
                <a:gd name="T62" fmla="*/ 276 w 341"/>
                <a:gd name="T63" fmla="*/ 99 h 141"/>
                <a:gd name="T64" fmla="*/ 278 w 341"/>
                <a:gd name="T65" fmla="*/ 105 h 141"/>
                <a:gd name="T66" fmla="*/ 286 w 341"/>
                <a:gd name="T67" fmla="*/ 109 h 141"/>
                <a:gd name="T68" fmla="*/ 311 w 341"/>
                <a:gd name="T69" fmla="*/ 110 h 141"/>
                <a:gd name="T70" fmla="*/ 336 w 341"/>
                <a:gd name="T71" fmla="*/ 137 h 141"/>
                <a:gd name="T72" fmla="*/ 337 w 341"/>
                <a:gd name="T73" fmla="*/ 140 h 141"/>
                <a:gd name="T74" fmla="*/ 339 w 341"/>
                <a:gd name="T75" fmla="*/ 139 h 141"/>
                <a:gd name="T76" fmla="*/ 11 w 341"/>
                <a:gd name="T77" fmla="*/ 137 h 141"/>
                <a:gd name="T78" fmla="*/ 13 w 341"/>
                <a:gd name="T79" fmla="*/ 13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141">
                  <a:moveTo>
                    <a:pt x="11" y="139"/>
                  </a:moveTo>
                  <a:cubicBezTo>
                    <a:pt x="11" y="141"/>
                    <a:pt x="11" y="141"/>
                    <a:pt x="11" y="141"/>
                  </a:cubicBezTo>
                  <a:cubicBezTo>
                    <a:pt x="339" y="141"/>
                    <a:pt x="339" y="141"/>
                    <a:pt x="339" y="141"/>
                  </a:cubicBezTo>
                  <a:cubicBezTo>
                    <a:pt x="339" y="141"/>
                    <a:pt x="340" y="141"/>
                    <a:pt x="340" y="141"/>
                  </a:cubicBezTo>
                  <a:cubicBezTo>
                    <a:pt x="341" y="140"/>
                    <a:pt x="341" y="139"/>
                    <a:pt x="341" y="139"/>
                  </a:cubicBezTo>
                  <a:cubicBezTo>
                    <a:pt x="341" y="139"/>
                    <a:pt x="339" y="133"/>
                    <a:pt x="335" y="126"/>
                  </a:cubicBezTo>
                  <a:cubicBezTo>
                    <a:pt x="330" y="119"/>
                    <a:pt x="323" y="111"/>
                    <a:pt x="312" y="107"/>
                  </a:cubicBezTo>
                  <a:cubicBezTo>
                    <a:pt x="307" y="104"/>
                    <a:pt x="302" y="103"/>
                    <a:pt x="299" y="103"/>
                  </a:cubicBezTo>
                  <a:cubicBezTo>
                    <a:pt x="293" y="103"/>
                    <a:pt x="289" y="105"/>
                    <a:pt x="286" y="105"/>
                  </a:cubicBezTo>
                  <a:cubicBezTo>
                    <a:pt x="285" y="105"/>
                    <a:pt x="284" y="105"/>
                    <a:pt x="283" y="104"/>
                  </a:cubicBezTo>
                  <a:cubicBezTo>
                    <a:pt x="283" y="104"/>
                    <a:pt x="282" y="104"/>
                    <a:pt x="281" y="103"/>
                  </a:cubicBezTo>
                  <a:cubicBezTo>
                    <a:pt x="281" y="103"/>
                    <a:pt x="281" y="103"/>
                    <a:pt x="281" y="103"/>
                  </a:cubicBezTo>
                  <a:cubicBezTo>
                    <a:pt x="281" y="103"/>
                    <a:pt x="281" y="103"/>
                    <a:pt x="281" y="103"/>
                  </a:cubicBezTo>
                  <a:cubicBezTo>
                    <a:pt x="281" y="103"/>
                    <a:pt x="281" y="103"/>
                    <a:pt x="281" y="103"/>
                  </a:cubicBezTo>
                  <a:cubicBezTo>
                    <a:pt x="281" y="103"/>
                    <a:pt x="281" y="103"/>
                    <a:pt x="281" y="103"/>
                  </a:cubicBezTo>
                  <a:cubicBezTo>
                    <a:pt x="281" y="103"/>
                    <a:pt x="281" y="103"/>
                    <a:pt x="281" y="103"/>
                  </a:cubicBezTo>
                  <a:cubicBezTo>
                    <a:pt x="281" y="102"/>
                    <a:pt x="280" y="101"/>
                    <a:pt x="280" y="100"/>
                  </a:cubicBezTo>
                  <a:cubicBezTo>
                    <a:pt x="279" y="98"/>
                    <a:pt x="279" y="94"/>
                    <a:pt x="278" y="91"/>
                  </a:cubicBezTo>
                  <a:cubicBezTo>
                    <a:pt x="277" y="85"/>
                    <a:pt x="275" y="78"/>
                    <a:pt x="271" y="73"/>
                  </a:cubicBezTo>
                  <a:cubicBezTo>
                    <a:pt x="266" y="67"/>
                    <a:pt x="260" y="63"/>
                    <a:pt x="250" y="63"/>
                  </a:cubicBezTo>
                  <a:cubicBezTo>
                    <a:pt x="237" y="63"/>
                    <a:pt x="229" y="66"/>
                    <a:pt x="222" y="69"/>
                  </a:cubicBezTo>
                  <a:cubicBezTo>
                    <a:pt x="219" y="71"/>
                    <a:pt x="217" y="72"/>
                    <a:pt x="214" y="73"/>
                  </a:cubicBezTo>
                  <a:cubicBezTo>
                    <a:pt x="212" y="74"/>
                    <a:pt x="210" y="75"/>
                    <a:pt x="208" y="75"/>
                  </a:cubicBezTo>
                  <a:cubicBezTo>
                    <a:pt x="206" y="75"/>
                    <a:pt x="204" y="74"/>
                    <a:pt x="202" y="73"/>
                  </a:cubicBezTo>
                  <a:cubicBezTo>
                    <a:pt x="200" y="72"/>
                    <a:pt x="198" y="70"/>
                    <a:pt x="196" y="67"/>
                  </a:cubicBezTo>
                  <a:cubicBezTo>
                    <a:pt x="194" y="62"/>
                    <a:pt x="192" y="56"/>
                    <a:pt x="190" y="48"/>
                  </a:cubicBezTo>
                  <a:cubicBezTo>
                    <a:pt x="187" y="41"/>
                    <a:pt x="185" y="33"/>
                    <a:pt x="180" y="25"/>
                  </a:cubicBezTo>
                  <a:cubicBezTo>
                    <a:pt x="171" y="10"/>
                    <a:pt x="152" y="0"/>
                    <a:pt x="135" y="0"/>
                  </a:cubicBezTo>
                  <a:cubicBezTo>
                    <a:pt x="129" y="0"/>
                    <a:pt x="124" y="1"/>
                    <a:pt x="119" y="4"/>
                  </a:cubicBezTo>
                  <a:cubicBezTo>
                    <a:pt x="101" y="13"/>
                    <a:pt x="93" y="25"/>
                    <a:pt x="88" y="36"/>
                  </a:cubicBezTo>
                  <a:cubicBezTo>
                    <a:pt x="85" y="42"/>
                    <a:pt x="84" y="47"/>
                    <a:pt x="82" y="51"/>
                  </a:cubicBezTo>
                  <a:cubicBezTo>
                    <a:pt x="80" y="55"/>
                    <a:pt x="79" y="59"/>
                    <a:pt x="76" y="61"/>
                  </a:cubicBezTo>
                  <a:cubicBezTo>
                    <a:pt x="75" y="62"/>
                    <a:pt x="74" y="62"/>
                    <a:pt x="72" y="62"/>
                  </a:cubicBezTo>
                  <a:cubicBezTo>
                    <a:pt x="69" y="62"/>
                    <a:pt x="65" y="60"/>
                    <a:pt x="59" y="59"/>
                  </a:cubicBezTo>
                  <a:cubicBezTo>
                    <a:pt x="54" y="57"/>
                    <a:pt x="48" y="55"/>
                    <a:pt x="42" y="55"/>
                  </a:cubicBezTo>
                  <a:cubicBezTo>
                    <a:pt x="37" y="55"/>
                    <a:pt x="31" y="56"/>
                    <a:pt x="26" y="59"/>
                  </a:cubicBezTo>
                  <a:cubicBezTo>
                    <a:pt x="21" y="62"/>
                    <a:pt x="15" y="66"/>
                    <a:pt x="10" y="73"/>
                  </a:cubicBezTo>
                  <a:cubicBezTo>
                    <a:pt x="2" y="82"/>
                    <a:pt x="0" y="92"/>
                    <a:pt x="0" y="102"/>
                  </a:cubicBezTo>
                  <a:cubicBezTo>
                    <a:pt x="0" y="122"/>
                    <a:pt x="9" y="140"/>
                    <a:pt x="9" y="140"/>
                  </a:cubicBezTo>
                  <a:cubicBezTo>
                    <a:pt x="10" y="141"/>
                    <a:pt x="10" y="141"/>
                    <a:pt x="11" y="141"/>
                  </a:cubicBezTo>
                  <a:cubicBezTo>
                    <a:pt x="11" y="139"/>
                    <a:pt x="11" y="139"/>
                    <a:pt x="11" y="139"/>
                  </a:cubicBezTo>
                  <a:cubicBezTo>
                    <a:pt x="13" y="138"/>
                    <a:pt x="13" y="138"/>
                    <a:pt x="13" y="138"/>
                  </a:cubicBezTo>
                  <a:cubicBezTo>
                    <a:pt x="13" y="138"/>
                    <a:pt x="13" y="138"/>
                    <a:pt x="13" y="138"/>
                  </a:cubicBezTo>
                  <a:cubicBezTo>
                    <a:pt x="11" y="134"/>
                    <a:pt x="4" y="119"/>
                    <a:pt x="4" y="102"/>
                  </a:cubicBezTo>
                  <a:cubicBezTo>
                    <a:pt x="4" y="93"/>
                    <a:pt x="6" y="83"/>
                    <a:pt x="13" y="76"/>
                  </a:cubicBezTo>
                  <a:cubicBezTo>
                    <a:pt x="18" y="69"/>
                    <a:pt x="23" y="65"/>
                    <a:pt x="28" y="63"/>
                  </a:cubicBezTo>
                  <a:cubicBezTo>
                    <a:pt x="33" y="60"/>
                    <a:pt x="37" y="59"/>
                    <a:pt x="42" y="59"/>
                  </a:cubicBezTo>
                  <a:cubicBezTo>
                    <a:pt x="47" y="59"/>
                    <a:pt x="53" y="61"/>
                    <a:pt x="58" y="63"/>
                  </a:cubicBezTo>
                  <a:cubicBezTo>
                    <a:pt x="63" y="64"/>
                    <a:pt x="68" y="66"/>
                    <a:pt x="72" y="66"/>
                  </a:cubicBezTo>
                  <a:cubicBezTo>
                    <a:pt x="74" y="66"/>
                    <a:pt x="77" y="65"/>
                    <a:pt x="79" y="64"/>
                  </a:cubicBezTo>
                  <a:cubicBezTo>
                    <a:pt x="82" y="61"/>
                    <a:pt x="84" y="57"/>
                    <a:pt x="86" y="53"/>
                  </a:cubicBezTo>
                  <a:cubicBezTo>
                    <a:pt x="88" y="46"/>
                    <a:pt x="91" y="38"/>
                    <a:pt x="95" y="30"/>
                  </a:cubicBezTo>
                  <a:cubicBezTo>
                    <a:pt x="100" y="22"/>
                    <a:pt x="108" y="14"/>
                    <a:pt x="120" y="7"/>
                  </a:cubicBezTo>
                  <a:cubicBezTo>
                    <a:pt x="125" y="5"/>
                    <a:pt x="130" y="4"/>
                    <a:pt x="135" y="4"/>
                  </a:cubicBezTo>
                  <a:cubicBezTo>
                    <a:pt x="151" y="4"/>
                    <a:pt x="168" y="14"/>
                    <a:pt x="177" y="27"/>
                  </a:cubicBezTo>
                  <a:cubicBezTo>
                    <a:pt x="182" y="37"/>
                    <a:pt x="185" y="47"/>
                    <a:pt x="188" y="57"/>
                  </a:cubicBezTo>
                  <a:cubicBezTo>
                    <a:pt x="189" y="61"/>
                    <a:pt x="191" y="65"/>
                    <a:pt x="193" y="69"/>
                  </a:cubicBezTo>
                  <a:cubicBezTo>
                    <a:pt x="195" y="72"/>
                    <a:pt x="197" y="75"/>
                    <a:pt x="201" y="77"/>
                  </a:cubicBezTo>
                  <a:cubicBezTo>
                    <a:pt x="203" y="78"/>
                    <a:pt x="205" y="79"/>
                    <a:pt x="208" y="79"/>
                  </a:cubicBezTo>
                  <a:cubicBezTo>
                    <a:pt x="210" y="79"/>
                    <a:pt x="213" y="78"/>
                    <a:pt x="216" y="77"/>
                  </a:cubicBezTo>
                  <a:cubicBezTo>
                    <a:pt x="224" y="73"/>
                    <a:pt x="232" y="67"/>
                    <a:pt x="250" y="67"/>
                  </a:cubicBezTo>
                  <a:cubicBezTo>
                    <a:pt x="257" y="67"/>
                    <a:pt x="261" y="69"/>
                    <a:pt x="265" y="72"/>
                  </a:cubicBezTo>
                  <a:cubicBezTo>
                    <a:pt x="270" y="77"/>
                    <a:pt x="273" y="84"/>
                    <a:pt x="274" y="90"/>
                  </a:cubicBezTo>
                  <a:cubicBezTo>
                    <a:pt x="275" y="94"/>
                    <a:pt x="275" y="97"/>
                    <a:pt x="276" y="99"/>
                  </a:cubicBezTo>
                  <a:cubicBezTo>
                    <a:pt x="276" y="100"/>
                    <a:pt x="276" y="102"/>
                    <a:pt x="276" y="103"/>
                  </a:cubicBezTo>
                  <a:cubicBezTo>
                    <a:pt x="277" y="104"/>
                    <a:pt x="277" y="104"/>
                    <a:pt x="278" y="105"/>
                  </a:cubicBezTo>
                  <a:cubicBezTo>
                    <a:pt x="279" y="107"/>
                    <a:pt x="280" y="108"/>
                    <a:pt x="282" y="108"/>
                  </a:cubicBezTo>
                  <a:cubicBezTo>
                    <a:pt x="283" y="109"/>
                    <a:pt x="284" y="109"/>
                    <a:pt x="286" y="109"/>
                  </a:cubicBezTo>
                  <a:cubicBezTo>
                    <a:pt x="290" y="109"/>
                    <a:pt x="294" y="107"/>
                    <a:pt x="299" y="107"/>
                  </a:cubicBezTo>
                  <a:cubicBezTo>
                    <a:pt x="302" y="107"/>
                    <a:pt x="306" y="108"/>
                    <a:pt x="311" y="110"/>
                  </a:cubicBezTo>
                  <a:cubicBezTo>
                    <a:pt x="321" y="115"/>
                    <a:pt x="327" y="122"/>
                    <a:pt x="331" y="128"/>
                  </a:cubicBezTo>
                  <a:cubicBezTo>
                    <a:pt x="333" y="132"/>
                    <a:pt x="335" y="134"/>
                    <a:pt x="336" y="137"/>
                  </a:cubicBezTo>
                  <a:cubicBezTo>
                    <a:pt x="336" y="138"/>
                    <a:pt x="336" y="138"/>
                    <a:pt x="336" y="139"/>
                  </a:cubicBezTo>
                  <a:cubicBezTo>
                    <a:pt x="337" y="140"/>
                    <a:pt x="337" y="140"/>
                    <a:pt x="337" y="140"/>
                  </a:cubicBezTo>
                  <a:cubicBezTo>
                    <a:pt x="337" y="140"/>
                    <a:pt x="337" y="140"/>
                    <a:pt x="337" y="140"/>
                  </a:cubicBezTo>
                  <a:cubicBezTo>
                    <a:pt x="339" y="139"/>
                    <a:pt x="339" y="139"/>
                    <a:pt x="339" y="139"/>
                  </a:cubicBezTo>
                  <a:cubicBezTo>
                    <a:pt x="339" y="137"/>
                    <a:pt x="339" y="137"/>
                    <a:pt x="339" y="137"/>
                  </a:cubicBezTo>
                  <a:cubicBezTo>
                    <a:pt x="11" y="137"/>
                    <a:pt x="11" y="137"/>
                    <a:pt x="11" y="137"/>
                  </a:cubicBezTo>
                  <a:cubicBezTo>
                    <a:pt x="11" y="139"/>
                    <a:pt x="11" y="139"/>
                    <a:pt x="11" y="139"/>
                  </a:cubicBezTo>
                  <a:cubicBezTo>
                    <a:pt x="13" y="138"/>
                    <a:pt x="13" y="138"/>
                    <a:pt x="13" y="138"/>
                  </a:cubicBezTo>
                  <a:lnTo>
                    <a:pt x="11" y="139"/>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1" name="Freeform 12"/>
            <p:cNvSpPr>
              <a:spLocks noEditPoints="1"/>
            </p:cNvSpPr>
            <p:nvPr userDrawn="1"/>
          </p:nvSpPr>
          <p:spPr bwMode="auto">
            <a:xfrm>
              <a:off x="730250" y="2317750"/>
              <a:ext cx="6019800" cy="2919413"/>
            </a:xfrm>
            <a:custGeom>
              <a:avLst/>
              <a:gdLst>
                <a:gd name="T0" fmla="*/ 1394 w 2427"/>
                <a:gd name="T1" fmla="*/ 0 h 1178"/>
                <a:gd name="T2" fmla="*/ 1242 w 2427"/>
                <a:gd name="T3" fmla="*/ 4 h 1178"/>
                <a:gd name="T4" fmla="*/ 1122 w 2427"/>
                <a:gd name="T5" fmla="*/ 0 h 1178"/>
                <a:gd name="T6" fmla="*/ 990 w 2427"/>
                <a:gd name="T7" fmla="*/ 4 h 1178"/>
                <a:gd name="T8" fmla="*/ 886 w 2427"/>
                <a:gd name="T9" fmla="*/ 44 h 1178"/>
                <a:gd name="T10" fmla="*/ 832 w 2427"/>
                <a:gd name="T11" fmla="*/ 158 h 1178"/>
                <a:gd name="T12" fmla="*/ 895 w 2427"/>
                <a:gd name="T13" fmla="*/ 280 h 1178"/>
                <a:gd name="T14" fmla="*/ 1007 w 2427"/>
                <a:gd name="T15" fmla="*/ 316 h 1178"/>
                <a:gd name="T16" fmla="*/ 1135 w 2427"/>
                <a:gd name="T17" fmla="*/ 312 h 1178"/>
                <a:gd name="T18" fmla="*/ 1267 w 2427"/>
                <a:gd name="T19" fmla="*/ 312 h 1178"/>
                <a:gd name="T20" fmla="*/ 1395 w 2427"/>
                <a:gd name="T21" fmla="*/ 316 h 1178"/>
                <a:gd name="T22" fmla="*/ 1547 w 2427"/>
                <a:gd name="T23" fmla="*/ 312 h 1178"/>
                <a:gd name="T24" fmla="*/ 1667 w 2427"/>
                <a:gd name="T25" fmla="*/ 316 h 1178"/>
                <a:gd name="T26" fmla="*/ 1795 w 2427"/>
                <a:gd name="T27" fmla="*/ 312 h 1178"/>
                <a:gd name="T28" fmla="*/ 1927 w 2427"/>
                <a:gd name="T29" fmla="*/ 312 h 1178"/>
                <a:gd name="T30" fmla="*/ 2055 w 2427"/>
                <a:gd name="T31" fmla="*/ 316 h 1178"/>
                <a:gd name="T32" fmla="*/ 2207 w 2427"/>
                <a:gd name="T33" fmla="*/ 312 h 1178"/>
                <a:gd name="T34" fmla="*/ 2327 w 2427"/>
                <a:gd name="T35" fmla="*/ 316 h 1178"/>
                <a:gd name="T36" fmla="*/ 2413 w 2427"/>
                <a:gd name="T37" fmla="*/ 393 h 1178"/>
                <a:gd name="T38" fmla="*/ 2410 w 2427"/>
                <a:gd name="T39" fmla="*/ 497 h 1178"/>
                <a:gd name="T40" fmla="*/ 2309 w 2427"/>
                <a:gd name="T41" fmla="*/ 572 h 1178"/>
                <a:gd name="T42" fmla="*/ 2189 w 2427"/>
                <a:gd name="T43" fmla="*/ 572 h 1178"/>
                <a:gd name="T44" fmla="*/ 2061 w 2427"/>
                <a:gd name="T45" fmla="*/ 568 h 1178"/>
                <a:gd name="T46" fmla="*/ 1909 w 2427"/>
                <a:gd name="T47" fmla="*/ 572 h 1178"/>
                <a:gd name="T48" fmla="*/ 1789 w 2427"/>
                <a:gd name="T49" fmla="*/ 568 h 1178"/>
                <a:gd name="T50" fmla="*/ 1661 w 2427"/>
                <a:gd name="T51" fmla="*/ 572 h 1178"/>
                <a:gd name="T52" fmla="*/ 1529 w 2427"/>
                <a:gd name="T53" fmla="*/ 572 h 1178"/>
                <a:gd name="T54" fmla="*/ 1401 w 2427"/>
                <a:gd name="T55" fmla="*/ 568 h 1178"/>
                <a:gd name="T56" fmla="*/ 1249 w 2427"/>
                <a:gd name="T57" fmla="*/ 572 h 1178"/>
                <a:gd name="T58" fmla="*/ 1129 w 2427"/>
                <a:gd name="T59" fmla="*/ 568 h 1178"/>
                <a:gd name="T60" fmla="*/ 1001 w 2427"/>
                <a:gd name="T61" fmla="*/ 572 h 1178"/>
                <a:gd name="T62" fmla="*/ 869 w 2427"/>
                <a:gd name="T63" fmla="*/ 572 h 1178"/>
                <a:gd name="T64" fmla="*/ 741 w 2427"/>
                <a:gd name="T65" fmla="*/ 568 h 1178"/>
                <a:gd name="T66" fmla="*/ 589 w 2427"/>
                <a:gd name="T67" fmla="*/ 572 h 1178"/>
                <a:gd name="T68" fmla="*/ 469 w 2427"/>
                <a:gd name="T69" fmla="*/ 568 h 1178"/>
                <a:gd name="T70" fmla="*/ 341 w 2427"/>
                <a:gd name="T71" fmla="*/ 572 h 1178"/>
                <a:gd name="T72" fmla="*/ 209 w 2427"/>
                <a:gd name="T73" fmla="*/ 572 h 1178"/>
                <a:gd name="T74" fmla="*/ 85 w 2427"/>
                <a:gd name="T75" fmla="*/ 597 h 1178"/>
                <a:gd name="T76" fmla="*/ 7 w 2427"/>
                <a:gd name="T77" fmla="*/ 701 h 1178"/>
                <a:gd name="T78" fmla="*/ 14 w 2427"/>
                <a:gd name="T79" fmla="*/ 820 h 1178"/>
                <a:gd name="T80" fmla="*/ 102 w 2427"/>
                <a:gd name="T81" fmla="*/ 910 h 1178"/>
                <a:gd name="T82" fmla="*/ 217 w 2427"/>
                <a:gd name="T83" fmla="*/ 930 h 1178"/>
                <a:gd name="T84" fmla="*/ 349 w 2427"/>
                <a:gd name="T85" fmla="*/ 930 h 1178"/>
                <a:gd name="T86" fmla="*/ 477 w 2427"/>
                <a:gd name="T87" fmla="*/ 934 h 1178"/>
                <a:gd name="T88" fmla="*/ 629 w 2427"/>
                <a:gd name="T89" fmla="*/ 930 h 1178"/>
                <a:gd name="T90" fmla="*/ 749 w 2427"/>
                <a:gd name="T91" fmla="*/ 934 h 1178"/>
                <a:gd name="T92" fmla="*/ 877 w 2427"/>
                <a:gd name="T93" fmla="*/ 930 h 1178"/>
                <a:gd name="T94" fmla="*/ 1009 w 2427"/>
                <a:gd name="T95" fmla="*/ 930 h 1178"/>
                <a:gd name="T96" fmla="*/ 1137 w 2427"/>
                <a:gd name="T97" fmla="*/ 934 h 1178"/>
                <a:gd name="T98" fmla="*/ 1289 w 2427"/>
                <a:gd name="T99" fmla="*/ 930 h 1178"/>
                <a:gd name="T100" fmla="*/ 1409 w 2427"/>
                <a:gd name="T101" fmla="*/ 934 h 1178"/>
                <a:gd name="T102" fmla="*/ 1537 w 2427"/>
                <a:gd name="T103" fmla="*/ 930 h 1178"/>
                <a:gd name="T104" fmla="*/ 1669 w 2427"/>
                <a:gd name="T105" fmla="*/ 930 h 1178"/>
                <a:gd name="T106" fmla="*/ 1797 w 2427"/>
                <a:gd name="T107" fmla="*/ 934 h 1178"/>
                <a:gd name="T108" fmla="*/ 1949 w 2427"/>
                <a:gd name="T109" fmla="*/ 930 h 1178"/>
                <a:gd name="T110" fmla="*/ 2069 w 2427"/>
                <a:gd name="T111" fmla="*/ 934 h 1178"/>
                <a:gd name="T112" fmla="*/ 2197 w 2427"/>
                <a:gd name="T113" fmla="*/ 930 h 1178"/>
                <a:gd name="T114" fmla="*/ 2303 w 2427"/>
                <a:gd name="T115" fmla="*/ 961 h 1178"/>
                <a:gd name="T116" fmla="*/ 2340 w 2427"/>
                <a:gd name="T117" fmla="*/ 1090 h 1178"/>
                <a:gd name="T118" fmla="*/ 2267 w 2427"/>
                <a:gd name="T119" fmla="*/ 1165 h 1178"/>
                <a:gd name="T120" fmla="*/ 2137 w 2427"/>
                <a:gd name="T121" fmla="*/ 1174 h 1178"/>
                <a:gd name="T122" fmla="*/ 2009 w 2427"/>
                <a:gd name="T123" fmla="*/ 1178 h 1178"/>
                <a:gd name="T124" fmla="*/ 1877 w 2427"/>
                <a:gd name="T125" fmla="*/ 1178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7" h="1178">
                  <a:moveTo>
                    <a:pt x="1502" y="4"/>
                  </a:moveTo>
                  <a:cubicBezTo>
                    <a:pt x="1514" y="4"/>
                    <a:pt x="1514" y="4"/>
                    <a:pt x="1514" y="4"/>
                  </a:cubicBezTo>
                  <a:cubicBezTo>
                    <a:pt x="1514" y="0"/>
                    <a:pt x="1514" y="0"/>
                    <a:pt x="1514" y="0"/>
                  </a:cubicBezTo>
                  <a:cubicBezTo>
                    <a:pt x="1502" y="0"/>
                    <a:pt x="1502" y="0"/>
                    <a:pt x="1502" y="0"/>
                  </a:cubicBezTo>
                  <a:cubicBezTo>
                    <a:pt x="1502" y="4"/>
                    <a:pt x="1502" y="4"/>
                    <a:pt x="1502" y="4"/>
                  </a:cubicBezTo>
                  <a:moveTo>
                    <a:pt x="1482" y="4"/>
                  </a:moveTo>
                  <a:cubicBezTo>
                    <a:pt x="1494" y="4"/>
                    <a:pt x="1494" y="4"/>
                    <a:pt x="1494" y="4"/>
                  </a:cubicBezTo>
                  <a:cubicBezTo>
                    <a:pt x="1494" y="0"/>
                    <a:pt x="1494" y="0"/>
                    <a:pt x="1494" y="0"/>
                  </a:cubicBezTo>
                  <a:cubicBezTo>
                    <a:pt x="1482" y="0"/>
                    <a:pt x="1482" y="0"/>
                    <a:pt x="1482" y="0"/>
                  </a:cubicBezTo>
                  <a:cubicBezTo>
                    <a:pt x="1482" y="4"/>
                    <a:pt x="1482" y="4"/>
                    <a:pt x="1482" y="4"/>
                  </a:cubicBezTo>
                  <a:moveTo>
                    <a:pt x="1462" y="4"/>
                  </a:moveTo>
                  <a:cubicBezTo>
                    <a:pt x="1474" y="4"/>
                    <a:pt x="1474" y="4"/>
                    <a:pt x="1474" y="4"/>
                  </a:cubicBezTo>
                  <a:cubicBezTo>
                    <a:pt x="1474" y="0"/>
                    <a:pt x="1474" y="0"/>
                    <a:pt x="1474" y="0"/>
                  </a:cubicBezTo>
                  <a:cubicBezTo>
                    <a:pt x="1462" y="0"/>
                    <a:pt x="1462" y="0"/>
                    <a:pt x="1462" y="0"/>
                  </a:cubicBezTo>
                  <a:cubicBezTo>
                    <a:pt x="1462" y="4"/>
                    <a:pt x="1462" y="4"/>
                    <a:pt x="1462" y="4"/>
                  </a:cubicBezTo>
                  <a:moveTo>
                    <a:pt x="1442" y="4"/>
                  </a:moveTo>
                  <a:cubicBezTo>
                    <a:pt x="1454" y="4"/>
                    <a:pt x="1454" y="4"/>
                    <a:pt x="1454" y="4"/>
                  </a:cubicBezTo>
                  <a:cubicBezTo>
                    <a:pt x="1454" y="0"/>
                    <a:pt x="1454" y="0"/>
                    <a:pt x="1454" y="0"/>
                  </a:cubicBezTo>
                  <a:cubicBezTo>
                    <a:pt x="1442" y="0"/>
                    <a:pt x="1442" y="0"/>
                    <a:pt x="1442" y="0"/>
                  </a:cubicBezTo>
                  <a:cubicBezTo>
                    <a:pt x="1442" y="4"/>
                    <a:pt x="1442" y="4"/>
                    <a:pt x="1442" y="4"/>
                  </a:cubicBezTo>
                  <a:moveTo>
                    <a:pt x="1422" y="4"/>
                  </a:moveTo>
                  <a:cubicBezTo>
                    <a:pt x="1434" y="4"/>
                    <a:pt x="1434" y="4"/>
                    <a:pt x="1434" y="4"/>
                  </a:cubicBezTo>
                  <a:cubicBezTo>
                    <a:pt x="1434" y="0"/>
                    <a:pt x="1434" y="0"/>
                    <a:pt x="1434" y="0"/>
                  </a:cubicBezTo>
                  <a:cubicBezTo>
                    <a:pt x="1422" y="0"/>
                    <a:pt x="1422" y="0"/>
                    <a:pt x="1422" y="0"/>
                  </a:cubicBezTo>
                  <a:cubicBezTo>
                    <a:pt x="1422" y="4"/>
                    <a:pt x="1422" y="4"/>
                    <a:pt x="1422" y="4"/>
                  </a:cubicBezTo>
                  <a:moveTo>
                    <a:pt x="1402" y="4"/>
                  </a:moveTo>
                  <a:cubicBezTo>
                    <a:pt x="1414" y="4"/>
                    <a:pt x="1414" y="4"/>
                    <a:pt x="1414" y="4"/>
                  </a:cubicBezTo>
                  <a:cubicBezTo>
                    <a:pt x="1414" y="0"/>
                    <a:pt x="1414" y="0"/>
                    <a:pt x="1414" y="0"/>
                  </a:cubicBezTo>
                  <a:cubicBezTo>
                    <a:pt x="1402" y="0"/>
                    <a:pt x="1402" y="0"/>
                    <a:pt x="1402" y="0"/>
                  </a:cubicBezTo>
                  <a:cubicBezTo>
                    <a:pt x="1402" y="4"/>
                    <a:pt x="1402" y="4"/>
                    <a:pt x="1402" y="4"/>
                  </a:cubicBezTo>
                  <a:moveTo>
                    <a:pt x="1382" y="4"/>
                  </a:moveTo>
                  <a:cubicBezTo>
                    <a:pt x="1394" y="4"/>
                    <a:pt x="1394" y="4"/>
                    <a:pt x="1394" y="4"/>
                  </a:cubicBezTo>
                  <a:cubicBezTo>
                    <a:pt x="1394" y="0"/>
                    <a:pt x="1394" y="0"/>
                    <a:pt x="1394" y="0"/>
                  </a:cubicBezTo>
                  <a:cubicBezTo>
                    <a:pt x="1382" y="0"/>
                    <a:pt x="1382" y="0"/>
                    <a:pt x="1382" y="0"/>
                  </a:cubicBezTo>
                  <a:cubicBezTo>
                    <a:pt x="1382" y="4"/>
                    <a:pt x="1382" y="4"/>
                    <a:pt x="1382" y="4"/>
                  </a:cubicBezTo>
                  <a:moveTo>
                    <a:pt x="1362" y="4"/>
                  </a:moveTo>
                  <a:cubicBezTo>
                    <a:pt x="1374" y="4"/>
                    <a:pt x="1374" y="4"/>
                    <a:pt x="1374" y="4"/>
                  </a:cubicBezTo>
                  <a:cubicBezTo>
                    <a:pt x="1374" y="0"/>
                    <a:pt x="1374" y="0"/>
                    <a:pt x="1374" y="0"/>
                  </a:cubicBezTo>
                  <a:cubicBezTo>
                    <a:pt x="1362" y="0"/>
                    <a:pt x="1362" y="0"/>
                    <a:pt x="1362" y="0"/>
                  </a:cubicBezTo>
                  <a:cubicBezTo>
                    <a:pt x="1362" y="4"/>
                    <a:pt x="1362" y="4"/>
                    <a:pt x="1362" y="4"/>
                  </a:cubicBezTo>
                  <a:moveTo>
                    <a:pt x="1342" y="4"/>
                  </a:moveTo>
                  <a:cubicBezTo>
                    <a:pt x="1354" y="4"/>
                    <a:pt x="1354" y="4"/>
                    <a:pt x="1354" y="4"/>
                  </a:cubicBezTo>
                  <a:cubicBezTo>
                    <a:pt x="1354" y="0"/>
                    <a:pt x="1354" y="0"/>
                    <a:pt x="1354" y="0"/>
                  </a:cubicBezTo>
                  <a:cubicBezTo>
                    <a:pt x="1342" y="0"/>
                    <a:pt x="1342" y="0"/>
                    <a:pt x="1342" y="0"/>
                  </a:cubicBezTo>
                  <a:cubicBezTo>
                    <a:pt x="1342" y="4"/>
                    <a:pt x="1342" y="4"/>
                    <a:pt x="1342" y="4"/>
                  </a:cubicBezTo>
                  <a:moveTo>
                    <a:pt x="1322" y="4"/>
                  </a:moveTo>
                  <a:cubicBezTo>
                    <a:pt x="1334" y="4"/>
                    <a:pt x="1334" y="4"/>
                    <a:pt x="1334" y="4"/>
                  </a:cubicBezTo>
                  <a:cubicBezTo>
                    <a:pt x="1334" y="0"/>
                    <a:pt x="1334" y="0"/>
                    <a:pt x="1334" y="0"/>
                  </a:cubicBezTo>
                  <a:cubicBezTo>
                    <a:pt x="1322" y="0"/>
                    <a:pt x="1322" y="0"/>
                    <a:pt x="1322" y="0"/>
                  </a:cubicBezTo>
                  <a:cubicBezTo>
                    <a:pt x="1322" y="4"/>
                    <a:pt x="1322" y="4"/>
                    <a:pt x="1322" y="4"/>
                  </a:cubicBezTo>
                  <a:moveTo>
                    <a:pt x="1302" y="4"/>
                  </a:moveTo>
                  <a:cubicBezTo>
                    <a:pt x="1314" y="4"/>
                    <a:pt x="1314" y="4"/>
                    <a:pt x="1314" y="4"/>
                  </a:cubicBezTo>
                  <a:cubicBezTo>
                    <a:pt x="1314" y="0"/>
                    <a:pt x="1314" y="0"/>
                    <a:pt x="1314" y="0"/>
                  </a:cubicBezTo>
                  <a:cubicBezTo>
                    <a:pt x="1302" y="0"/>
                    <a:pt x="1302" y="0"/>
                    <a:pt x="1302" y="0"/>
                  </a:cubicBezTo>
                  <a:cubicBezTo>
                    <a:pt x="1302" y="4"/>
                    <a:pt x="1302" y="4"/>
                    <a:pt x="1302" y="4"/>
                  </a:cubicBezTo>
                  <a:moveTo>
                    <a:pt x="1282" y="4"/>
                  </a:moveTo>
                  <a:cubicBezTo>
                    <a:pt x="1294" y="4"/>
                    <a:pt x="1294" y="4"/>
                    <a:pt x="1294" y="4"/>
                  </a:cubicBezTo>
                  <a:cubicBezTo>
                    <a:pt x="1294" y="0"/>
                    <a:pt x="1294" y="0"/>
                    <a:pt x="1294" y="0"/>
                  </a:cubicBezTo>
                  <a:cubicBezTo>
                    <a:pt x="1282" y="0"/>
                    <a:pt x="1282" y="0"/>
                    <a:pt x="1282" y="0"/>
                  </a:cubicBezTo>
                  <a:cubicBezTo>
                    <a:pt x="1282" y="4"/>
                    <a:pt x="1282" y="4"/>
                    <a:pt x="1282" y="4"/>
                  </a:cubicBezTo>
                  <a:moveTo>
                    <a:pt x="1262" y="4"/>
                  </a:moveTo>
                  <a:cubicBezTo>
                    <a:pt x="1274" y="4"/>
                    <a:pt x="1274" y="4"/>
                    <a:pt x="1274" y="4"/>
                  </a:cubicBezTo>
                  <a:cubicBezTo>
                    <a:pt x="1274" y="0"/>
                    <a:pt x="1274" y="0"/>
                    <a:pt x="1274" y="0"/>
                  </a:cubicBezTo>
                  <a:cubicBezTo>
                    <a:pt x="1262" y="0"/>
                    <a:pt x="1262" y="0"/>
                    <a:pt x="1262" y="0"/>
                  </a:cubicBezTo>
                  <a:cubicBezTo>
                    <a:pt x="1262" y="4"/>
                    <a:pt x="1262" y="4"/>
                    <a:pt x="1262" y="4"/>
                  </a:cubicBezTo>
                  <a:moveTo>
                    <a:pt x="1242" y="4"/>
                  </a:moveTo>
                  <a:cubicBezTo>
                    <a:pt x="1254" y="4"/>
                    <a:pt x="1254" y="4"/>
                    <a:pt x="1254" y="4"/>
                  </a:cubicBezTo>
                  <a:cubicBezTo>
                    <a:pt x="1254" y="0"/>
                    <a:pt x="1254" y="0"/>
                    <a:pt x="1254" y="0"/>
                  </a:cubicBezTo>
                  <a:cubicBezTo>
                    <a:pt x="1242" y="0"/>
                    <a:pt x="1242" y="0"/>
                    <a:pt x="1242" y="0"/>
                  </a:cubicBezTo>
                  <a:cubicBezTo>
                    <a:pt x="1242" y="4"/>
                    <a:pt x="1242" y="4"/>
                    <a:pt x="1242" y="4"/>
                  </a:cubicBezTo>
                  <a:moveTo>
                    <a:pt x="1222" y="4"/>
                  </a:moveTo>
                  <a:cubicBezTo>
                    <a:pt x="1234" y="4"/>
                    <a:pt x="1234" y="4"/>
                    <a:pt x="1234" y="4"/>
                  </a:cubicBezTo>
                  <a:cubicBezTo>
                    <a:pt x="1234" y="0"/>
                    <a:pt x="1234" y="0"/>
                    <a:pt x="1234" y="0"/>
                  </a:cubicBezTo>
                  <a:cubicBezTo>
                    <a:pt x="1222" y="0"/>
                    <a:pt x="1222" y="0"/>
                    <a:pt x="1222" y="0"/>
                  </a:cubicBezTo>
                  <a:cubicBezTo>
                    <a:pt x="1222" y="4"/>
                    <a:pt x="1222" y="4"/>
                    <a:pt x="1222" y="4"/>
                  </a:cubicBezTo>
                  <a:moveTo>
                    <a:pt x="1202" y="4"/>
                  </a:moveTo>
                  <a:cubicBezTo>
                    <a:pt x="1214" y="4"/>
                    <a:pt x="1214" y="4"/>
                    <a:pt x="1214" y="4"/>
                  </a:cubicBezTo>
                  <a:cubicBezTo>
                    <a:pt x="1214" y="0"/>
                    <a:pt x="1214" y="0"/>
                    <a:pt x="1214" y="0"/>
                  </a:cubicBezTo>
                  <a:cubicBezTo>
                    <a:pt x="1202" y="0"/>
                    <a:pt x="1202" y="0"/>
                    <a:pt x="1202" y="0"/>
                  </a:cubicBezTo>
                  <a:cubicBezTo>
                    <a:pt x="1202" y="4"/>
                    <a:pt x="1202" y="4"/>
                    <a:pt x="1202" y="4"/>
                  </a:cubicBezTo>
                  <a:moveTo>
                    <a:pt x="1182" y="4"/>
                  </a:moveTo>
                  <a:cubicBezTo>
                    <a:pt x="1194" y="4"/>
                    <a:pt x="1194" y="4"/>
                    <a:pt x="1194" y="4"/>
                  </a:cubicBezTo>
                  <a:cubicBezTo>
                    <a:pt x="1194" y="0"/>
                    <a:pt x="1194" y="0"/>
                    <a:pt x="1194" y="0"/>
                  </a:cubicBezTo>
                  <a:cubicBezTo>
                    <a:pt x="1182" y="0"/>
                    <a:pt x="1182" y="0"/>
                    <a:pt x="1182" y="0"/>
                  </a:cubicBezTo>
                  <a:cubicBezTo>
                    <a:pt x="1182" y="4"/>
                    <a:pt x="1182" y="4"/>
                    <a:pt x="1182" y="4"/>
                  </a:cubicBezTo>
                  <a:moveTo>
                    <a:pt x="1162" y="4"/>
                  </a:moveTo>
                  <a:cubicBezTo>
                    <a:pt x="1174" y="4"/>
                    <a:pt x="1174" y="4"/>
                    <a:pt x="1174" y="4"/>
                  </a:cubicBezTo>
                  <a:cubicBezTo>
                    <a:pt x="1174" y="0"/>
                    <a:pt x="1174" y="0"/>
                    <a:pt x="1174" y="0"/>
                  </a:cubicBezTo>
                  <a:cubicBezTo>
                    <a:pt x="1162" y="0"/>
                    <a:pt x="1162" y="0"/>
                    <a:pt x="1162" y="0"/>
                  </a:cubicBezTo>
                  <a:cubicBezTo>
                    <a:pt x="1162" y="4"/>
                    <a:pt x="1162" y="4"/>
                    <a:pt x="1162" y="4"/>
                  </a:cubicBezTo>
                  <a:moveTo>
                    <a:pt x="1142" y="4"/>
                  </a:moveTo>
                  <a:cubicBezTo>
                    <a:pt x="1154" y="4"/>
                    <a:pt x="1154" y="4"/>
                    <a:pt x="1154" y="4"/>
                  </a:cubicBezTo>
                  <a:cubicBezTo>
                    <a:pt x="1154" y="0"/>
                    <a:pt x="1154" y="0"/>
                    <a:pt x="1154" y="0"/>
                  </a:cubicBezTo>
                  <a:cubicBezTo>
                    <a:pt x="1142" y="0"/>
                    <a:pt x="1142" y="0"/>
                    <a:pt x="1142" y="0"/>
                  </a:cubicBezTo>
                  <a:cubicBezTo>
                    <a:pt x="1142" y="4"/>
                    <a:pt x="1142" y="4"/>
                    <a:pt x="1142" y="4"/>
                  </a:cubicBezTo>
                  <a:moveTo>
                    <a:pt x="1122" y="4"/>
                  </a:moveTo>
                  <a:cubicBezTo>
                    <a:pt x="1134" y="4"/>
                    <a:pt x="1134" y="4"/>
                    <a:pt x="1134" y="4"/>
                  </a:cubicBezTo>
                  <a:cubicBezTo>
                    <a:pt x="1134" y="0"/>
                    <a:pt x="1134" y="0"/>
                    <a:pt x="1134" y="0"/>
                  </a:cubicBezTo>
                  <a:cubicBezTo>
                    <a:pt x="1122" y="0"/>
                    <a:pt x="1122" y="0"/>
                    <a:pt x="1122" y="0"/>
                  </a:cubicBezTo>
                  <a:cubicBezTo>
                    <a:pt x="1122" y="4"/>
                    <a:pt x="1122" y="4"/>
                    <a:pt x="1122" y="4"/>
                  </a:cubicBezTo>
                  <a:moveTo>
                    <a:pt x="1102" y="4"/>
                  </a:moveTo>
                  <a:cubicBezTo>
                    <a:pt x="1114" y="4"/>
                    <a:pt x="1114" y="4"/>
                    <a:pt x="1114" y="4"/>
                  </a:cubicBezTo>
                  <a:cubicBezTo>
                    <a:pt x="1114" y="0"/>
                    <a:pt x="1114" y="0"/>
                    <a:pt x="1114" y="0"/>
                  </a:cubicBezTo>
                  <a:cubicBezTo>
                    <a:pt x="1102" y="0"/>
                    <a:pt x="1102" y="0"/>
                    <a:pt x="1102" y="0"/>
                  </a:cubicBezTo>
                  <a:cubicBezTo>
                    <a:pt x="1102" y="4"/>
                    <a:pt x="1102" y="4"/>
                    <a:pt x="1102" y="4"/>
                  </a:cubicBezTo>
                  <a:moveTo>
                    <a:pt x="1082" y="4"/>
                  </a:moveTo>
                  <a:cubicBezTo>
                    <a:pt x="1094" y="4"/>
                    <a:pt x="1094" y="4"/>
                    <a:pt x="1094" y="4"/>
                  </a:cubicBezTo>
                  <a:cubicBezTo>
                    <a:pt x="1094" y="0"/>
                    <a:pt x="1094" y="0"/>
                    <a:pt x="1094" y="0"/>
                  </a:cubicBezTo>
                  <a:cubicBezTo>
                    <a:pt x="1082" y="0"/>
                    <a:pt x="1082" y="0"/>
                    <a:pt x="1082" y="0"/>
                  </a:cubicBezTo>
                  <a:cubicBezTo>
                    <a:pt x="1082" y="4"/>
                    <a:pt x="1082" y="4"/>
                    <a:pt x="1082" y="4"/>
                  </a:cubicBezTo>
                  <a:moveTo>
                    <a:pt x="1062" y="4"/>
                  </a:moveTo>
                  <a:cubicBezTo>
                    <a:pt x="1074" y="4"/>
                    <a:pt x="1074" y="4"/>
                    <a:pt x="1074" y="4"/>
                  </a:cubicBezTo>
                  <a:cubicBezTo>
                    <a:pt x="1074" y="0"/>
                    <a:pt x="1074" y="0"/>
                    <a:pt x="1074" y="0"/>
                  </a:cubicBezTo>
                  <a:cubicBezTo>
                    <a:pt x="1062" y="0"/>
                    <a:pt x="1062" y="0"/>
                    <a:pt x="1062" y="0"/>
                  </a:cubicBezTo>
                  <a:cubicBezTo>
                    <a:pt x="1062" y="4"/>
                    <a:pt x="1062" y="4"/>
                    <a:pt x="1062" y="4"/>
                  </a:cubicBezTo>
                  <a:moveTo>
                    <a:pt x="1042" y="4"/>
                  </a:moveTo>
                  <a:cubicBezTo>
                    <a:pt x="1054" y="4"/>
                    <a:pt x="1054" y="4"/>
                    <a:pt x="1054" y="4"/>
                  </a:cubicBezTo>
                  <a:cubicBezTo>
                    <a:pt x="1054" y="0"/>
                    <a:pt x="1054" y="0"/>
                    <a:pt x="1054" y="0"/>
                  </a:cubicBezTo>
                  <a:cubicBezTo>
                    <a:pt x="1042" y="0"/>
                    <a:pt x="1042" y="0"/>
                    <a:pt x="1042" y="0"/>
                  </a:cubicBezTo>
                  <a:cubicBezTo>
                    <a:pt x="1042" y="4"/>
                    <a:pt x="1042" y="4"/>
                    <a:pt x="1042" y="4"/>
                  </a:cubicBezTo>
                  <a:moveTo>
                    <a:pt x="1022" y="4"/>
                  </a:moveTo>
                  <a:cubicBezTo>
                    <a:pt x="1034" y="4"/>
                    <a:pt x="1034" y="4"/>
                    <a:pt x="1034" y="4"/>
                  </a:cubicBezTo>
                  <a:cubicBezTo>
                    <a:pt x="1034" y="0"/>
                    <a:pt x="1034" y="0"/>
                    <a:pt x="1034" y="0"/>
                  </a:cubicBezTo>
                  <a:cubicBezTo>
                    <a:pt x="1022" y="0"/>
                    <a:pt x="1022" y="0"/>
                    <a:pt x="1022" y="0"/>
                  </a:cubicBezTo>
                  <a:cubicBezTo>
                    <a:pt x="1022" y="4"/>
                    <a:pt x="1022" y="4"/>
                    <a:pt x="1022" y="4"/>
                  </a:cubicBezTo>
                  <a:moveTo>
                    <a:pt x="1002" y="4"/>
                  </a:moveTo>
                  <a:cubicBezTo>
                    <a:pt x="1014" y="4"/>
                    <a:pt x="1014" y="4"/>
                    <a:pt x="1014" y="4"/>
                  </a:cubicBezTo>
                  <a:cubicBezTo>
                    <a:pt x="1014" y="0"/>
                    <a:pt x="1014" y="0"/>
                    <a:pt x="1014" y="0"/>
                  </a:cubicBezTo>
                  <a:cubicBezTo>
                    <a:pt x="1002" y="0"/>
                    <a:pt x="1002" y="0"/>
                    <a:pt x="1002" y="0"/>
                  </a:cubicBezTo>
                  <a:cubicBezTo>
                    <a:pt x="1002" y="4"/>
                    <a:pt x="1002" y="4"/>
                    <a:pt x="1002" y="4"/>
                  </a:cubicBezTo>
                  <a:moveTo>
                    <a:pt x="983" y="5"/>
                  </a:moveTo>
                  <a:cubicBezTo>
                    <a:pt x="985" y="5"/>
                    <a:pt x="987" y="4"/>
                    <a:pt x="990" y="4"/>
                  </a:cubicBezTo>
                  <a:cubicBezTo>
                    <a:pt x="994" y="4"/>
                    <a:pt x="994" y="4"/>
                    <a:pt x="994" y="4"/>
                  </a:cubicBezTo>
                  <a:cubicBezTo>
                    <a:pt x="994" y="0"/>
                    <a:pt x="994" y="0"/>
                    <a:pt x="994" y="0"/>
                  </a:cubicBezTo>
                  <a:cubicBezTo>
                    <a:pt x="990" y="0"/>
                    <a:pt x="990" y="0"/>
                    <a:pt x="990" y="0"/>
                  </a:cubicBezTo>
                  <a:cubicBezTo>
                    <a:pt x="987" y="0"/>
                    <a:pt x="985" y="1"/>
                    <a:pt x="982" y="1"/>
                  </a:cubicBezTo>
                  <a:cubicBezTo>
                    <a:pt x="983" y="5"/>
                    <a:pt x="983" y="5"/>
                    <a:pt x="983" y="5"/>
                  </a:cubicBezTo>
                  <a:moveTo>
                    <a:pt x="963" y="7"/>
                  </a:moveTo>
                  <a:cubicBezTo>
                    <a:pt x="967" y="6"/>
                    <a:pt x="971" y="6"/>
                    <a:pt x="975" y="5"/>
                  </a:cubicBezTo>
                  <a:cubicBezTo>
                    <a:pt x="974" y="1"/>
                    <a:pt x="974" y="1"/>
                    <a:pt x="974" y="1"/>
                  </a:cubicBezTo>
                  <a:cubicBezTo>
                    <a:pt x="970" y="2"/>
                    <a:pt x="966" y="2"/>
                    <a:pt x="962" y="3"/>
                  </a:cubicBezTo>
                  <a:cubicBezTo>
                    <a:pt x="963" y="7"/>
                    <a:pt x="963" y="7"/>
                    <a:pt x="963" y="7"/>
                  </a:cubicBezTo>
                  <a:moveTo>
                    <a:pt x="944" y="11"/>
                  </a:moveTo>
                  <a:cubicBezTo>
                    <a:pt x="948" y="10"/>
                    <a:pt x="951" y="9"/>
                    <a:pt x="955" y="8"/>
                  </a:cubicBezTo>
                  <a:cubicBezTo>
                    <a:pt x="954" y="4"/>
                    <a:pt x="954" y="4"/>
                    <a:pt x="954" y="4"/>
                  </a:cubicBezTo>
                  <a:cubicBezTo>
                    <a:pt x="950" y="5"/>
                    <a:pt x="946" y="6"/>
                    <a:pt x="943" y="8"/>
                  </a:cubicBezTo>
                  <a:cubicBezTo>
                    <a:pt x="944" y="11"/>
                    <a:pt x="944" y="11"/>
                    <a:pt x="944" y="11"/>
                  </a:cubicBezTo>
                  <a:cubicBezTo>
                    <a:pt x="944" y="11"/>
                    <a:pt x="944" y="11"/>
                    <a:pt x="944" y="11"/>
                  </a:cubicBezTo>
                  <a:moveTo>
                    <a:pt x="925" y="18"/>
                  </a:moveTo>
                  <a:cubicBezTo>
                    <a:pt x="929" y="17"/>
                    <a:pt x="933" y="15"/>
                    <a:pt x="936" y="14"/>
                  </a:cubicBezTo>
                  <a:cubicBezTo>
                    <a:pt x="935" y="10"/>
                    <a:pt x="935" y="10"/>
                    <a:pt x="935" y="10"/>
                  </a:cubicBezTo>
                  <a:cubicBezTo>
                    <a:pt x="931" y="12"/>
                    <a:pt x="927" y="13"/>
                    <a:pt x="924" y="15"/>
                  </a:cubicBezTo>
                  <a:cubicBezTo>
                    <a:pt x="925" y="18"/>
                    <a:pt x="925" y="18"/>
                    <a:pt x="925" y="18"/>
                  </a:cubicBezTo>
                  <a:moveTo>
                    <a:pt x="908" y="28"/>
                  </a:moveTo>
                  <a:cubicBezTo>
                    <a:pt x="911" y="26"/>
                    <a:pt x="915" y="24"/>
                    <a:pt x="918" y="22"/>
                  </a:cubicBezTo>
                  <a:cubicBezTo>
                    <a:pt x="916" y="18"/>
                    <a:pt x="916" y="18"/>
                    <a:pt x="916" y="18"/>
                  </a:cubicBezTo>
                  <a:cubicBezTo>
                    <a:pt x="913" y="20"/>
                    <a:pt x="909" y="22"/>
                    <a:pt x="906" y="24"/>
                  </a:cubicBezTo>
                  <a:cubicBezTo>
                    <a:pt x="908" y="28"/>
                    <a:pt x="908" y="28"/>
                    <a:pt x="908" y="28"/>
                  </a:cubicBezTo>
                  <a:moveTo>
                    <a:pt x="892" y="39"/>
                  </a:moveTo>
                  <a:cubicBezTo>
                    <a:pt x="895" y="37"/>
                    <a:pt x="898" y="34"/>
                    <a:pt x="901" y="32"/>
                  </a:cubicBezTo>
                  <a:cubicBezTo>
                    <a:pt x="899" y="29"/>
                    <a:pt x="899" y="29"/>
                    <a:pt x="899" y="29"/>
                  </a:cubicBezTo>
                  <a:cubicBezTo>
                    <a:pt x="896" y="31"/>
                    <a:pt x="893" y="34"/>
                    <a:pt x="889" y="36"/>
                  </a:cubicBezTo>
                  <a:cubicBezTo>
                    <a:pt x="892" y="39"/>
                    <a:pt x="892" y="39"/>
                    <a:pt x="892" y="39"/>
                  </a:cubicBezTo>
                  <a:moveTo>
                    <a:pt x="878" y="53"/>
                  </a:moveTo>
                  <a:cubicBezTo>
                    <a:pt x="880" y="50"/>
                    <a:pt x="883" y="47"/>
                    <a:pt x="886" y="44"/>
                  </a:cubicBezTo>
                  <a:cubicBezTo>
                    <a:pt x="883" y="42"/>
                    <a:pt x="883" y="42"/>
                    <a:pt x="883" y="42"/>
                  </a:cubicBezTo>
                  <a:cubicBezTo>
                    <a:pt x="880" y="44"/>
                    <a:pt x="877" y="47"/>
                    <a:pt x="875" y="50"/>
                  </a:cubicBezTo>
                  <a:cubicBezTo>
                    <a:pt x="878" y="53"/>
                    <a:pt x="878" y="53"/>
                    <a:pt x="878" y="53"/>
                  </a:cubicBezTo>
                  <a:moveTo>
                    <a:pt x="865" y="68"/>
                  </a:moveTo>
                  <a:cubicBezTo>
                    <a:pt x="867" y="65"/>
                    <a:pt x="870" y="62"/>
                    <a:pt x="872" y="59"/>
                  </a:cubicBezTo>
                  <a:cubicBezTo>
                    <a:pt x="869" y="56"/>
                    <a:pt x="869" y="56"/>
                    <a:pt x="869" y="56"/>
                  </a:cubicBezTo>
                  <a:cubicBezTo>
                    <a:pt x="867" y="59"/>
                    <a:pt x="864" y="62"/>
                    <a:pt x="862" y="66"/>
                  </a:cubicBezTo>
                  <a:cubicBezTo>
                    <a:pt x="865" y="68"/>
                    <a:pt x="865" y="68"/>
                    <a:pt x="865" y="68"/>
                  </a:cubicBezTo>
                  <a:moveTo>
                    <a:pt x="854" y="85"/>
                  </a:moveTo>
                  <a:cubicBezTo>
                    <a:pt x="856" y="81"/>
                    <a:pt x="858" y="78"/>
                    <a:pt x="861" y="74"/>
                  </a:cubicBezTo>
                  <a:cubicBezTo>
                    <a:pt x="857" y="72"/>
                    <a:pt x="857" y="72"/>
                    <a:pt x="857" y="72"/>
                  </a:cubicBezTo>
                  <a:cubicBezTo>
                    <a:pt x="855" y="76"/>
                    <a:pt x="853" y="79"/>
                    <a:pt x="851" y="83"/>
                  </a:cubicBezTo>
                  <a:cubicBezTo>
                    <a:pt x="854" y="85"/>
                    <a:pt x="854" y="85"/>
                    <a:pt x="854" y="85"/>
                  </a:cubicBezTo>
                  <a:moveTo>
                    <a:pt x="846" y="103"/>
                  </a:moveTo>
                  <a:cubicBezTo>
                    <a:pt x="848" y="99"/>
                    <a:pt x="849" y="95"/>
                    <a:pt x="851" y="92"/>
                  </a:cubicBezTo>
                  <a:cubicBezTo>
                    <a:pt x="847" y="90"/>
                    <a:pt x="847" y="90"/>
                    <a:pt x="847" y="90"/>
                  </a:cubicBezTo>
                  <a:cubicBezTo>
                    <a:pt x="845" y="94"/>
                    <a:pt x="844" y="97"/>
                    <a:pt x="842" y="101"/>
                  </a:cubicBezTo>
                  <a:cubicBezTo>
                    <a:pt x="846" y="103"/>
                    <a:pt x="846" y="103"/>
                    <a:pt x="846" y="103"/>
                  </a:cubicBezTo>
                  <a:moveTo>
                    <a:pt x="840" y="121"/>
                  </a:moveTo>
                  <a:cubicBezTo>
                    <a:pt x="841" y="118"/>
                    <a:pt x="842" y="114"/>
                    <a:pt x="843" y="110"/>
                  </a:cubicBezTo>
                  <a:cubicBezTo>
                    <a:pt x="840" y="109"/>
                    <a:pt x="840" y="109"/>
                    <a:pt x="840" y="109"/>
                  </a:cubicBezTo>
                  <a:cubicBezTo>
                    <a:pt x="838" y="113"/>
                    <a:pt x="837" y="116"/>
                    <a:pt x="836" y="120"/>
                  </a:cubicBezTo>
                  <a:cubicBezTo>
                    <a:pt x="840" y="121"/>
                    <a:pt x="840" y="121"/>
                    <a:pt x="840" y="121"/>
                  </a:cubicBezTo>
                  <a:moveTo>
                    <a:pt x="837" y="141"/>
                  </a:moveTo>
                  <a:cubicBezTo>
                    <a:pt x="837" y="137"/>
                    <a:pt x="838" y="133"/>
                    <a:pt x="838" y="129"/>
                  </a:cubicBezTo>
                  <a:cubicBezTo>
                    <a:pt x="835" y="128"/>
                    <a:pt x="835" y="128"/>
                    <a:pt x="835" y="128"/>
                  </a:cubicBezTo>
                  <a:cubicBezTo>
                    <a:pt x="834" y="132"/>
                    <a:pt x="833" y="136"/>
                    <a:pt x="833" y="140"/>
                  </a:cubicBezTo>
                  <a:cubicBezTo>
                    <a:pt x="837" y="141"/>
                    <a:pt x="837" y="141"/>
                    <a:pt x="837" y="141"/>
                  </a:cubicBezTo>
                  <a:moveTo>
                    <a:pt x="836" y="160"/>
                  </a:moveTo>
                  <a:cubicBezTo>
                    <a:pt x="836" y="160"/>
                    <a:pt x="836" y="159"/>
                    <a:pt x="836" y="158"/>
                  </a:cubicBezTo>
                  <a:cubicBezTo>
                    <a:pt x="836" y="155"/>
                    <a:pt x="836" y="152"/>
                    <a:pt x="836" y="149"/>
                  </a:cubicBezTo>
                  <a:cubicBezTo>
                    <a:pt x="832" y="148"/>
                    <a:pt x="832" y="148"/>
                    <a:pt x="832" y="148"/>
                  </a:cubicBezTo>
                  <a:cubicBezTo>
                    <a:pt x="832" y="152"/>
                    <a:pt x="832" y="155"/>
                    <a:pt x="832" y="158"/>
                  </a:cubicBezTo>
                  <a:cubicBezTo>
                    <a:pt x="832" y="159"/>
                    <a:pt x="832" y="160"/>
                    <a:pt x="832" y="161"/>
                  </a:cubicBezTo>
                  <a:cubicBezTo>
                    <a:pt x="836" y="160"/>
                    <a:pt x="836" y="160"/>
                    <a:pt x="836" y="160"/>
                  </a:cubicBezTo>
                  <a:moveTo>
                    <a:pt x="837" y="180"/>
                  </a:moveTo>
                  <a:cubicBezTo>
                    <a:pt x="837" y="176"/>
                    <a:pt x="836" y="172"/>
                    <a:pt x="836" y="168"/>
                  </a:cubicBezTo>
                  <a:cubicBezTo>
                    <a:pt x="832" y="169"/>
                    <a:pt x="832" y="169"/>
                    <a:pt x="832" y="169"/>
                  </a:cubicBezTo>
                  <a:cubicBezTo>
                    <a:pt x="832" y="173"/>
                    <a:pt x="833" y="177"/>
                    <a:pt x="833" y="181"/>
                  </a:cubicBezTo>
                  <a:cubicBezTo>
                    <a:pt x="837" y="180"/>
                    <a:pt x="837" y="180"/>
                    <a:pt x="837" y="180"/>
                  </a:cubicBezTo>
                  <a:moveTo>
                    <a:pt x="841" y="199"/>
                  </a:moveTo>
                  <a:cubicBezTo>
                    <a:pt x="840" y="196"/>
                    <a:pt x="839" y="192"/>
                    <a:pt x="839" y="188"/>
                  </a:cubicBezTo>
                  <a:cubicBezTo>
                    <a:pt x="835" y="189"/>
                    <a:pt x="835" y="189"/>
                    <a:pt x="835" y="189"/>
                  </a:cubicBezTo>
                  <a:cubicBezTo>
                    <a:pt x="835" y="193"/>
                    <a:pt x="836" y="197"/>
                    <a:pt x="837" y="201"/>
                  </a:cubicBezTo>
                  <a:cubicBezTo>
                    <a:pt x="841" y="199"/>
                    <a:pt x="841" y="199"/>
                    <a:pt x="841" y="199"/>
                  </a:cubicBezTo>
                  <a:moveTo>
                    <a:pt x="848" y="218"/>
                  </a:moveTo>
                  <a:cubicBezTo>
                    <a:pt x="846" y="214"/>
                    <a:pt x="845" y="211"/>
                    <a:pt x="844" y="207"/>
                  </a:cubicBezTo>
                  <a:cubicBezTo>
                    <a:pt x="840" y="208"/>
                    <a:pt x="840" y="208"/>
                    <a:pt x="840" y="208"/>
                  </a:cubicBezTo>
                  <a:cubicBezTo>
                    <a:pt x="841" y="212"/>
                    <a:pt x="842" y="216"/>
                    <a:pt x="844" y="220"/>
                  </a:cubicBezTo>
                  <a:cubicBezTo>
                    <a:pt x="848" y="218"/>
                    <a:pt x="848" y="218"/>
                    <a:pt x="848" y="218"/>
                  </a:cubicBezTo>
                  <a:moveTo>
                    <a:pt x="857" y="236"/>
                  </a:moveTo>
                  <a:cubicBezTo>
                    <a:pt x="855" y="232"/>
                    <a:pt x="853" y="229"/>
                    <a:pt x="851" y="225"/>
                  </a:cubicBezTo>
                  <a:cubicBezTo>
                    <a:pt x="847" y="227"/>
                    <a:pt x="847" y="227"/>
                    <a:pt x="847" y="227"/>
                  </a:cubicBezTo>
                  <a:cubicBezTo>
                    <a:pt x="849" y="231"/>
                    <a:pt x="851" y="234"/>
                    <a:pt x="853" y="238"/>
                  </a:cubicBezTo>
                  <a:cubicBezTo>
                    <a:pt x="857" y="236"/>
                    <a:pt x="857" y="236"/>
                    <a:pt x="857" y="236"/>
                  </a:cubicBezTo>
                  <a:moveTo>
                    <a:pt x="868" y="252"/>
                  </a:moveTo>
                  <a:cubicBezTo>
                    <a:pt x="865" y="249"/>
                    <a:pt x="863" y="246"/>
                    <a:pt x="861" y="242"/>
                  </a:cubicBezTo>
                  <a:cubicBezTo>
                    <a:pt x="857" y="245"/>
                    <a:pt x="857" y="245"/>
                    <a:pt x="857" y="245"/>
                  </a:cubicBezTo>
                  <a:cubicBezTo>
                    <a:pt x="860" y="248"/>
                    <a:pt x="862" y="251"/>
                    <a:pt x="864" y="254"/>
                  </a:cubicBezTo>
                  <a:cubicBezTo>
                    <a:pt x="868" y="252"/>
                    <a:pt x="868" y="252"/>
                    <a:pt x="868" y="252"/>
                  </a:cubicBezTo>
                  <a:moveTo>
                    <a:pt x="881" y="267"/>
                  </a:moveTo>
                  <a:cubicBezTo>
                    <a:pt x="878" y="264"/>
                    <a:pt x="875" y="261"/>
                    <a:pt x="873" y="258"/>
                  </a:cubicBezTo>
                  <a:cubicBezTo>
                    <a:pt x="869" y="261"/>
                    <a:pt x="869" y="261"/>
                    <a:pt x="869" y="261"/>
                  </a:cubicBezTo>
                  <a:cubicBezTo>
                    <a:pt x="872" y="264"/>
                    <a:pt x="875" y="267"/>
                    <a:pt x="878" y="270"/>
                  </a:cubicBezTo>
                  <a:cubicBezTo>
                    <a:pt x="881" y="267"/>
                    <a:pt x="881" y="267"/>
                    <a:pt x="881" y="267"/>
                  </a:cubicBezTo>
                  <a:moveTo>
                    <a:pt x="895" y="280"/>
                  </a:moveTo>
                  <a:cubicBezTo>
                    <a:pt x="892" y="278"/>
                    <a:pt x="889" y="275"/>
                    <a:pt x="886" y="272"/>
                  </a:cubicBezTo>
                  <a:cubicBezTo>
                    <a:pt x="884" y="275"/>
                    <a:pt x="884" y="275"/>
                    <a:pt x="884" y="275"/>
                  </a:cubicBezTo>
                  <a:cubicBezTo>
                    <a:pt x="887" y="278"/>
                    <a:pt x="890" y="281"/>
                    <a:pt x="893" y="283"/>
                  </a:cubicBezTo>
                  <a:cubicBezTo>
                    <a:pt x="895" y="280"/>
                    <a:pt x="895" y="280"/>
                    <a:pt x="895" y="280"/>
                  </a:cubicBezTo>
                  <a:moveTo>
                    <a:pt x="912" y="291"/>
                  </a:moveTo>
                  <a:cubicBezTo>
                    <a:pt x="908" y="289"/>
                    <a:pt x="905" y="287"/>
                    <a:pt x="902" y="285"/>
                  </a:cubicBezTo>
                  <a:cubicBezTo>
                    <a:pt x="899" y="288"/>
                    <a:pt x="899" y="288"/>
                    <a:pt x="899" y="288"/>
                  </a:cubicBezTo>
                  <a:cubicBezTo>
                    <a:pt x="903" y="290"/>
                    <a:pt x="906" y="292"/>
                    <a:pt x="910" y="294"/>
                  </a:cubicBezTo>
                  <a:cubicBezTo>
                    <a:pt x="912" y="291"/>
                    <a:pt x="912" y="291"/>
                    <a:pt x="912" y="291"/>
                  </a:cubicBezTo>
                  <a:moveTo>
                    <a:pt x="929" y="300"/>
                  </a:moveTo>
                  <a:cubicBezTo>
                    <a:pt x="926" y="298"/>
                    <a:pt x="922" y="297"/>
                    <a:pt x="919" y="295"/>
                  </a:cubicBezTo>
                  <a:cubicBezTo>
                    <a:pt x="917" y="298"/>
                    <a:pt x="917" y="298"/>
                    <a:pt x="917" y="298"/>
                  </a:cubicBezTo>
                  <a:cubicBezTo>
                    <a:pt x="920" y="300"/>
                    <a:pt x="924" y="302"/>
                    <a:pt x="928" y="304"/>
                  </a:cubicBezTo>
                  <a:cubicBezTo>
                    <a:pt x="929" y="300"/>
                    <a:pt x="929" y="300"/>
                    <a:pt x="929" y="300"/>
                  </a:cubicBezTo>
                  <a:moveTo>
                    <a:pt x="948" y="306"/>
                  </a:moveTo>
                  <a:cubicBezTo>
                    <a:pt x="944" y="305"/>
                    <a:pt x="940" y="304"/>
                    <a:pt x="937" y="303"/>
                  </a:cubicBezTo>
                  <a:cubicBezTo>
                    <a:pt x="935" y="307"/>
                    <a:pt x="935" y="307"/>
                    <a:pt x="935" y="307"/>
                  </a:cubicBezTo>
                  <a:cubicBezTo>
                    <a:pt x="939" y="308"/>
                    <a:pt x="943" y="309"/>
                    <a:pt x="947" y="310"/>
                  </a:cubicBezTo>
                  <a:cubicBezTo>
                    <a:pt x="948" y="306"/>
                    <a:pt x="948" y="306"/>
                    <a:pt x="948" y="306"/>
                  </a:cubicBezTo>
                  <a:moveTo>
                    <a:pt x="967" y="311"/>
                  </a:moveTo>
                  <a:cubicBezTo>
                    <a:pt x="963" y="310"/>
                    <a:pt x="959" y="309"/>
                    <a:pt x="956" y="308"/>
                  </a:cubicBezTo>
                  <a:cubicBezTo>
                    <a:pt x="955" y="312"/>
                    <a:pt x="955" y="312"/>
                    <a:pt x="955" y="312"/>
                  </a:cubicBezTo>
                  <a:cubicBezTo>
                    <a:pt x="959" y="313"/>
                    <a:pt x="963" y="314"/>
                    <a:pt x="967" y="314"/>
                  </a:cubicBezTo>
                  <a:cubicBezTo>
                    <a:pt x="967" y="311"/>
                    <a:pt x="967" y="311"/>
                    <a:pt x="967" y="311"/>
                  </a:cubicBezTo>
                  <a:moveTo>
                    <a:pt x="987" y="312"/>
                  </a:moveTo>
                  <a:cubicBezTo>
                    <a:pt x="983" y="312"/>
                    <a:pt x="979" y="312"/>
                    <a:pt x="975" y="311"/>
                  </a:cubicBezTo>
                  <a:cubicBezTo>
                    <a:pt x="975" y="315"/>
                    <a:pt x="975" y="315"/>
                    <a:pt x="975" y="315"/>
                  </a:cubicBezTo>
                  <a:cubicBezTo>
                    <a:pt x="979" y="316"/>
                    <a:pt x="983" y="316"/>
                    <a:pt x="987" y="316"/>
                  </a:cubicBezTo>
                  <a:cubicBezTo>
                    <a:pt x="987" y="312"/>
                    <a:pt x="987" y="312"/>
                    <a:pt x="987" y="312"/>
                  </a:cubicBezTo>
                  <a:moveTo>
                    <a:pt x="1007" y="312"/>
                  </a:moveTo>
                  <a:cubicBezTo>
                    <a:pt x="995" y="312"/>
                    <a:pt x="995" y="312"/>
                    <a:pt x="995" y="312"/>
                  </a:cubicBezTo>
                  <a:cubicBezTo>
                    <a:pt x="995" y="316"/>
                    <a:pt x="995" y="316"/>
                    <a:pt x="995" y="316"/>
                  </a:cubicBezTo>
                  <a:cubicBezTo>
                    <a:pt x="1007" y="316"/>
                    <a:pt x="1007" y="316"/>
                    <a:pt x="1007" y="316"/>
                  </a:cubicBezTo>
                  <a:cubicBezTo>
                    <a:pt x="1007" y="312"/>
                    <a:pt x="1007" y="312"/>
                    <a:pt x="1007" y="312"/>
                  </a:cubicBezTo>
                  <a:moveTo>
                    <a:pt x="1027" y="312"/>
                  </a:moveTo>
                  <a:cubicBezTo>
                    <a:pt x="1015" y="312"/>
                    <a:pt x="1015" y="312"/>
                    <a:pt x="1015" y="312"/>
                  </a:cubicBezTo>
                  <a:cubicBezTo>
                    <a:pt x="1015" y="316"/>
                    <a:pt x="1015" y="316"/>
                    <a:pt x="1015" y="316"/>
                  </a:cubicBezTo>
                  <a:cubicBezTo>
                    <a:pt x="1027" y="316"/>
                    <a:pt x="1027" y="316"/>
                    <a:pt x="1027" y="316"/>
                  </a:cubicBezTo>
                  <a:cubicBezTo>
                    <a:pt x="1027" y="312"/>
                    <a:pt x="1027" y="312"/>
                    <a:pt x="1027" y="312"/>
                  </a:cubicBezTo>
                  <a:moveTo>
                    <a:pt x="1047" y="312"/>
                  </a:moveTo>
                  <a:cubicBezTo>
                    <a:pt x="1035" y="312"/>
                    <a:pt x="1035" y="312"/>
                    <a:pt x="1035" y="312"/>
                  </a:cubicBezTo>
                  <a:cubicBezTo>
                    <a:pt x="1035" y="316"/>
                    <a:pt x="1035" y="316"/>
                    <a:pt x="1035" y="316"/>
                  </a:cubicBezTo>
                  <a:cubicBezTo>
                    <a:pt x="1047" y="316"/>
                    <a:pt x="1047" y="316"/>
                    <a:pt x="1047" y="316"/>
                  </a:cubicBezTo>
                  <a:cubicBezTo>
                    <a:pt x="1047" y="312"/>
                    <a:pt x="1047" y="312"/>
                    <a:pt x="1047" y="312"/>
                  </a:cubicBezTo>
                  <a:moveTo>
                    <a:pt x="1067" y="312"/>
                  </a:moveTo>
                  <a:cubicBezTo>
                    <a:pt x="1055" y="312"/>
                    <a:pt x="1055" y="312"/>
                    <a:pt x="1055" y="312"/>
                  </a:cubicBezTo>
                  <a:cubicBezTo>
                    <a:pt x="1055" y="316"/>
                    <a:pt x="1055" y="316"/>
                    <a:pt x="1055" y="316"/>
                  </a:cubicBezTo>
                  <a:cubicBezTo>
                    <a:pt x="1067" y="316"/>
                    <a:pt x="1067" y="316"/>
                    <a:pt x="1067" y="316"/>
                  </a:cubicBezTo>
                  <a:cubicBezTo>
                    <a:pt x="1067" y="312"/>
                    <a:pt x="1067" y="312"/>
                    <a:pt x="1067" y="312"/>
                  </a:cubicBezTo>
                  <a:moveTo>
                    <a:pt x="1087" y="312"/>
                  </a:moveTo>
                  <a:cubicBezTo>
                    <a:pt x="1075" y="312"/>
                    <a:pt x="1075" y="312"/>
                    <a:pt x="1075" y="312"/>
                  </a:cubicBezTo>
                  <a:cubicBezTo>
                    <a:pt x="1075" y="316"/>
                    <a:pt x="1075" y="316"/>
                    <a:pt x="1075" y="316"/>
                  </a:cubicBezTo>
                  <a:cubicBezTo>
                    <a:pt x="1087" y="316"/>
                    <a:pt x="1087" y="316"/>
                    <a:pt x="1087" y="316"/>
                  </a:cubicBezTo>
                  <a:cubicBezTo>
                    <a:pt x="1087" y="312"/>
                    <a:pt x="1087" y="312"/>
                    <a:pt x="1087" y="312"/>
                  </a:cubicBezTo>
                  <a:moveTo>
                    <a:pt x="1107" y="312"/>
                  </a:moveTo>
                  <a:cubicBezTo>
                    <a:pt x="1095" y="312"/>
                    <a:pt x="1095" y="312"/>
                    <a:pt x="1095" y="312"/>
                  </a:cubicBezTo>
                  <a:cubicBezTo>
                    <a:pt x="1095" y="316"/>
                    <a:pt x="1095" y="316"/>
                    <a:pt x="1095" y="316"/>
                  </a:cubicBezTo>
                  <a:cubicBezTo>
                    <a:pt x="1107" y="316"/>
                    <a:pt x="1107" y="316"/>
                    <a:pt x="1107" y="316"/>
                  </a:cubicBezTo>
                  <a:cubicBezTo>
                    <a:pt x="1107" y="312"/>
                    <a:pt x="1107" y="312"/>
                    <a:pt x="1107" y="312"/>
                  </a:cubicBezTo>
                  <a:moveTo>
                    <a:pt x="1127" y="312"/>
                  </a:moveTo>
                  <a:cubicBezTo>
                    <a:pt x="1115" y="312"/>
                    <a:pt x="1115" y="312"/>
                    <a:pt x="1115" y="312"/>
                  </a:cubicBezTo>
                  <a:cubicBezTo>
                    <a:pt x="1115" y="316"/>
                    <a:pt x="1115" y="316"/>
                    <a:pt x="1115" y="316"/>
                  </a:cubicBezTo>
                  <a:cubicBezTo>
                    <a:pt x="1127" y="316"/>
                    <a:pt x="1127" y="316"/>
                    <a:pt x="1127" y="316"/>
                  </a:cubicBezTo>
                  <a:cubicBezTo>
                    <a:pt x="1127" y="312"/>
                    <a:pt x="1127" y="312"/>
                    <a:pt x="1127" y="312"/>
                  </a:cubicBezTo>
                  <a:moveTo>
                    <a:pt x="1147" y="312"/>
                  </a:moveTo>
                  <a:cubicBezTo>
                    <a:pt x="1135" y="312"/>
                    <a:pt x="1135" y="312"/>
                    <a:pt x="1135" y="312"/>
                  </a:cubicBezTo>
                  <a:cubicBezTo>
                    <a:pt x="1135" y="316"/>
                    <a:pt x="1135" y="316"/>
                    <a:pt x="1135" y="316"/>
                  </a:cubicBezTo>
                  <a:cubicBezTo>
                    <a:pt x="1147" y="316"/>
                    <a:pt x="1147" y="316"/>
                    <a:pt x="1147" y="316"/>
                  </a:cubicBezTo>
                  <a:cubicBezTo>
                    <a:pt x="1147" y="312"/>
                    <a:pt x="1147" y="312"/>
                    <a:pt x="1147" y="312"/>
                  </a:cubicBezTo>
                  <a:moveTo>
                    <a:pt x="1167" y="312"/>
                  </a:moveTo>
                  <a:cubicBezTo>
                    <a:pt x="1155" y="312"/>
                    <a:pt x="1155" y="312"/>
                    <a:pt x="1155" y="312"/>
                  </a:cubicBezTo>
                  <a:cubicBezTo>
                    <a:pt x="1155" y="316"/>
                    <a:pt x="1155" y="316"/>
                    <a:pt x="1155" y="316"/>
                  </a:cubicBezTo>
                  <a:cubicBezTo>
                    <a:pt x="1167" y="316"/>
                    <a:pt x="1167" y="316"/>
                    <a:pt x="1167" y="316"/>
                  </a:cubicBezTo>
                  <a:cubicBezTo>
                    <a:pt x="1167" y="312"/>
                    <a:pt x="1167" y="312"/>
                    <a:pt x="1167" y="312"/>
                  </a:cubicBezTo>
                  <a:moveTo>
                    <a:pt x="1187" y="312"/>
                  </a:moveTo>
                  <a:cubicBezTo>
                    <a:pt x="1175" y="312"/>
                    <a:pt x="1175" y="312"/>
                    <a:pt x="1175" y="312"/>
                  </a:cubicBezTo>
                  <a:cubicBezTo>
                    <a:pt x="1175" y="316"/>
                    <a:pt x="1175" y="316"/>
                    <a:pt x="1175" y="316"/>
                  </a:cubicBezTo>
                  <a:cubicBezTo>
                    <a:pt x="1187" y="316"/>
                    <a:pt x="1187" y="316"/>
                    <a:pt x="1187" y="316"/>
                  </a:cubicBezTo>
                  <a:cubicBezTo>
                    <a:pt x="1187" y="312"/>
                    <a:pt x="1187" y="312"/>
                    <a:pt x="1187" y="312"/>
                  </a:cubicBezTo>
                  <a:moveTo>
                    <a:pt x="1207" y="312"/>
                  </a:moveTo>
                  <a:cubicBezTo>
                    <a:pt x="1195" y="312"/>
                    <a:pt x="1195" y="312"/>
                    <a:pt x="1195" y="312"/>
                  </a:cubicBezTo>
                  <a:cubicBezTo>
                    <a:pt x="1195" y="316"/>
                    <a:pt x="1195" y="316"/>
                    <a:pt x="1195" y="316"/>
                  </a:cubicBezTo>
                  <a:cubicBezTo>
                    <a:pt x="1207" y="316"/>
                    <a:pt x="1207" y="316"/>
                    <a:pt x="1207" y="316"/>
                  </a:cubicBezTo>
                  <a:cubicBezTo>
                    <a:pt x="1207" y="312"/>
                    <a:pt x="1207" y="312"/>
                    <a:pt x="1207" y="312"/>
                  </a:cubicBezTo>
                  <a:moveTo>
                    <a:pt x="1227" y="312"/>
                  </a:moveTo>
                  <a:cubicBezTo>
                    <a:pt x="1215" y="312"/>
                    <a:pt x="1215" y="312"/>
                    <a:pt x="1215" y="312"/>
                  </a:cubicBezTo>
                  <a:cubicBezTo>
                    <a:pt x="1215" y="316"/>
                    <a:pt x="1215" y="316"/>
                    <a:pt x="1215" y="316"/>
                  </a:cubicBezTo>
                  <a:cubicBezTo>
                    <a:pt x="1227" y="316"/>
                    <a:pt x="1227" y="316"/>
                    <a:pt x="1227" y="316"/>
                  </a:cubicBezTo>
                  <a:cubicBezTo>
                    <a:pt x="1227" y="312"/>
                    <a:pt x="1227" y="312"/>
                    <a:pt x="1227" y="312"/>
                  </a:cubicBezTo>
                  <a:moveTo>
                    <a:pt x="1247" y="312"/>
                  </a:moveTo>
                  <a:cubicBezTo>
                    <a:pt x="1235" y="312"/>
                    <a:pt x="1235" y="312"/>
                    <a:pt x="1235" y="312"/>
                  </a:cubicBezTo>
                  <a:cubicBezTo>
                    <a:pt x="1235" y="316"/>
                    <a:pt x="1235" y="316"/>
                    <a:pt x="1235" y="316"/>
                  </a:cubicBezTo>
                  <a:cubicBezTo>
                    <a:pt x="1247" y="316"/>
                    <a:pt x="1247" y="316"/>
                    <a:pt x="1247" y="316"/>
                  </a:cubicBezTo>
                  <a:cubicBezTo>
                    <a:pt x="1247" y="312"/>
                    <a:pt x="1247" y="312"/>
                    <a:pt x="1247" y="312"/>
                  </a:cubicBezTo>
                  <a:moveTo>
                    <a:pt x="1267" y="312"/>
                  </a:moveTo>
                  <a:cubicBezTo>
                    <a:pt x="1255" y="312"/>
                    <a:pt x="1255" y="312"/>
                    <a:pt x="1255" y="312"/>
                  </a:cubicBezTo>
                  <a:cubicBezTo>
                    <a:pt x="1255" y="316"/>
                    <a:pt x="1255" y="316"/>
                    <a:pt x="1255" y="316"/>
                  </a:cubicBezTo>
                  <a:cubicBezTo>
                    <a:pt x="1267" y="316"/>
                    <a:pt x="1267" y="316"/>
                    <a:pt x="1267" y="316"/>
                  </a:cubicBezTo>
                  <a:cubicBezTo>
                    <a:pt x="1267" y="312"/>
                    <a:pt x="1267" y="312"/>
                    <a:pt x="1267" y="312"/>
                  </a:cubicBezTo>
                  <a:moveTo>
                    <a:pt x="1287" y="312"/>
                  </a:moveTo>
                  <a:cubicBezTo>
                    <a:pt x="1275" y="312"/>
                    <a:pt x="1275" y="312"/>
                    <a:pt x="1275" y="312"/>
                  </a:cubicBezTo>
                  <a:cubicBezTo>
                    <a:pt x="1275" y="316"/>
                    <a:pt x="1275" y="316"/>
                    <a:pt x="1275" y="316"/>
                  </a:cubicBezTo>
                  <a:cubicBezTo>
                    <a:pt x="1287" y="316"/>
                    <a:pt x="1287" y="316"/>
                    <a:pt x="1287" y="316"/>
                  </a:cubicBezTo>
                  <a:cubicBezTo>
                    <a:pt x="1287" y="312"/>
                    <a:pt x="1287" y="312"/>
                    <a:pt x="1287" y="312"/>
                  </a:cubicBezTo>
                  <a:moveTo>
                    <a:pt x="1307" y="312"/>
                  </a:moveTo>
                  <a:cubicBezTo>
                    <a:pt x="1295" y="312"/>
                    <a:pt x="1295" y="312"/>
                    <a:pt x="1295" y="312"/>
                  </a:cubicBezTo>
                  <a:cubicBezTo>
                    <a:pt x="1295" y="316"/>
                    <a:pt x="1295" y="316"/>
                    <a:pt x="1295" y="316"/>
                  </a:cubicBezTo>
                  <a:cubicBezTo>
                    <a:pt x="1307" y="316"/>
                    <a:pt x="1307" y="316"/>
                    <a:pt x="1307" y="316"/>
                  </a:cubicBezTo>
                  <a:cubicBezTo>
                    <a:pt x="1307" y="312"/>
                    <a:pt x="1307" y="312"/>
                    <a:pt x="1307" y="312"/>
                  </a:cubicBezTo>
                  <a:moveTo>
                    <a:pt x="1327" y="312"/>
                  </a:moveTo>
                  <a:cubicBezTo>
                    <a:pt x="1315" y="312"/>
                    <a:pt x="1315" y="312"/>
                    <a:pt x="1315" y="312"/>
                  </a:cubicBezTo>
                  <a:cubicBezTo>
                    <a:pt x="1315" y="316"/>
                    <a:pt x="1315" y="316"/>
                    <a:pt x="1315" y="316"/>
                  </a:cubicBezTo>
                  <a:cubicBezTo>
                    <a:pt x="1327" y="316"/>
                    <a:pt x="1327" y="316"/>
                    <a:pt x="1327" y="316"/>
                  </a:cubicBezTo>
                  <a:cubicBezTo>
                    <a:pt x="1327" y="312"/>
                    <a:pt x="1327" y="312"/>
                    <a:pt x="1327" y="312"/>
                  </a:cubicBezTo>
                  <a:moveTo>
                    <a:pt x="1347" y="312"/>
                  </a:moveTo>
                  <a:cubicBezTo>
                    <a:pt x="1335" y="312"/>
                    <a:pt x="1335" y="312"/>
                    <a:pt x="1335" y="312"/>
                  </a:cubicBezTo>
                  <a:cubicBezTo>
                    <a:pt x="1335" y="316"/>
                    <a:pt x="1335" y="316"/>
                    <a:pt x="1335" y="316"/>
                  </a:cubicBezTo>
                  <a:cubicBezTo>
                    <a:pt x="1347" y="316"/>
                    <a:pt x="1347" y="316"/>
                    <a:pt x="1347" y="316"/>
                  </a:cubicBezTo>
                  <a:cubicBezTo>
                    <a:pt x="1347" y="312"/>
                    <a:pt x="1347" y="312"/>
                    <a:pt x="1347" y="312"/>
                  </a:cubicBezTo>
                  <a:moveTo>
                    <a:pt x="1367" y="312"/>
                  </a:moveTo>
                  <a:cubicBezTo>
                    <a:pt x="1355" y="312"/>
                    <a:pt x="1355" y="312"/>
                    <a:pt x="1355" y="312"/>
                  </a:cubicBezTo>
                  <a:cubicBezTo>
                    <a:pt x="1355" y="316"/>
                    <a:pt x="1355" y="316"/>
                    <a:pt x="1355" y="316"/>
                  </a:cubicBezTo>
                  <a:cubicBezTo>
                    <a:pt x="1367" y="316"/>
                    <a:pt x="1367" y="316"/>
                    <a:pt x="1367" y="316"/>
                  </a:cubicBezTo>
                  <a:cubicBezTo>
                    <a:pt x="1367" y="312"/>
                    <a:pt x="1367" y="312"/>
                    <a:pt x="1367" y="312"/>
                  </a:cubicBezTo>
                  <a:moveTo>
                    <a:pt x="1387" y="312"/>
                  </a:moveTo>
                  <a:cubicBezTo>
                    <a:pt x="1375" y="312"/>
                    <a:pt x="1375" y="312"/>
                    <a:pt x="1375" y="312"/>
                  </a:cubicBezTo>
                  <a:cubicBezTo>
                    <a:pt x="1375" y="316"/>
                    <a:pt x="1375" y="316"/>
                    <a:pt x="1375" y="316"/>
                  </a:cubicBezTo>
                  <a:cubicBezTo>
                    <a:pt x="1387" y="316"/>
                    <a:pt x="1387" y="316"/>
                    <a:pt x="1387" y="316"/>
                  </a:cubicBezTo>
                  <a:cubicBezTo>
                    <a:pt x="1387" y="312"/>
                    <a:pt x="1387" y="312"/>
                    <a:pt x="1387" y="312"/>
                  </a:cubicBezTo>
                  <a:moveTo>
                    <a:pt x="1407" y="312"/>
                  </a:moveTo>
                  <a:cubicBezTo>
                    <a:pt x="1395" y="312"/>
                    <a:pt x="1395" y="312"/>
                    <a:pt x="1395" y="312"/>
                  </a:cubicBezTo>
                  <a:cubicBezTo>
                    <a:pt x="1395" y="316"/>
                    <a:pt x="1395" y="316"/>
                    <a:pt x="1395" y="316"/>
                  </a:cubicBezTo>
                  <a:cubicBezTo>
                    <a:pt x="1407" y="316"/>
                    <a:pt x="1407" y="316"/>
                    <a:pt x="1407" y="316"/>
                  </a:cubicBezTo>
                  <a:cubicBezTo>
                    <a:pt x="1407" y="312"/>
                    <a:pt x="1407" y="312"/>
                    <a:pt x="1407" y="312"/>
                  </a:cubicBezTo>
                  <a:moveTo>
                    <a:pt x="1427" y="312"/>
                  </a:moveTo>
                  <a:cubicBezTo>
                    <a:pt x="1415" y="312"/>
                    <a:pt x="1415" y="312"/>
                    <a:pt x="1415" y="312"/>
                  </a:cubicBezTo>
                  <a:cubicBezTo>
                    <a:pt x="1415" y="316"/>
                    <a:pt x="1415" y="316"/>
                    <a:pt x="1415" y="316"/>
                  </a:cubicBezTo>
                  <a:cubicBezTo>
                    <a:pt x="1427" y="316"/>
                    <a:pt x="1427" y="316"/>
                    <a:pt x="1427" y="316"/>
                  </a:cubicBezTo>
                  <a:cubicBezTo>
                    <a:pt x="1427" y="312"/>
                    <a:pt x="1427" y="312"/>
                    <a:pt x="1427" y="312"/>
                  </a:cubicBezTo>
                  <a:moveTo>
                    <a:pt x="1447" y="312"/>
                  </a:moveTo>
                  <a:cubicBezTo>
                    <a:pt x="1435" y="312"/>
                    <a:pt x="1435" y="312"/>
                    <a:pt x="1435" y="312"/>
                  </a:cubicBezTo>
                  <a:cubicBezTo>
                    <a:pt x="1435" y="316"/>
                    <a:pt x="1435" y="316"/>
                    <a:pt x="1435" y="316"/>
                  </a:cubicBezTo>
                  <a:cubicBezTo>
                    <a:pt x="1447" y="316"/>
                    <a:pt x="1447" y="316"/>
                    <a:pt x="1447" y="316"/>
                  </a:cubicBezTo>
                  <a:cubicBezTo>
                    <a:pt x="1447" y="312"/>
                    <a:pt x="1447" y="312"/>
                    <a:pt x="1447" y="312"/>
                  </a:cubicBezTo>
                  <a:moveTo>
                    <a:pt x="1467" y="312"/>
                  </a:moveTo>
                  <a:cubicBezTo>
                    <a:pt x="1455" y="312"/>
                    <a:pt x="1455" y="312"/>
                    <a:pt x="1455" y="312"/>
                  </a:cubicBezTo>
                  <a:cubicBezTo>
                    <a:pt x="1455" y="316"/>
                    <a:pt x="1455" y="316"/>
                    <a:pt x="1455" y="316"/>
                  </a:cubicBezTo>
                  <a:cubicBezTo>
                    <a:pt x="1467" y="316"/>
                    <a:pt x="1467" y="316"/>
                    <a:pt x="1467" y="316"/>
                  </a:cubicBezTo>
                  <a:cubicBezTo>
                    <a:pt x="1467" y="312"/>
                    <a:pt x="1467" y="312"/>
                    <a:pt x="1467" y="312"/>
                  </a:cubicBezTo>
                  <a:moveTo>
                    <a:pt x="1487" y="312"/>
                  </a:moveTo>
                  <a:cubicBezTo>
                    <a:pt x="1475" y="312"/>
                    <a:pt x="1475" y="312"/>
                    <a:pt x="1475" y="312"/>
                  </a:cubicBezTo>
                  <a:cubicBezTo>
                    <a:pt x="1475" y="316"/>
                    <a:pt x="1475" y="316"/>
                    <a:pt x="1475" y="316"/>
                  </a:cubicBezTo>
                  <a:cubicBezTo>
                    <a:pt x="1487" y="316"/>
                    <a:pt x="1487" y="316"/>
                    <a:pt x="1487" y="316"/>
                  </a:cubicBezTo>
                  <a:cubicBezTo>
                    <a:pt x="1487" y="312"/>
                    <a:pt x="1487" y="312"/>
                    <a:pt x="1487" y="312"/>
                  </a:cubicBezTo>
                  <a:moveTo>
                    <a:pt x="1507" y="312"/>
                  </a:moveTo>
                  <a:cubicBezTo>
                    <a:pt x="1495" y="312"/>
                    <a:pt x="1495" y="312"/>
                    <a:pt x="1495" y="312"/>
                  </a:cubicBezTo>
                  <a:cubicBezTo>
                    <a:pt x="1495" y="316"/>
                    <a:pt x="1495" y="316"/>
                    <a:pt x="1495" y="316"/>
                  </a:cubicBezTo>
                  <a:cubicBezTo>
                    <a:pt x="1507" y="316"/>
                    <a:pt x="1507" y="316"/>
                    <a:pt x="1507" y="316"/>
                  </a:cubicBezTo>
                  <a:cubicBezTo>
                    <a:pt x="1507" y="312"/>
                    <a:pt x="1507" y="312"/>
                    <a:pt x="1507" y="312"/>
                  </a:cubicBezTo>
                  <a:moveTo>
                    <a:pt x="1527" y="312"/>
                  </a:moveTo>
                  <a:cubicBezTo>
                    <a:pt x="1515" y="312"/>
                    <a:pt x="1515" y="312"/>
                    <a:pt x="1515" y="312"/>
                  </a:cubicBezTo>
                  <a:cubicBezTo>
                    <a:pt x="1515" y="316"/>
                    <a:pt x="1515" y="316"/>
                    <a:pt x="1515" y="316"/>
                  </a:cubicBezTo>
                  <a:cubicBezTo>
                    <a:pt x="1527" y="316"/>
                    <a:pt x="1527" y="316"/>
                    <a:pt x="1527" y="316"/>
                  </a:cubicBezTo>
                  <a:cubicBezTo>
                    <a:pt x="1527" y="312"/>
                    <a:pt x="1527" y="312"/>
                    <a:pt x="1527" y="312"/>
                  </a:cubicBezTo>
                  <a:moveTo>
                    <a:pt x="1547" y="312"/>
                  </a:moveTo>
                  <a:cubicBezTo>
                    <a:pt x="1535" y="312"/>
                    <a:pt x="1535" y="312"/>
                    <a:pt x="1535" y="312"/>
                  </a:cubicBezTo>
                  <a:cubicBezTo>
                    <a:pt x="1535" y="316"/>
                    <a:pt x="1535" y="316"/>
                    <a:pt x="1535" y="316"/>
                  </a:cubicBezTo>
                  <a:cubicBezTo>
                    <a:pt x="1547" y="316"/>
                    <a:pt x="1547" y="316"/>
                    <a:pt x="1547" y="316"/>
                  </a:cubicBezTo>
                  <a:cubicBezTo>
                    <a:pt x="1547" y="312"/>
                    <a:pt x="1547" y="312"/>
                    <a:pt x="1547" y="312"/>
                  </a:cubicBezTo>
                  <a:moveTo>
                    <a:pt x="1567" y="312"/>
                  </a:moveTo>
                  <a:cubicBezTo>
                    <a:pt x="1555" y="312"/>
                    <a:pt x="1555" y="312"/>
                    <a:pt x="1555" y="312"/>
                  </a:cubicBezTo>
                  <a:cubicBezTo>
                    <a:pt x="1555" y="316"/>
                    <a:pt x="1555" y="316"/>
                    <a:pt x="1555" y="316"/>
                  </a:cubicBezTo>
                  <a:cubicBezTo>
                    <a:pt x="1567" y="316"/>
                    <a:pt x="1567" y="316"/>
                    <a:pt x="1567" y="316"/>
                  </a:cubicBezTo>
                  <a:cubicBezTo>
                    <a:pt x="1567" y="312"/>
                    <a:pt x="1567" y="312"/>
                    <a:pt x="1567" y="312"/>
                  </a:cubicBezTo>
                  <a:moveTo>
                    <a:pt x="1587" y="312"/>
                  </a:moveTo>
                  <a:cubicBezTo>
                    <a:pt x="1575" y="312"/>
                    <a:pt x="1575" y="312"/>
                    <a:pt x="1575" y="312"/>
                  </a:cubicBezTo>
                  <a:cubicBezTo>
                    <a:pt x="1575" y="316"/>
                    <a:pt x="1575" y="316"/>
                    <a:pt x="1575" y="316"/>
                  </a:cubicBezTo>
                  <a:cubicBezTo>
                    <a:pt x="1587" y="316"/>
                    <a:pt x="1587" y="316"/>
                    <a:pt x="1587" y="316"/>
                  </a:cubicBezTo>
                  <a:cubicBezTo>
                    <a:pt x="1587" y="312"/>
                    <a:pt x="1587" y="312"/>
                    <a:pt x="1587" y="312"/>
                  </a:cubicBezTo>
                  <a:moveTo>
                    <a:pt x="1607" y="312"/>
                  </a:moveTo>
                  <a:cubicBezTo>
                    <a:pt x="1595" y="312"/>
                    <a:pt x="1595" y="312"/>
                    <a:pt x="1595" y="312"/>
                  </a:cubicBezTo>
                  <a:cubicBezTo>
                    <a:pt x="1595" y="316"/>
                    <a:pt x="1595" y="316"/>
                    <a:pt x="1595" y="316"/>
                  </a:cubicBezTo>
                  <a:cubicBezTo>
                    <a:pt x="1607" y="316"/>
                    <a:pt x="1607" y="316"/>
                    <a:pt x="1607" y="316"/>
                  </a:cubicBezTo>
                  <a:cubicBezTo>
                    <a:pt x="1607" y="312"/>
                    <a:pt x="1607" y="312"/>
                    <a:pt x="1607" y="312"/>
                  </a:cubicBezTo>
                  <a:moveTo>
                    <a:pt x="1627" y="312"/>
                  </a:moveTo>
                  <a:cubicBezTo>
                    <a:pt x="1615" y="312"/>
                    <a:pt x="1615" y="312"/>
                    <a:pt x="1615" y="312"/>
                  </a:cubicBezTo>
                  <a:cubicBezTo>
                    <a:pt x="1615" y="316"/>
                    <a:pt x="1615" y="316"/>
                    <a:pt x="1615" y="316"/>
                  </a:cubicBezTo>
                  <a:cubicBezTo>
                    <a:pt x="1627" y="316"/>
                    <a:pt x="1627" y="316"/>
                    <a:pt x="1627" y="316"/>
                  </a:cubicBezTo>
                  <a:cubicBezTo>
                    <a:pt x="1627" y="312"/>
                    <a:pt x="1627" y="312"/>
                    <a:pt x="1627" y="312"/>
                  </a:cubicBezTo>
                  <a:moveTo>
                    <a:pt x="1647" y="312"/>
                  </a:moveTo>
                  <a:cubicBezTo>
                    <a:pt x="1635" y="312"/>
                    <a:pt x="1635" y="312"/>
                    <a:pt x="1635" y="312"/>
                  </a:cubicBezTo>
                  <a:cubicBezTo>
                    <a:pt x="1635" y="316"/>
                    <a:pt x="1635" y="316"/>
                    <a:pt x="1635" y="316"/>
                  </a:cubicBezTo>
                  <a:cubicBezTo>
                    <a:pt x="1647" y="316"/>
                    <a:pt x="1647" y="316"/>
                    <a:pt x="1647" y="316"/>
                  </a:cubicBezTo>
                  <a:cubicBezTo>
                    <a:pt x="1647" y="312"/>
                    <a:pt x="1647" y="312"/>
                    <a:pt x="1647" y="312"/>
                  </a:cubicBezTo>
                  <a:moveTo>
                    <a:pt x="1667" y="312"/>
                  </a:moveTo>
                  <a:cubicBezTo>
                    <a:pt x="1655" y="312"/>
                    <a:pt x="1655" y="312"/>
                    <a:pt x="1655" y="312"/>
                  </a:cubicBezTo>
                  <a:cubicBezTo>
                    <a:pt x="1655" y="316"/>
                    <a:pt x="1655" y="316"/>
                    <a:pt x="1655" y="316"/>
                  </a:cubicBezTo>
                  <a:cubicBezTo>
                    <a:pt x="1667" y="316"/>
                    <a:pt x="1667" y="316"/>
                    <a:pt x="1667" y="316"/>
                  </a:cubicBezTo>
                  <a:cubicBezTo>
                    <a:pt x="1667" y="312"/>
                    <a:pt x="1667" y="312"/>
                    <a:pt x="1667" y="312"/>
                  </a:cubicBezTo>
                  <a:moveTo>
                    <a:pt x="1687" y="312"/>
                  </a:moveTo>
                  <a:cubicBezTo>
                    <a:pt x="1675" y="312"/>
                    <a:pt x="1675" y="312"/>
                    <a:pt x="1675" y="312"/>
                  </a:cubicBezTo>
                  <a:cubicBezTo>
                    <a:pt x="1675" y="316"/>
                    <a:pt x="1675" y="316"/>
                    <a:pt x="1675" y="316"/>
                  </a:cubicBezTo>
                  <a:cubicBezTo>
                    <a:pt x="1687" y="316"/>
                    <a:pt x="1687" y="316"/>
                    <a:pt x="1687" y="316"/>
                  </a:cubicBezTo>
                  <a:cubicBezTo>
                    <a:pt x="1687" y="312"/>
                    <a:pt x="1687" y="312"/>
                    <a:pt x="1687" y="312"/>
                  </a:cubicBezTo>
                  <a:moveTo>
                    <a:pt x="1707" y="312"/>
                  </a:moveTo>
                  <a:cubicBezTo>
                    <a:pt x="1695" y="312"/>
                    <a:pt x="1695" y="312"/>
                    <a:pt x="1695" y="312"/>
                  </a:cubicBezTo>
                  <a:cubicBezTo>
                    <a:pt x="1695" y="316"/>
                    <a:pt x="1695" y="316"/>
                    <a:pt x="1695" y="316"/>
                  </a:cubicBezTo>
                  <a:cubicBezTo>
                    <a:pt x="1707" y="316"/>
                    <a:pt x="1707" y="316"/>
                    <a:pt x="1707" y="316"/>
                  </a:cubicBezTo>
                  <a:cubicBezTo>
                    <a:pt x="1707" y="312"/>
                    <a:pt x="1707" y="312"/>
                    <a:pt x="1707" y="312"/>
                  </a:cubicBezTo>
                  <a:moveTo>
                    <a:pt x="1727" y="312"/>
                  </a:moveTo>
                  <a:cubicBezTo>
                    <a:pt x="1715" y="312"/>
                    <a:pt x="1715" y="312"/>
                    <a:pt x="1715" y="312"/>
                  </a:cubicBezTo>
                  <a:cubicBezTo>
                    <a:pt x="1715" y="316"/>
                    <a:pt x="1715" y="316"/>
                    <a:pt x="1715" y="316"/>
                  </a:cubicBezTo>
                  <a:cubicBezTo>
                    <a:pt x="1727" y="316"/>
                    <a:pt x="1727" y="316"/>
                    <a:pt x="1727" y="316"/>
                  </a:cubicBezTo>
                  <a:cubicBezTo>
                    <a:pt x="1727" y="312"/>
                    <a:pt x="1727" y="312"/>
                    <a:pt x="1727" y="312"/>
                  </a:cubicBezTo>
                  <a:moveTo>
                    <a:pt x="1747" y="312"/>
                  </a:moveTo>
                  <a:cubicBezTo>
                    <a:pt x="1735" y="312"/>
                    <a:pt x="1735" y="312"/>
                    <a:pt x="1735" y="312"/>
                  </a:cubicBezTo>
                  <a:cubicBezTo>
                    <a:pt x="1735" y="316"/>
                    <a:pt x="1735" y="316"/>
                    <a:pt x="1735" y="316"/>
                  </a:cubicBezTo>
                  <a:cubicBezTo>
                    <a:pt x="1747" y="316"/>
                    <a:pt x="1747" y="316"/>
                    <a:pt x="1747" y="316"/>
                  </a:cubicBezTo>
                  <a:cubicBezTo>
                    <a:pt x="1747" y="312"/>
                    <a:pt x="1747" y="312"/>
                    <a:pt x="1747" y="312"/>
                  </a:cubicBezTo>
                  <a:moveTo>
                    <a:pt x="1767" y="312"/>
                  </a:moveTo>
                  <a:cubicBezTo>
                    <a:pt x="1755" y="312"/>
                    <a:pt x="1755" y="312"/>
                    <a:pt x="1755" y="312"/>
                  </a:cubicBezTo>
                  <a:cubicBezTo>
                    <a:pt x="1755" y="316"/>
                    <a:pt x="1755" y="316"/>
                    <a:pt x="1755" y="316"/>
                  </a:cubicBezTo>
                  <a:cubicBezTo>
                    <a:pt x="1767" y="316"/>
                    <a:pt x="1767" y="316"/>
                    <a:pt x="1767" y="316"/>
                  </a:cubicBezTo>
                  <a:cubicBezTo>
                    <a:pt x="1767" y="312"/>
                    <a:pt x="1767" y="312"/>
                    <a:pt x="1767" y="312"/>
                  </a:cubicBezTo>
                  <a:moveTo>
                    <a:pt x="1787" y="312"/>
                  </a:moveTo>
                  <a:cubicBezTo>
                    <a:pt x="1775" y="312"/>
                    <a:pt x="1775" y="312"/>
                    <a:pt x="1775" y="312"/>
                  </a:cubicBezTo>
                  <a:cubicBezTo>
                    <a:pt x="1775" y="316"/>
                    <a:pt x="1775" y="316"/>
                    <a:pt x="1775" y="316"/>
                  </a:cubicBezTo>
                  <a:cubicBezTo>
                    <a:pt x="1787" y="316"/>
                    <a:pt x="1787" y="316"/>
                    <a:pt x="1787" y="316"/>
                  </a:cubicBezTo>
                  <a:cubicBezTo>
                    <a:pt x="1787" y="312"/>
                    <a:pt x="1787" y="312"/>
                    <a:pt x="1787" y="312"/>
                  </a:cubicBezTo>
                  <a:moveTo>
                    <a:pt x="1807" y="312"/>
                  </a:moveTo>
                  <a:cubicBezTo>
                    <a:pt x="1795" y="312"/>
                    <a:pt x="1795" y="312"/>
                    <a:pt x="1795" y="312"/>
                  </a:cubicBezTo>
                  <a:cubicBezTo>
                    <a:pt x="1795" y="316"/>
                    <a:pt x="1795" y="316"/>
                    <a:pt x="1795" y="316"/>
                  </a:cubicBezTo>
                  <a:cubicBezTo>
                    <a:pt x="1807" y="316"/>
                    <a:pt x="1807" y="316"/>
                    <a:pt x="1807" y="316"/>
                  </a:cubicBezTo>
                  <a:cubicBezTo>
                    <a:pt x="1807" y="312"/>
                    <a:pt x="1807" y="312"/>
                    <a:pt x="1807" y="312"/>
                  </a:cubicBezTo>
                  <a:moveTo>
                    <a:pt x="1827" y="312"/>
                  </a:moveTo>
                  <a:cubicBezTo>
                    <a:pt x="1815" y="312"/>
                    <a:pt x="1815" y="312"/>
                    <a:pt x="1815" y="312"/>
                  </a:cubicBezTo>
                  <a:cubicBezTo>
                    <a:pt x="1815" y="316"/>
                    <a:pt x="1815" y="316"/>
                    <a:pt x="1815" y="316"/>
                  </a:cubicBezTo>
                  <a:cubicBezTo>
                    <a:pt x="1827" y="316"/>
                    <a:pt x="1827" y="316"/>
                    <a:pt x="1827" y="316"/>
                  </a:cubicBezTo>
                  <a:cubicBezTo>
                    <a:pt x="1827" y="312"/>
                    <a:pt x="1827" y="312"/>
                    <a:pt x="1827" y="312"/>
                  </a:cubicBezTo>
                  <a:moveTo>
                    <a:pt x="1847" y="312"/>
                  </a:moveTo>
                  <a:cubicBezTo>
                    <a:pt x="1835" y="312"/>
                    <a:pt x="1835" y="312"/>
                    <a:pt x="1835" y="312"/>
                  </a:cubicBezTo>
                  <a:cubicBezTo>
                    <a:pt x="1835" y="316"/>
                    <a:pt x="1835" y="316"/>
                    <a:pt x="1835" y="316"/>
                  </a:cubicBezTo>
                  <a:cubicBezTo>
                    <a:pt x="1847" y="316"/>
                    <a:pt x="1847" y="316"/>
                    <a:pt x="1847" y="316"/>
                  </a:cubicBezTo>
                  <a:cubicBezTo>
                    <a:pt x="1847" y="312"/>
                    <a:pt x="1847" y="312"/>
                    <a:pt x="1847" y="312"/>
                  </a:cubicBezTo>
                  <a:moveTo>
                    <a:pt x="1867" y="312"/>
                  </a:moveTo>
                  <a:cubicBezTo>
                    <a:pt x="1855" y="312"/>
                    <a:pt x="1855" y="312"/>
                    <a:pt x="1855" y="312"/>
                  </a:cubicBezTo>
                  <a:cubicBezTo>
                    <a:pt x="1855" y="316"/>
                    <a:pt x="1855" y="316"/>
                    <a:pt x="1855" y="316"/>
                  </a:cubicBezTo>
                  <a:cubicBezTo>
                    <a:pt x="1867" y="316"/>
                    <a:pt x="1867" y="316"/>
                    <a:pt x="1867" y="316"/>
                  </a:cubicBezTo>
                  <a:cubicBezTo>
                    <a:pt x="1867" y="312"/>
                    <a:pt x="1867" y="312"/>
                    <a:pt x="1867" y="312"/>
                  </a:cubicBezTo>
                  <a:moveTo>
                    <a:pt x="1887" y="312"/>
                  </a:moveTo>
                  <a:cubicBezTo>
                    <a:pt x="1875" y="312"/>
                    <a:pt x="1875" y="312"/>
                    <a:pt x="1875" y="312"/>
                  </a:cubicBezTo>
                  <a:cubicBezTo>
                    <a:pt x="1875" y="316"/>
                    <a:pt x="1875" y="316"/>
                    <a:pt x="1875" y="316"/>
                  </a:cubicBezTo>
                  <a:cubicBezTo>
                    <a:pt x="1887" y="316"/>
                    <a:pt x="1887" y="316"/>
                    <a:pt x="1887" y="316"/>
                  </a:cubicBezTo>
                  <a:cubicBezTo>
                    <a:pt x="1887" y="312"/>
                    <a:pt x="1887" y="312"/>
                    <a:pt x="1887" y="312"/>
                  </a:cubicBezTo>
                  <a:moveTo>
                    <a:pt x="1907" y="312"/>
                  </a:moveTo>
                  <a:cubicBezTo>
                    <a:pt x="1895" y="312"/>
                    <a:pt x="1895" y="312"/>
                    <a:pt x="1895" y="312"/>
                  </a:cubicBezTo>
                  <a:cubicBezTo>
                    <a:pt x="1895" y="316"/>
                    <a:pt x="1895" y="316"/>
                    <a:pt x="1895" y="316"/>
                  </a:cubicBezTo>
                  <a:cubicBezTo>
                    <a:pt x="1907" y="316"/>
                    <a:pt x="1907" y="316"/>
                    <a:pt x="1907" y="316"/>
                  </a:cubicBezTo>
                  <a:cubicBezTo>
                    <a:pt x="1907" y="312"/>
                    <a:pt x="1907" y="312"/>
                    <a:pt x="1907" y="312"/>
                  </a:cubicBezTo>
                  <a:moveTo>
                    <a:pt x="1927" y="312"/>
                  </a:moveTo>
                  <a:cubicBezTo>
                    <a:pt x="1915" y="312"/>
                    <a:pt x="1915" y="312"/>
                    <a:pt x="1915" y="312"/>
                  </a:cubicBezTo>
                  <a:cubicBezTo>
                    <a:pt x="1915" y="316"/>
                    <a:pt x="1915" y="316"/>
                    <a:pt x="1915" y="316"/>
                  </a:cubicBezTo>
                  <a:cubicBezTo>
                    <a:pt x="1927" y="316"/>
                    <a:pt x="1927" y="316"/>
                    <a:pt x="1927" y="316"/>
                  </a:cubicBezTo>
                  <a:cubicBezTo>
                    <a:pt x="1927" y="312"/>
                    <a:pt x="1927" y="312"/>
                    <a:pt x="1927" y="312"/>
                  </a:cubicBezTo>
                  <a:moveTo>
                    <a:pt x="1947" y="312"/>
                  </a:moveTo>
                  <a:cubicBezTo>
                    <a:pt x="1935" y="312"/>
                    <a:pt x="1935" y="312"/>
                    <a:pt x="1935" y="312"/>
                  </a:cubicBezTo>
                  <a:cubicBezTo>
                    <a:pt x="1935" y="316"/>
                    <a:pt x="1935" y="316"/>
                    <a:pt x="1935" y="316"/>
                  </a:cubicBezTo>
                  <a:cubicBezTo>
                    <a:pt x="1947" y="316"/>
                    <a:pt x="1947" y="316"/>
                    <a:pt x="1947" y="316"/>
                  </a:cubicBezTo>
                  <a:cubicBezTo>
                    <a:pt x="1947" y="312"/>
                    <a:pt x="1947" y="312"/>
                    <a:pt x="1947" y="312"/>
                  </a:cubicBezTo>
                  <a:moveTo>
                    <a:pt x="1967" y="312"/>
                  </a:moveTo>
                  <a:cubicBezTo>
                    <a:pt x="1955" y="312"/>
                    <a:pt x="1955" y="312"/>
                    <a:pt x="1955" y="312"/>
                  </a:cubicBezTo>
                  <a:cubicBezTo>
                    <a:pt x="1955" y="316"/>
                    <a:pt x="1955" y="316"/>
                    <a:pt x="1955" y="316"/>
                  </a:cubicBezTo>
                  <a:cubicBezTo>
                    <a:pt x="1967" y="316"/>
                    <a:pt x="1967" y="316"/>
                    <a:pt x="1967" y="316"/>
                  </a:cubicBezTo>
                  <a:cubicBezTo>
                    <a:pt x="1967" y="312"/>
                    <a:pt x="1967" y="312"/>
                    <a:pt x="1967" y="312"/>
                  </a:cubicBezTo>
                  <a:moveTo>
                    <a:pt x="1987" y="312"/>
                  </a:moveTo>
                  <a:cubicBezTo>
                    <a:pt x="1975" y="312"/>
                    <a:pt x="1975" y="312"/>
                    <a:pt x="1975" y="312"/>
                  </a:cubicBezTo>
                  <a:cubicBezTo>
                    <a:pt x="1975" y="316"/>
                    <a:pt x="1975" y="316"/>
                    <a:pt x="1975" y="316"/>
                  </a:cubicBezTo>
                  <a:cubicBezTo>
                    <a:pt x="1987" y="316"/>
                    <a:pt x="1987" y="316"/>
                    <a:pt x="1987" y="316"/>
                  </a:cubicBezTo>
                  <a:cubicBezTo>
                    <a:pt x="1987" y="312"/>
                    <a:pt x="1987" y="312"/>
                    <a:pt x="1987" y="312"/>
                  </a:cubicBezTo>
                  <a:moveTo>
                    <a:pt x="2007" y="312"/>
                  </a:moveTo>
                  <a:cubicBezTo>
                    <a:pt x="1995" y="312"/>
                    <a:pt x="1995" y="312"/>
                    <a:pt x="1995" y="312"/>
                  </a:cubicBezTo>
                  <a:cubicBezTo>
                    <a:pt x="1995" y="316"/>
                    <a:pt x="1995" y="316"/>
                    <a:pt x="1995" y="316"/>
                  </a:cubicBezTo>
                  <a:cubicBezTo>
                    <a:pt x="2007" y="316"/>
                    <a:pt x="2007" y="316"/>
                    <a:pt x="2007" y="316"/>
                  </a:cubicBezTo>
                  <a:cubicBezTo>
                    <a:pt x="2007" y="312"/>
                    <a:pt x="2007" y="312"/>
                    <a:pt x="2007" y="312"/>
                  </a:cubicBezTo>
                  <a:moveTo>
                    <a:pt x="2027" y="312"/>
                  </a:moveTo>
                  <a:cubicBezTo>
                    <a:pt x="2015" y="312"/>
                    <a:pt x="2015" y="312"/>
                    <a:pt x="2015" y="312"/>
                  </a:cubicBezTo>
                  <a:cubicBezTo>
                    <a:pt x="2015" y="316"/>
                    <a:pt x="2015" y="316"/>
                    <a:pt x="2015" y="316"/>
                  </a:cubicBezTo>
                  <a:cubicBezTo>
                    <a:pt x="2027" y="316"/>
                    <a:pt x="2027" y="316"/>
                    <a:pt x="2027" y="316"/>
                  </a:cubicBezTo>
                  <a:cubicBezTo>
                    <a:pt x="2027" y="312"/>
                    <a:pt x="2027" y="312"/>
                    <a:pt x="2027" y="312"/>
                  </a:cubicBezTo>
                  <a:moveTo>
                    <a:pt x="2047" y="312"/>
                  </a:moveTo>
                  <a:cubicBezTo>
                    <a:pt x="2035" y="312"/>
                    <a:pt x="2035" y="312"/>
                    <a:pt x="2035" y="312"/>
                  </a:cubicBezTo>
                  <a:cubicBezTo>
                    <a:pt x="2035" y="316"/>
                    <a:pt x="2035" y="316"/>
                    <a:pt x="2035" y="316"/>
                  </a:cubicBezTo>
                  <a:cubicBezTo>
                    <a:pt x="2047" y="316"/>
                    <a:pt x="2047" y="316"/>
                    <a:pt x="2047" y="316"/>
                  </a:cubicBezTo>
                  <a:cubicBezTo>
                    <a:pt x="2047" y="312"/>
                    <a:pt x="2047" y="312"/>
                    <a:pt x="2047" y="312"/>
                  </a:cubicBezTo>
                  <a:moveTo>
                    <a:pt x="2067" y="312"/>
                  </a:moveTo>
                  <a:cubicBezTo>
                    <a:pt x="2055" y="312"/>
                    <a:pt x="2055" y="312"/>
                    <a:pt x="2055" y="312"/>
                  </a:cubicBezTo>
                  <a:cubicBezTo>
                    <a:pt x="2055" y="316"/>
                    <a:pt x="2055" y="316"/>
                    <a:pt x="2055" y="316"/>
                  </a:cubicBezTo>
                  <a:cubicBezTo>
                    <a:pt x="2067" y="316"/>
                    <a:pt x="2067" y="316"/>
                    <a:pt x="2067" y="316"/>
                  </a:cubicBezTo>
                  <a:cubicBezTo>
                    <a:pt x="2067" y="312"/>
                    <a:pt x="2067" y="312"/>
                    <a:pt x="2067" y="312"/>
                  </a:cubicBezTo>
                  <a:moveTo>
                    <a:pt x="2087" y="312"/>
                  </a:moveTo>
                  <a:cubicBezTo>
                    <a:pt x="2075" y="312"/>
                    <a:pt x="2075" y="312"/>
                    <a:pt x="2075" y="312"/>
                  </a:cubicBezTo>
                  <a:cubicBezTo>
                    <a:pt x="2075" y="316"/>
                    <a:pt x="2075" y="316"/>
                    <a:pt x="2075" y="316"/>
                  </a:cubicBezTo>
                  <a:cubicBezTo>
                    <a:pt x="2087" y="316"/>
                    <a:pt x="2087" y="316"/>
                    <a:pt x="2087" y="316"/>
                  </a:cubicBezTo>
                  <a:cubicBezTo>
                    <a:pt x="2087" y="312"/>
                    <a:pt x="2087" y="312"/>
                    <a:pt x="2087" y="312"/>
                  </a:cubicBezTo>
                  <a:moveTo>
                    <a:pt x="2107" y="312"/>
                  </a:moveTo>
                  <a:cubicBezTo>
                    <a:pt x="2095" y="312"/>
                    <a:pt x="2095" y="312"/>
                    <a:pt x="2095" y="312"/>
                  </a:cubicBezTo>
                  <a:cubicBezTo>
                    <a:pt x="2095" y="316"/>
                    <a:pt x="2095" y="316"/>
                    <a:pt x="2095" y="316"/>
                  </a:cubicBezTo>
                  <a:cubicBezTo>
                    <a:pt x="2107" y="316"/>
                    <a:pt x="2107" y="316"/>
                    <a:pt x="2107" y="316"/>
                  </a:cubicBezTo>
                  <a:cubicBezTo>
                    <a:pt x="2107" y="312"/>
                    <a:pt x="2107" y="312"/>
                    <a:pt x="2107" y="312"/>
                  </a:cubicBezTo>
                  <a:moveTo>
                    <a:pt x="2127" y="312"/>
                  </a:moveTo>
                  <a:cubicBezTo>
                    <a:pt x="2115" y="312"/>
                    <a:pt x="2115" y="312"/>
                    <a:pt x="2115" y="312"/>
                  </a:cubicBezTo>
                  <a:cubicBezTo>
                    <a:pt x="2115" y="316"/>
                    <a:pt x="2115" y="316"/>
                    <a:pt x="2115" y="316"/>
                  </a:cubicBezTo>
                  <a:cubicBezTo>
                    <a:pt x="2127" y="316"/>
                    <a:pt x="2127" y="316"/>
                    <a:pt x="2127" y="316"/>
                  </a:cubicBezTo>
                  <a:cubicBezTo>
                    <a:pt x="2127" y="312"/>
                    <a:pt x="2127" y="312"/>
                    <a:pt x="2127" y="312"/>
                  </a:cubicBezTo>
                  <a:moveTo>
                    <a:pt x="2147" y="312"/>
                  </a:moveTo>
                  <a:cubicBezTo>
                    <a:pt x="2135" y="312"/>
                    <a:pt x="2135" y="312"/>
                    <a:pt x="2135" y="312"/>
                  </a:cubicBezTo>
                  <a:cubicBezTo>
                    <a:pt x="2135" y="316"/>
                    <a:pt x="2135" y="316"/>
                    <a:pt x="2135" y="316"/>
                  </a:cubicBezTo>
                  <a:cubicBezTo>
                    <a:pt x="2147" y="316"/>
                    <a:pt x="2147" y="316"/>
                    <a:pt x="2147" y="316"/>
                  </a:cubicBezTo>
                  <a:cubicBezTo>
                    <a:pt x="2147" y="312"/>
                    <a:pt x="2147" y="312"/>
                    <a:pt x="2147" y="312"/>
                  </a:cubicBezTo>
                  <a:moveTo>
                    <a:pt x="2167" y="312"/>
                  </a:moveTo>
                  <a:cubicBezTo>
                    <a:pt x="2155" y="312"/>
                    <a:pt x="2155" y="312"/>
                    <a:pt x="2155" y="312"/>
                  </a:cubicBezTo>
                  <a:cubicBezTo>
                    <a:pt x="2155" y="316"/>
                    <a:pt x="2155" y="316"/>
                    <a:pt x="2155" y="316"/>
                  </a:cubicBezTo>
                  <a:cubicBezTo>
                    <a:pt x="2167" y="316"/>
                    <a:pt x="2167" y="316"/>
                    <a:pt x="2167" y="316"/>
                  </a:cubicBezTo>
                  <a:cubicBezTo>
                    <a:pt x="2167" y="312"/>
                    <a:pt x="2167" y="312"/>
                    <a:pt x="2167" y="312"/>
                  </a:cubicBezTo>
                  <a:moveTo>
                    <a:pt x="2187" y="312"/>
                  </a:moveTo>
                  <a:cubicBezTo>
                    <a:pt x="2175" y="312"/>
                    <a:pt x="2175" y="312"/>
                    <a:pt x="2175" y="312"/>
                  </a:cubicBezTo>
                  <a:cubicBezTo>
                    <a:pt x="2175" y="316"/>
                    <a:pt x="2175" y="316"/>
                    <a:pt x="2175" y="316"/>
                  </a:cubicBezTo>
                  <a:cubicBezTo>
                    <a:pt x="2187" y="316"/>
                    <a:pt x="2187" y="316"/>
                    <a:pt x="2187" y="316"/>
                  </a:cubicBezTo>
                  <a:cubicBezTo>
                    <a:pt x="2187" y="312"/>
                    <a:pt x="2187" y="312"/>
                    <a:pt x="2187" y="312"/>
                  </a:cubicBezTo>
                  <a:moveTo>
                    <a:pt x="2207" y="312"/>
                  </a:moveTo>
                  <a:cubicBezTo>
                    <a:pt x="2195" y="312"/>
                    <a:pt x="2195" y="312"/>
                    <a:pt x="2195" y="312"/>
                  </a:cubicBezTo>
                  <a:cubicBezTo>
                    <a:pt x="2195" y="316"/>
                    <a:pt x="2195" y="316"/>
                    <a:pt x="2195" y="316"/>
                  </a:cubicBezTo>
                  <a:cubicBezTo>
                    <a:pt x="2207" y="316"/>
                    <a:pt x="2207" y="316"/>
                    <a:pt x="2207" y="316"/>
                  </a:cubicBezTo>
                  <a:cubicBezTo>
                    <a:pt x="2207" y="312"/>
                    <a:pt x="2207" y="312"/>
                    <a:pt x="2207" y="312"/>
                  </a:cubicBezTo>
                  <a:moveTo>
                    <a:pt x="2227" y="312"/>
                  </a:moveTo>
                  <a:cubicBezTo>
                    <a:pt x="2215" y="312"/>
                    <a:pt x="2215" y="312"/>
                    <a:pt x="2215" y="312"/>
                  </a:cubicBezTo>
                  <a:cubicBezTo>
                    <a:pt x="2215" y="316"/>
                    <a:pt x="2215" y="316"/>
                    <a:pt x="2215" y="316"/>
                  </a:cubicBezTo>
                  <a:cubicBezTo>
                    <a:pt x="2227" y="316"/>
                    <a:pt x="2227" y="316"/>
                    <a:pt x="2227" y="316"/>
                  </a:cubicBezTo>
                  <a:cubicBezTo>
                    <a:pt x="2227" y="312"/>
                    <a:pt x="2227" y="312"/>
                    <a:pt x="2227" y="312"/>
                  </a:cubicBezTo>
                  <a:moveTo>
                    <a:pt x="2247" y="312"/>
                  </a:moveTo>
                  <a:cubicBezTo>
                    <a:pt x="2235" y="312"/>
                    <a:pt x="2235" y="312"/>
                    <a:pt x="2235" y="312"/>
                  </a:cubicBezTo>
                  <a:cubicBezTo>
                    <a:pt x="2235" y="316"/>
                    <a:pt x="2235" y="316"/>
                    <a:pt x="2235" y="316"/>
                  </a:cubicBezTo>
                  <a:cubicBezTo>
                    <a:pt x="2247" y="316"/>
                    <a:pt x="2247" y="316"/>
                    <a:pt x="2247" y="316"/>
                  </a:cubicBezTo>
                  <a:cubicBezTo>
                    <a:pt x="2247" y="312"/>
                    <a:pt x="2247" y="312"/>
                    <a:pt x="2247" y="312"/>
                  </a:cubicBezTo>
                  <a:moveTo>
                    <a:pt x="2267" y="312"/>
                  </a:moveTo>
                  <a:cubicBezTo>
                    <a:pt x="2255" y="312"/>
                    <a:pt x="2255" y="312"/>
                    <a:pt x="2255" y="312"/>
                  </a:cubicBezTo>
                  <a:cubicBezTo>
                    <a:pt x="2255" y="316"/>
                    <a:pt x="2255" y="316"/>
                    <a:pt x="2255" y="316"/>
                  </a:cubicBezTo>
                  <a:cubicBezTo>
                    <a:pt x="2267" y="316"/>
                    <a:pt x="2267" y="316"/>
                    <a:pt x="2267" y="316"/>
                  </a:cubicBezTo>
                  <a:cubicBezTo>
                    <a:pt x="2267" y="312"/>
                    <a:pt x="2267" y="312"/>
                    <a:pt x="2267" y="312"/>
                  </a:cubicBezTo>
                  <a:moveTo>
                    <a:pt x="2287" y="312"/>
                  </a:moveTo>
                  <a:cubicBezTo>
                    <a:pt x="2275" y="312"/>
                    <a:pt x="2275" y="312"/>
                    <a:pt x="2275" y="312"/>
                  </a:cubicBezTo>
                  <a:cubicBezTo>
                    <a:pt x="2275" y="316"/>
                    <a:pt x="2275" y="316"/>
                    <a:pt x="2275" y="316"/>
                  </a:cubicBezTo>
                  <a:cubicBezTo>
                    <a:pt x="2287" y="316"/>
                    <a:pt x="2287" y="316"/>
                    <a:pt x="2287" y="316"/>
                  </a:cubicBezTo>
                  <a:cubicBezTo>
                    <a:pt x="2287" y="312"/>
                    <a:pt x="2287" y="312"/>
                    <a:pt x="2287" y="312"/>
                  </a:cubicBezTo>
                  <a:moveTo>
                    <a:pt x="2307" y="313"/>
                  </a:moveTo>
                  <a:cubicBezTo>
                    <a:pt x="2304" y="312"/>
                    <a:pt x="2300" y="312"/>
                    <a:pt x="2296" y="312"/>
                  </a:cubicBezTo>
                  <a:cubicBezTo>
                    <a:pt x="2295" y="312"/>
                    <a:pt x="2295" y="312"/>
                    <a:pt x="2295" y="312"/>
                  </a:cubicBezTo>
                  <a:cubicBezTo>
                    <a:pt x="2295" y="316"/>
                    <a:pt x="2295" y="316"/>
                    <a:pt x="2295" y="316"/>
                  </a:cubicBezTo>
                  <a:cubicBezTo>
                    <a:pt x="2296" y="316"/>
                    <a:pt x="2296" y="316"/>
                    <a:pt x="2296" y="316"/>
                  </a:cubicBezTo>
                  <a:cubicBezTo>
                    <a:pt x="2300" y="316"/>
                    <a:pt x="2303" y="316"/>
                    <a:pt x="2307" y="317"/>
                  </a:cubicBezTo>
                  <a:cubicBezTo>
                    <a:pt x="2307" y="313"/>
                    <a:pt x="2307" y="313"/>
                    <a:pt x="2307" y="313"/>
                  </a:cubicBezTo>
                  <a:cubicBezTo>
                    <a:pt x="2307" y="313"/>
                    <a:pt x="2307" y="313"/>
                    <a:pt x="2307" y="313"/>
                  </a:cubicBezTo>
                  <a:moveTo>
                    <a:pt x="2327" y="316"/>
                  </a:moveTo>
                  <a:cubicBezTo>
                    <a:pt x="2323" y="315"/>
                    <a:pt x="2319" y="314"/>
                    <a:pt x="2315" y="313"/>
                  </a:cubicBezTo>
                  <a:cubicBezTo>
                    <a:pt x="2315" y="317"/>
                    <a:pt x="2315" y="317"/>
                    <a:pt x="2315" y="317"/>
                  </a:cubicBezTo>
                  <a:cubicBezTo>
                    <a:pt x="2318" y="318"/>
                    <a:pt x="2322" y="319"/>
                    <a:pt x="2326" y="320"/>
                  </a:cubicBezTo>
                  <a:cubicBezTo>
                    <a:pt x="2327" y="316"/>
                    <a:pt x="2327" y="316"/>
                    <a:pt x="2327" y="316"/>
                  </a:cubicBezTo>
                  <a:moveTo>
                    <a:pt x="2346" y="322"/>
                  </a:moveTo>
                  <a:cubicBezTo>
                    <a:pt x="2343" y="320"/>
                    <a:pt x="2339" y="319"/>
                    <a:pt x="2335" y="318"/>
                  </a:cubicBezTo>
                  <a:cubicBezTo>
                    <a:pt x="2334" y="322"/>
                    <a:pt x="2334" y="322"/>
                    <a:pt x="2334" y="322"/>
                  </a:cubicBezTo>
                  <a:cubicBezTo>
                    <a:pt x="2337" y="323"/>
                    <a:pt x="2341" y="324"/>
                    <a:pt x="2345" y="326"/>
                  </a:cubicBezTo>
                  <a:cubicBezTo>
                    <a:pt x="2346" y="322"/>
                    <a:pt x="2346" y="322"/>
                    <a:pt x="2346" y="322"/>
                  </a:cubicBezTo>
                  <a:moveTo>
                    <a:pt x="2364" y="331"/>
                  </a:moveTo>
                  <a:cubicBezTo>
                    <a:pt x="2361" y="329"/>
                    <a:pt x="2357" y="327"/>
                    <a:pt x="2354" y="325"/>
                  </a:cubicBezTo>
                  <a:cubicBezTo>
                    <a:pt x="2352" y="329"/>
                    <a:pt x="2352" y="329"/>
                    <a:pt x="2352" y="329"/>
                  </a:cubicBezTo>
                  <a:cubicBezTo>
                    <a:pt x="2355" y="331"/>
                    <a:pt x="2359" y="333"/>
                    <a:pt x="2362" y="335"/>
                  </a:cubicBezTo>
                  <a:cubicBezTo>
                    <a:pt x="2364" y="331"/>
                    <a:pt x="2364" y="331"/>
                    <a:pt x="2364" y="331"/>
                  </a:cubicBezTo>
                  <a:moveTo>
                    <a:pt x="2381" y="343"/>
                  </a:moveTo>
                  <a:cubicBezTo>
                    <a:pt x="2378" y="341"/>
                    <a:pt x="2374" y="338"/>
                    <a:pt x="2371" y="336"/>
                  </a:cubicBezTo>
                  <a:cubicBezTo>
                    <a:pt x="2369" y="339"/>
                    <a:pt x="2369" y="339"/>
                    <a:pt x="2369" y="339"/>
                  </a:cubicBezTo>
                  <a:cubicBezTo>
                    <a:pt x="2372" y="341"/>
                    <a:pt x="2375" y="344"/>
                    <a:pt x="2378" y="346"/>
                  </a:cubicBezTo>
                  <a:cubicBezTo>
                    <a:pt x="2381" y="343"/>
                    <a:pt x="2381" y="343"/>
                    <a:pt x="2381" y="343"/>
                  </a:cubicBezTo>
                  <a:moveTo>
                    <a:pt x="2395" y="357"/>
                  </a:moveTo>
                  <a:cubicBezTo>
                    <a:pt x="2393" y="354"/>
                    <a:pt x="2390" y="351"/>
                    <a:pt x="2387" y="349"/>
                  </a:cubicBezTo>
                  <a:cubicBezTo>
                    <a:pt x="2384" y="352"/>
                    <a:pt x="2384" y="352"/>
                    <a:pt x="2384" y="352"/>
                  </a:cubicBezTo>
                  <a:cubicBezTo>
                    <a:pt x="2387" y="354"/>
                    <a:pt x="2390" y="357"/>
                    <a:pt x="2392" y="360"/>
                  </a:cubicBezTo>
                  <a:cubicBezTo>
                    <a:pt x="2395" y="357"/>
                    <a:pt x="2395" y="357"/>
                    <a:pt x="2395" y="357"/>
                  </a:cubicBezTo>
                  <a:moveTo>
                    <a:pt x="2407" y="374"/>
                  </a:moveTo>
                  <a:cubicBezTo>
                    <a:pt x="2405" y="370"/>
                    <a:pt x="2403" y="367"/>
                    <a:pt x="2400" y="364"/>
                  </a:cubicBezTo>
                  <a:cubicBezTo>
                    <a:pt x="2397" y="366"/>
                    <a:pt x="2397" y="366"/>
                    <a:pt x="2397" y="366"/>
                  </a:cubicBezTo>
                  <a:cubicBezTo>
                    <a:pt x="2399" y="369"/>
                    <a:pt x="2402" y="373"/>
                    <a:pt x="2404" y="376"/>
                  </a:cubicBezTo>
                  <a:cubicBezTo>
                    <a:pt x="2407" y="374"/>
                    <a:pt x="2407" y="374"/>
                    <a:pt x="2407" y="374"/>
                  </a:cubicBezTo>
                  <a:moveTo>
                    <a:pt x="2416" y="392"/>
                  </a:moveTo>
                  <a:cubicBezTo>
                    <a:pt x="2415" y="388"/>
                    <a:pt x="2413" y="384"/>
                    <a:pt x="2411" y="381"/>
                  </a:cubicBezTo>
                  <a:cubicBezTo>
                    <a:pt x="2408" y="383"/>
                    <a:pt x="2408" y="383"/>
                    <a:pt x="2408" y="383"/>
                  </a:cubicBezTo>
                  <a:cubicBezTo>
                    <a:pt x="2410" y="386"/>
                    <a:pt x="2411" y="390"/>
                    <a:pt x="2413" y="393"/>
                  </a:cubicBezTo>
                  <a:cubicBezTo>
                    <a:pt x="2416" y="392"/>
                    <a:pt x="2416" y="392"/>
                    <a:pt x="2416" y="392"/>
                  </a:cubicBezTo>
                  <a:moveTo>
                    <a:pt x="2423" y="411"/>
                  </a:moveTo>
                  <a:cubicBezTo>
                    <a:pt x="2422" y="407"/>
                    <a:pt x="2421" y="403"/>
                    <a:pt x="2419" y="399"/>
                  </a:cubicBezTo>
                  <a:cubicBezTo>
                    <a:pt x="2416" y="401"/>
                    <a:pt x="2416" y="401"/>
                    <a:pt x="2416" y="401"/>
                  </a:cubicBezTo>
                  <a:cubicBezTo>
                    <a:pt x="2417" y="405"/>
                    <a:pt x="2418" y="408"/>
                    <a:pt x="2419" y="412"/>
                  </a:cubicBezTo>
                  <a:cubicBezTo>
                    <a:pt x="2423" y="411"/>
                    <a:pt x="2423" y="411"/>
                    <a:pt x="2423" y="411"/>
                  </a:cubicBezTo>
                  <a:cubicBezTo>
                    <a:pt x="2423" y="411"/>
                    <a:pt x="2423" y="411"/>
                    <a:pt x="2423" y="411"/>
                  </a:cubicBezTo>
                  <a:moveTo>
                    <a:pt x="2426" y="431"/>
                  </a:moveTo>
                  <a:cubicBezTo>
                    <a:pt x="2426" y="427"/>
                    <a:pt x="2425" y="423"/>
                    <a:pt x="2425" y="419"/>
                  </a:cubicBezTo>
                  <a:cubicBezTo>
                    <a:pt x="2421" y="420"/>
                    <a:pt x="2421" y="420"/>
                    <a:pt x="2421" y="420"/>
                  </a:cubicBezTo>
                  <a:cubicBezTo>
                    <a:pt x="2421" y="424"/>
                    <a:pt x="2422" y="428"/>
                    <a:pt x="2422" y="432"/>
                  </a:cubicBezTo>
                  <a:cubicBezTo>
                    <a:pt x="2426" y="431"/>
                    <a:pt x="2426" y="431"/>
                    <a:pt x="2426" y="431"/>
                  </a:cubicBezTo>
                  <a:moveTo>
                    <a:pt x="2426" y="451"/>
                  </a:moveTo>
                  <a:cubicBezTo>
                    <a:pt x="2426" y="448"/>
                    <a:pt x="2427" y="445"/>
                    <a:pt x="2427" y="442"/>
                  </a:cubicBezTo>
                  <a:cubicBezTo>
                    <a:pt x="2427" y="441"/>
                    <a:pt x="2427" y="440"/>
                    <a:pt x="2427" y="439"/>
                  </a:cubicBezTo>
                  <a:cubicBezTo>
                    <a:pt x="2423" y="439"/>
                    <a:pt x="2423" y="439"/>
                    <a:pt x="2423" y="439"/>
                  </a:cubicBezTo>
                  <a:cubicBezTo>
                    <a:pt x="2423" y="440"/>
                    <a:pt x="2423" y="441"/>
                    <a:pt x="2423" y="442"/>
                  </a:cubicBezTo>
                  <a:cubicBezTo>
                    <a:pt x="2423" y="445"/>
                    <a:pt x="2422" y="448"/>
                    <a:pt x="2422" y="451"/>
                  </a:cubicBezTo>
                  <a:cubicBezTo>
                    <a:pt x="2426" y="451"/>
                    <a:pt x="2426" y="451"/>
                    <a:pt x="2426" y="451"/>
                  </a:cubicBezTo>
                  <a:moveTo>
                    <a:pt x="2423" y="472"/>
                  </a:moveTo>
                  <a:cubicBezTo>
                    <a:pt x="2424" y="468"/>
                    <a:pt x="2425" y="464"/>
                    <a:pt x="2425" y="460"/>
                  </a:cubicBezTo>
                  <a:cubicBezTo>
                    <a:pt x="2421" y="459"/>
                    <a:pt x="2421" y="459"/>
                    <a:pt x="2421" y="459"/>
                  </a:cubicBezTo>
                  <a:cubicBezTo>
                    <a:pt x="2421" y="463"/>
                    <a:pt x="2420" y="467"/>
                    <a:pt x="2419" y="471"/>
                  </a:cubicBezTo>
                  <a:cubicBezTo>
                    <a:pt x="2423" y="472"/>
                    <a:pt x="2423" y="472"/>
                    <a:pt x="2423" y="472"/>
                  </a:cubicBezTo>
                  <a:cubicBezTo>
                    <a:pt x="2423" y="472"/>
                    <a:pt x="2423" y="472"/>
                    <a:pt x="2423" y="472"/>
                  </a:cubicBezTo>
                  <a:moveTo>
                    <a:pt x="2417" y="491"/>
                  </a:moveTo>
                  <a:cubicBezTo>
                    <a:pt x="2419" y="487"/>
                    <a:pt x="2420" y="483"/>
                    <a:pt x="2421" y="479"/>
                  </a:cubicBezTo>
                  <a:cubicBezTo>
                    <a:pt x="2417" y="478"/>
                    <a:pt x="2417" y="478"/>
                    <a:pt x="2417" y="478"/>
                  </a:cubicBezTo>
                  <a:cubicBezTo>
                    <a:pt x="2416" y="482"/>
                    <a:pt x="2415" y="486"/>
                    <a:pt x="2413" y="489"/>
                  </a:cubicBezTo>
                  <a:cubicBezTo>
                    <a:pt x="2417" y="491"/>
                    <a:pt x="2417" y="491"/>
                    <a:pt x="2417" y="491"/>
                  </a:cubicBezTo>
                  <a:moveTo>
                    <a:pt x="2408" y="509"/>
                  </a:moveTo>
                  <a:cubicBezTo>
                    <a:pt x="2410" y="506"/>
                    <a:pt x="2412" y="502"/>
                    <a:pt x="2414" y="498"/>
                  </a:cubicBezTo>
                  <a:cubicBezTo>
                    <a:pt x="2410" y="497"/>
                    <a:pt x="2410" y="497"/>
                    <a:pt x="2410" y="497"/>
                  </a:cubicBezTo>
                  <a:cubicBezTo>
                    <a:pt x="2409" y="500"/>
                    <a:pt x="2407" y="504"/>
                    <a:pt x="2405" y="507"/>
                  </a:cubicBezTo>
                  <a:cubicBezTo>
                    <a:pt x="2408" y="509"/>
                    <a:pt x="2408" y="509"/>
                    <a:pt x="2408" y="509"/>
                  </a:cubicBezTo>
                  <a:moveTo>
                    <a:pt x="2396" y="526"/>
                  </a:moveTo>
                  <a:cubicBezTo>
                    <a:pt x="2399" y="522"/>
                    <a:pt x="2401" y="519"/>
                    <a:pt x="2404" y="516"/>
                  </a:cubicBezTo>
                  <a:cubicBezTo>
                    <a:pt x="2400" y="514"/>
                    <a:pt x="2400" y="514"/>
                    <a:pt x="2400" y="514"/>
                  </a:cubicBezTo>
                  <a:cubicBezTo>
                    <a:pt x="2398" y="517"/>
                    <a:pt x="2396" y="520"/>
                    <a:pt x="2393" y="523"/>
                  </a:cubicBezTo>
                  <a:cubicBezTo>
                    <a:pt x="2396" y="526"/>
                    <a:pt x="2396" y="526"/>
                    <a:pt x="2396" y="526"/>
                  </a:cubicBezTo>
                  <a:moveTo>
                    <a:pt x="2382" y="540"/>
                  </a:moveTo>
                  <a:cubicBezTo>
                    <a:pt x="2385" y="537"/>
                    <a:pt x="2388" y="535"/>
                    <a:pt x="2391" y="532"/>
                  </a:cubicBezTo>
                  <a:cubicBezTo>
                    <a:pt x="2388" y="529"/>
                    <a:pt x="2388" y="529"/>
                    <a:pt x="2388" y="529"/>
                  </a:cubicBezTo>
                  <a:cubicBezTo>
                    <a:pt x="2385" y="532"/>
                    <a:pt x="2383" y="534"/>
                    <a:pt x="2380" y="537"/>
                  </a:cubicBezTo>
                  <a:cubicBezTo>
                    <a:pt x="2382" y="540"/>
                    <a:pt x="2382" y="540"/>
                    <a:pt x="2382" y="540"/>
                  </a:cubicBezTo>
                  <a:moveTo>
                    <a:pt x="2366" y="552"/>
                  </a:moveTo>
                  <a:cubicBezTo>
                    <a:pt x="2369" y="550"/>
                    <a:pt x="2373" y="548"/>
                    <a:pt x="2376" y="545"/>
                  </a:cubicBezTo>
                  <a:cubicBezTo>
                    <a:pt x="2374" y="542"/>
                    <a:pt x="2374" y="542"/>
                    <a:pt x="2374" y="542"/>
                  </a:cubicBezTo>
                  <a:cubicBezTo>
                    <a:pt x="2370" y="545"/>
                    <a:pt x="2367" y="547"/>
                    <a:pt x="2364" y="549"/>
                  </a:cubicBezTo>
                  <a:cubicBezTo>
                    <a:pt x="2366" y="552"/>
                    <a:pt x="2366" y="552"/>
                    <a:pt x="2366" y="552"/>
                  </a:cubicBezTo>
                  <a:moveTo>
                    <a:pt x="2348" y="562"/>
                  </a:moveTo>
                  <a:cubicBezTo>
                    <a:pt x="2352" y="560"/>
                    <a:pt x="2355" y="558"/>
                    <a:pt x="2359" y="556"/>
                  </a:cubicBezTo>
                  <a:cubicBezTo>
                    <a:pt x="2357" y="553"/>
                    <a:pt x="2357" y="553"/>
                    <a:pt x="2357" y="553"/>
                  </a:cubicBezTo>
                  <a:cubicBezTo>
                    <a:pt x="2354" y="555"/>
                    <a:pt x="2350" y="557"/>
                    <a:pt x="2346" y="558"/>
                  </a:cubicBezTo>
                  <a:cubicBezTo>
                    <a:pt x="2348" y="562"/>
                    <a:pt x="2348" y="562"/>
                    <a:pt x="2348" y="562"/>
                  </a:cubicBezTo>
                  <a:cubicBezTo>
                    <a:pt x="2348" y="562"/>
                    <a:pt x="2348" y="562"/>
                    <a:pt x="2348" y="562"/>
                  </a:cubicBezTo>
                  <a:moveTo>
                    <a:pt x="2329" y="568"/>
                  </a:moveTo>
                  <a:cubicBezTo>
                    <a:pt x="2333" y="567"/>
                    <a:pt x="2337" y="566"/>
                    <a:pt x="2340" y="565"/>
                  </a:cubicBezTo>
                  <a:cubicBezTo>
                    <a:pt x="2339" y="561"/>
                    <a:pt x="2339" y="561"/>
                    <a:pt x="2339" y="561"/>
                  </a:cubicBezTo>
                  <a:cubicBezTo>
                    <a:pt x="2335" y="562"/>
                    <a:pt x="2332" y="563"/>
                    <a:pt x="2328" y="564"/>
                  </a:cubicBezTo>
                  <a:cubicBezTo>
                    <a:pt x="2329" y="568"/>
                    <a:pt x="2329" y="568"/>
                    <a:pt x="2329" y="568"/>
                  </a:cubicBezTo>
                  <a:moveTo>
                    <a:pt x="2309" y="572"/>
                  </a:moveTo>
                  <a:cubicBezTo>
                    <a:pt x="2313" y="571"/>
                    <a:pt x="2317" y="571"/>
                    <a:pt x="2321" y="570"/>
                  </a:cubicBezTo>
                  <a:cubicBezTo>
                    <a:pt x="2320" y="566"/>
                    <a:pt x="2320" y="566"/>
                    <a:pt x="2320" y="566"/>
                  </a:cubicBezTo>
                  <a:cubicBezTo>
                    <a:pt x="2316" y="567"/>
                    <a:pt x="2312" y="567"/>
                    <a:pt x="2308" y="568"/>
                  </a:cubicBezTo>
                  <a:cubicBezTo>
                    <a:pt x="2309" y="572"/>
                    <a:pt x="2309" y="572"/>
                    <a:pt x="2309" y="572"/>
                  </a:cubicBezTo>
                  <a:cubicBezTo>
                    <a:pt x="2309" y="572"/>
                    <a:pt x="2309" y="572"/>
                    <a:pt x="2309" y="572"/>
                  </a:cubicBezTo>
                  <a:moveTo>
                    <a:pt x="2289" y="572"/>
                  </a:moveTo>
                  <a:cubicBezTo>
                    <a:pt x="2296" y="572"/>
                    <a:pt x="2296" y="572"/>
                    <a:pt x="2296" y="572"/>
                  </a:cubicBezTo>
                  <a:cubicBezTo>
                    <a:pt x="2298" y="572"/>
                    <a:pt x="2299" y="572"/>
                    <a:pt x="2301" y="572"/>
                  </a:cubicBezTo>
                  <a:cubicBezTo>
                    <a:pt x="2301" y="568"/>
                    <a:pt x="2301" y="568"/>
                    <a:pt x="2301" y="568"/>
                  </a:cubicBezTo>
                  <a:cubicBezTo>
                    <a:pt x="2299" y="568"/>
                    <a:pt x="2298" y="568"/>
                    <a:pt x="2296" y="568"/>
                  </a:cubicBezTo>
                  <a:cubicBezTo>
                    <a:pt x="2289" y="568"/>
                    <a:pt x="2289" y="568"/>
                    <a:pt x="2289" y="568"/>
                  </a:cubicBezTo>
                  <a:cubicBezTo>
                    <a:pt x="2289" y="572"/>
                    <a:pt x="2289" y="572"/>
                    <a:pt x="2289" y="572"/>
                  </a:cubicBezTo>
                  <a:moveTo>
                    <a:pt x="2269" y="572"/>
                  </a:moveTo>
                  <a:cubicBezTo>
                    <a:pt x="2281" y="572"/>
                    <a:pt x="2281" y="572"/>
                    <a:pt x="2281" y="572"/>
                  </a:cubicBezTo>
                  <a:cubicBezTo>
                    <a:pt x="2281" y="568"/>
                    <a:pt x="2281" y="568"/>
                    <a:pt x="2281" y="568"/>
                  </a:cubicBezTo>
                  <a:cubicBezTo>
                    <a:pt x="2269" y="568"/>
                    <a:pt x="2269" y="568"/>
                    <a:pt x="2269" y="568"/>
                  </a:cubicBezTo>
                  <a:cubicBezTo>
                    <a:pt x="2269" y="572"/>
                    <a:pt x="2269" y="572"/>
                    <a:pt x="2269" y="572"/>
                  </a:cubicBezTo>
                  <a:moveTo>
                    <a:pt x="2249" y="572"/>
                  </a:moveTo>
                  <a:cubicBezTo>
                    <a:pt x="2261" y="572"/>
                    <a:pt x="2261" y="572"/>
                    <a:pt x="2261" y="572"/>
                  </a:cubicBezTo>
                  <a:cubicBezTo>
                    <a:pt x="2261" y="568"/>
                    <a:pt x="2261" y="568"/>
                    <a:pt x="2261" y="568"/>
                  </a:cubicBezTo>
                  <a:cubicBezTo>
                    <a:pt x="2249" y="568"/>
                    <a:pt x="2249" y="568"/>
                    <a:pt x="2249" y="568"/>
                  </a:cubicBezTo>
                  <a:cubicBezTo>
                    <a:pt x="2249" y="572"/>
                    <a:pt x="2249" y="572"/>
                    <a:pt x="2249" y="572"/>
                  </a:cubicBezTo>
                  <a:moveTo>
                    <a:pt x="2229" y="572"/>
                  </a:moveTo>
                  <a:cubicBezTo>
                    <a:pt x="2241" y="572"/>
                    <a:pt x="2241" y="572"/>
                    <a:pt x="2241" y="572"/>
                  </a:cubicBezTo>
                  <a:cubicBezTo>
                    <a:pt x="2241" y="568"/>
                    <a:pt x="2241" y="568"/>
                    <a:pt x="2241" y="568"/>
                  </a:cubicBezTo>
                  <a:cubicBezTo>
                    <a:pt x="2229" y="568"/>
                    <a:pt x="2229" y="568"/>
                    <a:pt x="2229" y="568"/>
                  </a:cubicBezTo>
                  <a:cubicBezTo>
                    <a:pt x="2229" y="572"/>
                    <a:pt x="2229" y="572"/>
                    <a:pt x="2229" y="572"/>
                  </a:cubicBezTo>
                  <a:moveTo>
                    <a:pt x="2209" y="572"/>
                  </a:moveTo>
                  <a:cubicBezTo>
                    <a:pt x="2221" y="572"/>
                    <a:pt x="2221" y="572"/>
                    <a:pt x="2221" y="572"/>
                  </a:cubicBezTo>
                  <a:cubicBezTo>
                    <a:pt x="2221" y="568"/>
                    <a:pt x="2221" y="568"/>
                    <a:pt x="2221" y="568"/>
                  </a:cubicBezTo>
                  <a:cubicBezTo>
                    <a:pt x="2209" y="568"/>
                    <a:pt x="2209" y="568"/>
                    <a:pt x="2209" y="568"/>
                  </a:cubicBezTo>
                  <a:cubicBezTo>
                    <a:pt x="2209" y="572"/>
                    <a:pt x="2209" y="572"/>
                    <a:pt x="2209" y="572"/>
                  </a:cubicBezTo>
                  <a:moveTo>
                    <a:pt x="2189" y="572"/>
                  </a:moveTo>
                  <a:cubicBezTo>
                    <a:pt x="2201" y="572"/>
                    <a:pt x="2201" y="572"/>
                    <a:pt x="2201" y="572"/>
                  </a:cubicBezTo>
                  <a:cubicBezTo>
                    <a:pt x="2201" y="568"/>
                    <a:pt x="2201" y="568"/>
                    <a:pt x="2201" y="568"/>
                  </a:cubicBezTo>
                  <a:cubicBezTo>
                    <a:pt x="2189" y="568"/>
                    <a:pt x="2189" y="568"/>
                    <a:pt x="2189" y="568"/>
                  </a:cubicBezTo>
                  <a:cubicBezTo>
                    <a:pt x="2189" y="572"/>
                    <a:pt x="2189" y="572"/>
                    <a:pt x="2189" y="572"/>
                  </a:cubicBezTo>
                  <a:moveTo>
                    <a:pt x="2169" y="572"/>
                  </a:moveTo>
                  <a:cubicBezTo>
                    <a:pt x="2181" y="572"/>
                    <a:pt x="2181" y="572"/>
                    <a:pt x="2181" y="572"/>
                  </a:cubicBezTo>
                  <a:cubicBezTo>
                    <a:pt x="2181" y="568"/>
                    <a:pt x="2181" y="568"/>
                    <a:pt x="2181" y="568"/>
                  </a:cubicBezTo>
                  <a:cubicBezTo>
                    <a:pt x="2169" y="568"/>
                    <a:pt x="2169" y="568"/>
                    <a:pt x="2169" y="568"/>
                  </a:cubicBezTo>
                  <a:cubicBezTo>
                    <a:pt x="2169" y="572"/>
                    <a:pt x="2169" y="572"/>
                    <a:pt x="2169" y="572"/>
                  </a:cubicBezTo>
                  <a:moveTo>
                    <a:pt x="2149" y="572"/>
                  </a:moveTo>
                  <a:cubicBezTo>
                    <a:pt x="2161" y="572"/>
                    <a:pt x="2161" y="572"/>
                    <a:pt x="2161" y="572"/>
                  </a:cubicBezTo>
                  <a:cubicBezTo>
                    <a:pt x="2161" y="568"/>
                    <a:pt x="2161" y="568"/>
                    <a:pt x="2161" y="568"/>
                  </a:cubicBezTo>
                  <a:cubicBezTo>
                    <a:pt x="2149" y="568"/>
                    <a:pt x="2149" y="568"/>
                    <a:pt x="2149" y="568"/>
                  </a:cubicBezTo>
                  <a:cubicBezTo>
                    <a:pt x="2149" y="572"/>
                    <a:pt x="2149" y="572"/>
                    <a:pt x="2149" y="572"/>
                  </a:cubicBezTo>
                  <a:moveTo>
                    <a:pt x="2129" y="572"/>
                  </a:moveTo>
                  <a:cubicBezTo>
                    <a:pt x="2141" y="572"/>
                    <a:pt x="2141" y="572"/>
                    <a:pt x="2141" y="572"/>
                  </a:cubicBezTo>
                  <a:cubicBezTo>
                    <a:pt x="2141" y="568"/>
                    <a:pt x="2141" y="568"/>
                    <a:pt x="2141" y="568"/>
                  </a:cubicBezTo>
                  <a:cubicBezTo>
                    <a:pt x="2129" y="568"/>
                    <a:pt x="2129" y="568"/>
                    <a:pt x="2129" y="568"/>
                  </a:cubicBezTo>
                  <a:cubicBezTo>
                    <a:pt x="2129" y="572"/>
                    <a:pt x="2129" y="572"/>
                    <a:pt x="2129" y="572"/>
                  </a:cubicBezTo>
                  <a:moveTo>
                    <a:pt x="2109" y="572"/>
                  </a:moveTo>
                  <a:cubicBezTo>
                    <a:pt x="2121" y="572"/>
                    <a:pt x="2121" y="572"/>
                    <a:pt x="2121" y="572"/>
                  </a:cubicBezTo>
                  <a:cubicBezTo>
                    <a:pt x="2121" y="568"/>
                    <a:pt x="2121" y="568"/>
                    <a:pt x="2121" y="568"/>
                  </a:cubicBezTo>
                  <a:cubicBezTo>
                    <a:pt x="2109" y="568"/>
                    <a:pt x="2109" y="568"/>
                    <a:pt x="2109" y="568"/>
                  </a:cubicBezTo>
                  <a:cubicBezTo>
                    <a:pt x="2109" y="572"/>
                    <a:pt x="2109" y="572"/>
                    <a:pt x="2109" y="572"/>
                  </a:cubicBezTo>
                  <a:moveTo>
                    <a:pt x="2089" y="572"/>
                  </a:moveTo>
                  <a:cubicBezTo>
                    <a:pt x="2101" y="572"/>
                    <a:pt x="2101" y="572"/>
                    <a:pt x="2101" y="572"/>
                  </a:cubicBezTo>
                  <a:cubicBezTo>
                    <a:pt x="2101" y="568"/>
                    <a:pt x="2101" y="568"/>
                    <a:pt x="2101" y="568"/>
                  </a:cubicBezTo>
                  <a:cubicBezTo>
                    <a:pt x="2089" y="568"/>
                    <a:pt x="2089" y="568"/>
                    <a:pt x="2089" y="568"/>
                  </a:cubicBezTo>
                  <a:cubicBezTo>
                    <a:pt x="2089" y="572"/>
                    <a:pt x="2089" y="572"/>
                    <a:pt x="2089" y="572"/>
                  </a:cubicBezTo>
                  <a:moveTo>
                    <a:pt x="2069" y="572"/>
                  </a:moveTo>
                  <a:cubicBezTo>
                    <a:pt x="2081" y="572"/>
                    <a:pt x="2081" y="572"/>
                    <a:pt x="2081" y="572"/>
                  </a:cubicBezTo>
                  <a:cubicBezTo>
                    <a:pt x="2081" y="568"/>
                    <a:pt x="2081" y="568"/>
                    <a:pt x="2081" y="568"/>
                  </a:cubicBezTo>
                  <a:cubicBezTo>
                    <a:pt x="2069" y="568"/>
                    <a:pt x="2069" y="568"/>
                    <a:pt x="2069" y="568"/>
                  </a:cubicBezTo>
                  <a:cubicBezTo>
                    <a:pt x="2069" y="572"/>
                    <a:pt x="2069" y="572"/>
                    <a:pt x="2069" y="572"/>
                  </a:cubicBezTo>
                  <a:moveTo>
                    <a:pt x="2049" y="572"/>
                  </a:moveTo>
                  <a:cubicBezTo>
                    <a:pt x="2061" y="572"/>
                    <a:pt x="2061" y="572"/>
                    <a:pt x="2061" y="572"/>
                  </a:cubicBezTo>
                  <a:cubicBezTo>
                    <a:pt x="2061" y="568"/>
                    <a:pt x="2061" y="568"/>
                    <a:pt x="2061" y="568"/>
                  </a:cubicBezTo>
                  <a:cubicBezTo>
                    <a:pt x="2049" y="568"/>
                    <a:pt x="2049" y="568"/>
                    <a:pt x="2049" y="568"/>
                  </a:cubicBezTo>
                  <a:cubicBezTo>
                    <a:pt x="2049" y="572"/>
                    <a:pt x="2049" y="572"/>
                    <a:pt x="2049" y="572"/>
                  </a:cubicBezTo>
                  <a:moveTo>
                    <a:pt x="2029" y="572"/>
                  </a:moveTo>
                  <a:cubicBezTo>
                    <a:pt x="2041" y="572"/>
                    <a:pt x="2041" y="572"/>
                    <a:pt x="2041" y="572"/>
                  </a:cubicBezTo>
                  <a:cubicBezTo>
                    <a:pt x="2041" y="568"/>
                    <a:pt x="2041" y="568"/>
                    <a:pt x="2041" y="568"/>
                  </a:cubicBezTo>
                  <a:cubicBezTo>
                    <a:pt x="2029" y="568"/>
                    <a:pt x="2029" y="568"/>
                    <a:pt x="2029" y="568"/>
                  </a:cubicBezTo>
                  <a:cubicBezTo>
                    <a:pt x="2029" y="572"/>
                    <a:pt x="2029" y="572"/>
                    <a:pt x="2029" y="572"/>
                  </a:cubicBezTo>
                  <a:moveTo>
                    <a:pt x="2009" y="572"/>
                  </a:moveTo>
                  <a:cubicBezTo>
                    <a:pt x="2021" y="572"/>
                    <a:pt x="2021" y="572"/>
                    <a:pt x="2021" y="572"/>
                  </a:cubicBezTo>
                  <a:cubicBezTo>
                    <a:pt x="2021" y="568"/>
                    <a:pt x="2021" y="568"/>
                    <a:pt x="2021" y="568"/>
                  </a:cubicBezTo>
                  <a:cubicBezTo>
                    <a:pt x="2009" y="568"/>
                    <a:pt x="2009" y="568"/>
                    <a:pt x="2009" y="568"/>
                  </a:cubicBezTo>
                  <a:cubicBezTo>
                    <a:pt x="2009" y="572"/>
                    <a:pt x="2009" y="572"/>
                    <a:pt x="2009" y="572"/>
                  </a:cubicBezTo>
                  <a:moveTo>
                    <a:pt x="1989" y="572"/>
                  </a:moveTo>
                  <a:cubicBezTo>
                    <a:pt x="2001" y="572"/>
                    <a:pt x="2001" y="572"/>
                    <a:pt x="2001" y="572"/>
                  </a:cubicBezTo>
                  <a:cubicBezTo>
                    <a:pt x="2001" y="568"/>
                    <a:pt x="2001" y="568"/>
                    <a:pt x="2001" y="568"/>
                  </a:cubicBezTo>
                  <a:cubicBezTo>
                    <a:pt x="1989" y="568"/>
                    <a:pt x="1989" y="568"/>
                    <a:pt x="1989" y="568"/>
                  </a:cubicBezTo>
                  <a:cubicBezTo>
                    <a:pt x="1989" y="572"/>
                    <a:pt x="1989" y="572"/>
                    <a:pt x="1989" y="572"/>
                  </a:cubicBezTo>
                  <a:moveTo>
                    <a:pt x="1969" y="572"/>
                  </a:moveTo>
                  <a:cubicBezTo>
                    <a:pt x="1981" y="572"/>
                    <a:pt x="1981" y="572"/>
                    <a:pt x="1981" y="572"/>
                  </a:cubicBezTo>
                  <a:cubicBezTo>
                    <a:pt x="1981" y="568"/>
                    <a:pt x="1981" y="568"/>
                    <a:pt x="1981" y="568"/>
                  </a:cubicBezTo>
                  <a:cubicBezTo>
                    <a:pt x="1969" y="568"/>
                    <a:pt x="1969" y="568"/>
                    <a:pt x="1969" y="568"/>
                  </a:cubicBezTo>
                  <a:cubicBezTo>
                    <a:pt x="1969" y="572"/>
                    <a:pt x="1969" y="572"/>
                    <a:pt x="1969" y="572"/>
                  </a:cubicBezTo>
                  <a:moveTo>
                    <a:pt x="1949" y="572"/>
                  </a:moveTo>
                  <a:cubicBezTo>
                    <a:pt x="1961" y="572"/>
                    <a:pt x="1961" y="572"/>
                    <a:pt x="1961" y="572"/>
                  </a:cubicBezTo>
                  <a:cubicBezTo>
                    <a:pt x="1961" y="568"/>
                    <a:pt x="1961" y="568"/>
                    <a:pt x="1961" y="568"/>
                  </a:cubicBezTo>
                  <a:cubicBezTo>
                    <a:pt x="1949" y="568"/>
                    <a:pt x="1949" y="568"/>
                    <a:pt x="1949" y="568"/>
                  </a:cubicBezTo>
                  <a:cubicBezTo>
                    <a:pt x="1949" y="572"/>
                    <a:pt x="1949" y="572"/>
                    <a:pt x="1949" y="572"/>
                  </a:cubicBezTo>
                  <a:moveTo>
                    <a:pt x="1929" y="572"/>
                  </a:moveTo>
                  <a:cubicBezTo>
                    <a:pt x="1941" y="572"/>
                    <a:pt x="1941" y="572"/>
                    <a:pt x="1941" y="572"/>
                  </a:cubicBezTo>
                  <a:cubicBezTo>
                    <a:pt x="1941" y="568"/>
                    <a:pt x="1941" y="568"/>
                    <a:pt x="1941" y="568"/>
                  </a:cubicBezTo>
                  <a:cubicBezTo>
                    <a:pt x="1929" y="568"/>
                    <a:pt x="1929" y="568"/>
                    <a:pt x="1929" y="568"/>
                  </a:cubicBezTo>
                  <a:cubicBezTo>
                    <a:pt x="1929" y="572"/>
                    <a:pt x="1929" y="572"/>
                    <a:pt x="1929" y="572"/>
                  </a:cubicBezTo>
                  <a:moveTo>
                    <a:pt x="1909" y="572"/>
                  </a:moveTo>
                  <a:cubicBezTo>
                    <a:pt x="1921" y="572"/>
                    <a:pt x="1921" y="572"/>
                    <a:pt x="1921" y="572"/>
                  </a:cubicBezTo>
                  <a:cubicBezTo>
                    <a:pt x="1921" y="568"/>
                    <a:pt x="1921" y="568"/>
                    <a:pt x="1921" y="568"/>
                  </a:cubicBezTo>
                  <a:cubicBezTo>
                    <a:pt x="1909" y="568"/>
                    <a:pt x="1909" y="568"/>
                    <a:pt x="1909" y="568"/>
                  </a:cubicBezTo>
                  <a:cubicBezTo>
                    <a:pt x="1909" y="572"/>
                    <a:pt x="1909" y="572"/>
                    <a:pt x="1909" y="572"/>
                  </a:cubicBezTo>
                  <a:moveTo>
                    <a:pt x="1889" y="572"/>
                  </a:moveTo>
                  <a:cubicBezTo>
                    <a:pt x="1901" y="572"/>
                    <a:pt x="1901" y="572"/>
                    <a:pt x="1901" y="572"/>
                  </a:cubicBezTo>
                  <a:cubicBezTo>
                    <a:pt x="1901" y="568"/>
                    <a:pt x="1901" y="568"/>
                    <a:pt x="1901" y="568"/>
                  </a:cubicBezTo>
                  <a:cubicBezTo>
                    <a:pt x="1889" y="568"/>
                    <a:pt x="1889" y="568"/>
                    <a:pt x="1889" y="568"/>
                  </a:cubicBezTo>
                  <a:cubicBezTo>
                    <a:pt x="1889" y="572"/>
                    <a:pt x="1889" y="572"/>
                    <a:pt x="1889" y="572"/>
                  </a:cubicBezTo>
                  <a:moveTo>
                    <a:pt x="1869" y="572"/>
                  </a:moveTo>
                  <a:cubicBezTo>
                    <a:pt x="1881" y="572"/>
                    <a:pt x="1881" y="572"/>
                    <a:pt x="1881" y="572"/>
                  </a:cubicBezTo>
                  <a:cubicBezTo>
                    <a:pt x="1881" y="568"/>
                    <a:pt x="1881" y="568"/>
                    <a:pt x="1881" y="568"/>
                  </a:cubicBezTo>
                  <a:cubicBezTo>
                    <a:pt x="1869" y="568"/>
                    <a:pt x="1869" y="568"/>
                    <a:pt x="1869" y="568"/>
                  </a:cubicBezTo>
                  <a:cubicBezTo>
                    <a:pt x="1869" y="572"/>
                    <a:pt x="1869" y="572"/>
                    <a:pt x="1869" y="572"/>
                  </a:cubicBezTo>
                  <a:moveTo>
                    <a:pt x="1849" y="572"/>
                  </a:moveTo>
                  <a:cubicBezTo>
                    <a:pt x="1861" y="572"/>
                    <a:pt x="1861" y="572"/>
                    <a:pt x="1861" y="572"/>
                  </a:cubicBezTo>
                  <a:cubicBezTo>
                    <a:pt x="1861" y="568"/>
                    <a:pt x="1861" y="568"/>
                    <a:pt x="1861" y="568"/>
                  </a:cubicBezTo>
                  <a:cubicBezTo>
                    <a:pt x="1849" y="568"/>
                    <a:pt x="1849" y="568"/>
                    <a:pt x="1849" y="568"/>
                  </a:cubicBezTo>
                  <a:cubicBezTo>
                    <a:pt x="1849" y="572"/>
                    <a:pt x="1849" y="572"/>
                    <a:pt x="1849" y="572"/>
                  </a:cubicBezTo>
                  <a:moveTo>
                    <a:pt x="1829" y="572"/>
                  </a:moveTo>
                  <a:cubicBezTo>
                    <a:pt x="1841" y="572"/>
                    <a:pt x="1841" y="572"/>
                    <a:pt x="1841" y="572"/>
                  </a:cubicBezTo>
                  <a:cubicBezTo>
                    <a:pt x="1841" y="568"/>
                    <a:pt x="1841" y="568"/>
                    <a:pt x="1841" y="568"/>
                  </a:cubicBezTo>
                  <a:cubicBezTo>
                    <a:pt x="1829" y="568"/>
                    <a:pt x="1829" y="568"/>
                    <a:pt x="1829" y="568"/>
                  </a:cubicBezTo>
                  <a:cubicBezTo>
                    <a:pt x="1829" y="572"/>
                    <a:pt x="1829" y="572"/>
                    <a:pt x="1829" y="572"/>
                  </a:cubicBezTo>
                  <a:moveTo>
                    <a:pt x="1809" y="572"/>
                  </a:moveTo>
                  <a:cubicBezTo>
                    <a:pt x="1821" y="572"/>
                    <a:pt x="1821" y="572"/>
                    <a:pt x="1821" y="572"/>
                  </a:cubicBezTo>
                  <a:cubicBezTo>
                    <a:pt x="1821" y="568"/>
                    <a:pt x="1821" y="568"/>
                    <a:pt x="1821" y="568"/>
                  </a:cubicBezTo>
                  <a:cubicBezTo>
                    <a:pt x="1809" y="568"/>
                    <a:pt x="1809" y="568"/>
                    <a:pt x="1809" y="568"/>
                  </a:cubicBezTo>
                  <a:cubicBezTo>
                    <a:pt x="1809" y="572"/>
                    <a:pt x="1809" y="572"/>
                    <a:pt x="1809" y="572"/>
                  </a:cubicBezTo>
                  <a:moveTo>
                    <a:pt x="1789" y="572"/>
                  </a:moveTo>
                  <a:cubicBezTo>
                    <a:pt x="1801" y="572"/>
                    <a:pt x="1801" y="572"/>
                    <a:pt x="1801" y="572"/>
                  </a:cubicBezTo>
                  <a:cubicBezTo>
                    <a:pt x="1801" y="568"/>
                    <a:pt x="1801" y="568"/>
                    <a:pt x="1801" y="568"/>
                  </a:cubicBezTo>
                  <a:cubicBezTo>
                    <a:pt x="1789" y="568"/>
                    <a:pt x="1789" y="568"/>
                    <a:pt x="1789" y="568"/>
                  </a:cubicBezTo>
                  <a:cubicBezTo>
                    <a:pt x="1789" y="572"/>
                    <a:pt x="1789" y="572"/>
                    <a:pt x="1789" y="572"/>
                  </a:cubicBezTo>
                  <a:moveTo>
                    <a:pt x="1769" y="572"/>
                  </a:moveTo>
                  <a:cubicBezTo>
                    <a:pt x="1781" y="572"/>
                    <a:pt x="1781" y="572"/>
                    <a:pt x="1781" y="572"/>
                  </a:cubicBezTo>
                  <a:cubicBezTo>
                    <a:pt x="1781" y="568"/>
                    <a:pt x="1781" y="568"/>
                    <a:pt x="1781" y="568"/>
                  </a:cubicBezTo>
                  <a:cubicBezTo>
                    <a:pt x="1769" y="568"/>
                    <a:pt x="1769" y="568"/>
                    <a:pt x="1769" y="568"/>
                  </a:cubicBezTo>
                  <a:cubicBezTo>
                    <a:pt x="1769" y="572"/>
                    <a:pt x="1769" y="572"/>
                    <a:pt x="1769" y="572"/>
                  </a:cubicBezTo>
                  <a:moveTo>
                    <a:pt x="1749" y="572"/>
                  </a:moveTo>
                  <a:cubicBezTo>
                    <a:pt x="1761" y="572"/>
                    <a:pt x="1761" y="572"/>
                    <a:pt x="1761" y="572"/>
                  </a:cubicBezTo>
                  <a:cubicBezTo>
                    <a:pt x="1761" y="568"/>
                    <a:pt x="1761" y="568"/>
                    <a:pt x="1761" y="568"/>
                  </a:cubicBezTo>
                  <a:cubicBezTo>
                    <a:pt x="1749" y="568"/>
                    <a:pt x="1749" y="568"/>
                    <a:pt x="1749" y="568"/>
                  </a:cubicBezTo>
                  <a:cubicBezTo>
                    <a:pt x="1749" y="572"/>
                    <a:pt x="1749" y="572"/>
                    <a:pt x="1749" y="572"/>
                  </a:cubicBezTo>
                  <a:moveTo>
                    <a:pt x="1729" y="572"/>
                  </a:moveTo>
                  <a:cubicBezTo>
                    <a:pt x="1741" y="572"/>
                    <a:pt x="1741" y="572"/>
                    <a:pt x="1741" y="572"/>
                  </a:cubicBezTo>
                  <a:cubicBezTo>
                    <a:pt x="1741" y="568"/>
                    <a:pt x="1741" y="568"/>
                    <a:pt x="1741" y="568"/>
                  </a:cubicBezTo>
                  <a:cubicBezTo>
                    <a:pt x="1729" y="568"/>
                    <a:pt x="1729" y="568"/>
                    <a:pt x="1729" y="568"/>
                  </a:cubicBezTo>
                  <a:cubicBezTo>
                    <a:pt x="1729" y="572"/>
                    <a:pt x="1729" y="572"/>
                    <a:pt x="1729" y="572"/>
                  </a:cubicBezTo>
                  <a:moveTo>
                    <a:pt x="1709" y="572"/>
                  </a:moveTo>
                  <a:cubicBezTo>
                    <a:pt x="1721" y="572"/>
                    <a:pt x="1721" y="572"/>
                    <a:pt x="1721" y="572"/>
                  </a:cubicBezTo>
                  <a:cubicBezTo>
                    <a:pt x="1721" y="568"/>
                    <a:pt x="1721" y="568"/>
                    <a:pt x="1721" y="568"/>
                  </a:cubicBezTo>
                  <a:cubicBezTo>
                    <a:pt x="1709" y="568"/>
                    <a:pt x="1709" y="568"/>
                    <a:pt x="1709" y="568"/>
                  </a:cubicBezTo>
                  <a:cubicBezTo>
                    <a:pt x="1709" y="572"/>
                    <a:pt x="1709" y="572"/>
                    <a:pt x="1709" y="572"/>
                  </a:cubicBezTo>
                  <a:moveTo>
                    <a:pt x="1689" y="572"/>
                  </a:moveTo>
                  <a:cubicBezTo>
                    <a:pt x="1701" y="572"/>
                    <a:pt x="1701" y="572"/>
                    <a:pt x="1701" y="572"/>
                  </a:cubicBezTo>
                  <a:cubicBezTo>
                    <a:pt x="1701" y="568"/>
                    <a:pt x="1701" y="568"/>
                    <a:pt x="1701" y="568"/>
                  </a:cubicBezTo>
                  <a:cubicBezTo>
                    <a:pt x="1689" y="568"/>
                    <a:pt x="1689" y="568"/>
                    <a:pt x="1689" y="568"/>
                  </a:cubicBezTo>
                  <a:cubicBezTo>
                    <a:pt x="1689" y="572"/>
                    <a:pt x="1689" y="572"/>
                    <a:pt x="1689" y="572"/>
                  </a:cubicBezTo>
                  <a:moveTo>
                    <a:pt x="1669" y="572"/>
                  </a:moveTo>
                  <a:cubicBezTo>
                    <a:pt x="1681" y="572"/>
                    <a:pt x="1681" y="572"/>
                    <a:pt x="1681" y="572"/>
                  </a:cubicBezTo>
                  <a:cubicBezTo>
                    <a:pt x="1681" y="568"/>
                    <a:pt x="1681" y="568"/>
                    <a:pt x="1681" y="568"/>
                  </a:cubicBezTo>
                  <a:cubicBezTo>
                    <a:pt x="1669" y="568"/>
                    <a:pt x="1669" y="568"/>
                    <a:pt x="1669" y="568"/>
                  </a:cubicBezTo>
                  <a:cubicBezTo>
                    <a:pt x="1669" y="572"/>
                    <a:pt x="1669" y="572"/>
                    <a:pt x="1669" y="572"/>
                  </a:cubicBezTo>
                  <a:moveTo>
                    <a:pt x="1649" y="572"/>
                  </a:moveTo>
                  <a:cubicBezTo>
                    <a:pt x="1661" y="572"/>
                    <a:pt x="1661" y="572"/>
                    <a:pt x="1661" y="572"/>
                  </a:cubicBezTo>
                  <a:cubicBezTo>
                    <a:pt x="1661" y="568"/>
                    <a:pt x="1661" y="568"/>
                    <a:pt x="1661" y="568"/>
                  </a:cubicBezTo>
                  <a:cubicBezTo>
                    <a:pt x="1649" y="568"/>
                    <a:pt x="1649" y="568"/>
                    <a:pt x="1649" y="568"/>
                  </a:cubicBezTo>
                  <a:cubicBezTo>
                    <a:pt x="1649" y="572"/>
                    <a:pt x="1649" y="572"/>
                    <a:pt x="1649" y="572"/>
                  </a:cubicBezTo>
                  <a:moveTo>
                    <a:pt x="1629" y="572"/>
                  </a:moveTo>
                  <a:cubicBezTo>
                    <a:pt x="1641" y="572"/>
                    <a:pt x="1641" y="572"/>
                    <a:pt x="1641" y="572"/>
                  </a:cubicBezTo>
                  <a:cubicBezTo>
                    <a:pt x="1641" y="568"/>
                    <a:pt x="1641" y="568"/>
                    <a:pt x="1641" y="568"/>
                  </a:cubicBezTo>
                  <a:cubicBezTo>
                    <a:pt x="1629" y="568"/>
                    <a:pt x="1629" y="568"/>
                    <a:pt x="1629" y="568"/>
                  </a:cubicBezTo>
                  <a:cubicBezTo>
                    <a:pt x="1629" y="572"/>
                    <a:pt x="1629" y="572"/>
                    <a:pt x="1629" y="572"/>
                  </a:cubicBezTo>
                  <a:moveTo>
                    <a:pt x="1609" y="572"/>
                  </a:moveTo>
                  <a:cubicBezTo>
                    <a:pt x="1621" y="572"/>
                    <a:pt x="1621" y="572"/>
                    <a:pt x="1621" y="572"/>
                  </a:cubicBezTo>
                  <a:cubicBezTo>
                    <a:pt x="1621" y="568"/>
                    <a:pt x="1621" y="568"/>
                    <a:pt x="1621" y="568"/>
                  </a:cubicBezTo>
                  <a:cubicBezTo>
                    <a:pt x="1609" y="568"/>
                    <a:pt x="1609" y="568"/>
                    <a:pt x="1609" y="568"/>
                  </a:cubicBezTo>
                  <a:cubicBezTo>
                    <a:pt x="1609" y="572"/>
                    <a:pt x="1609" y="572"/>
                    <a:pt x="1609" y="572"/>
                  </a:cubicBezTo>
                  <a:moveTo>
                    <a:pt x="1589" y="572"/>
                  </a:moveTo>
                  <a:cubicBezTo>
                    <a:pt x="1601" y="572"/>
                    <a:pt x="1601" y="572"/>
                    <a:pt x="1601" y="572"/>
                  </a:cubicBezTo>
                  <a:cubicBezTo>
                    <a:pt x="1601" y="568"/>
                    <a:pt x="1601" y="568"/>
                    <a:pt x="1601" y="568"/>
                  </a:cubicBezTo>
                  <a:cubicBezTo>
                    <a:pt x="1589" y="568"/>
                    <a:pt x="1589" y="568"/>
                    <a:pt x="1589" y="568"/>
                  </a:cubicBezTo>
                  <a:cubicBezTo>
                    <a:pt x="1589" y="572"/>
                    <a:pt x="1589" y="572"/>
                    <a:pt x="1589" y="572"/>
                  </a:cubicBezTo>
                  <a:moveTo>
                    <a:pt x="1569" y="572"/>
                  </a:moveTo>
                  <a:cubicBezTo>
                    <a:pt x="1581" y="572"/>
                    <a:pt x="1581" y="572"/>
                    <a:pt x="1581" y="572"/>
                  </a:cubicBezTo>
                  <a:cubicBezTo>
                    <a:pt x="1581" y="568"/>
                    <a:pt x="1581" y="568"/>
                    <a:pt x="1581" y="568"/>
                  </a:cubicBezTo>
                  <a:cubicBezTo>
                    <a:pt x="1569" y="568"/>
                    <a:pt x="1569" y="568"/>
                    <a:pt x="1569" y="568"/>
                  </a:cubicBezTo>
                  <a:cubicBezTo>
                    <a:pt x="1569" y="572"/>
                    <a:pt x="1569" y="572"/>
                    <a:pt x="1569" y="572"/>
                  </a:cubicBezTo>
                  <a:moveTo>
                    <a:pt x="1549" y="572"/>
                  </a:moveTo>
                  <a:cubicBezTo>
                    <a:pt x="1561" y="572"/>
                    <a:pt x="1561" y="572"/>
                    <a:pt x="1561" y="572"/>
                  </a:cubicBezTo>
                  <a:cubicBezTo>
                    <a:pt x="1561" y="568"/>
                    <a:pt x="1561" y="568"/>
                    <a:pt x="1561" y="568"/>
                  </a:cubicBezTo>
                  <a:cubicBezTo>
                    <a:pt x="1549" y="568"/>
                    <a:pt x="1549" y="568"/>
                    <a:pt x="1549" y="568"/>
                  </a:cubicBezTo>
                  <a:cubicBezTo>
                    <a:pt x="1549" y="572"/>
                    <a:pt x="1549" y="572"/>
                    <a:pt x="1549" y="572"/>
                  </a:cubicBezTo>
                  <a:moveTo>
                    <a:pt x="1529" y="572"/>
                  </a:moveTo>
                  <a:cubicBezTo>
                    <a:pt x="1541" y="572"/>
                    <a:pt x="1541" y="572"/>
                    <a:pt x="1541" y="572"/>
                  </a:cubicBezTo>
                  <a:cubicBezTo>
                    <a:pt x="1541" y="568"/>
                    <a:pt x="1541" y="568"/>
                    <a:pt x="1541" y="568"/>
                  </a:cubicBezTo>
                  <a:cubicBezTo>
                    <a:pt x="1529" y="568"/>
                    <a:pt x="1529" y="568"/>
                    <a:pt x="1529" y="568"/>
                  </a:cubicBezTo>
                  <a:cubicBezTo>
                    <a:pt x="1529" y="572"/>
                    <a:pt x="1529" y="572"/>
                    <a:pt x="1529" y="572"/>
                  </a:cubicBezTo>
                  <a:moveTo>
                    <a:pt x="1509" y="572"/>
                  </a:moveTo>
                  <a:cubicBezTo>
                    <a:pt x="1521" y="572"/>
                    <a:pt x="1521" y="572"/>
                    <a:pt x="1521" y="572"/>
                  </a:cubicBezTo>
                  <a:cubicBezTo>
                    <a:pt x="1521" y="568"/>
                    <a:pt x="1521" y="568"/>
                    <a:pt x="1521" y="568"/>
                  </a:cubicBezTo>
                  <a:cubicBezTo>
                    <a:pt x="1509" y="568"/>
                    <a:pt x="1509" y="568"/>
                    <a:pt x="1509" y="568"/>
                  </a:cubicBezTo>
                  <a:cubicBezTo>
                    <a:pt x="1509" y="572"/>
                    <a:pt x="1509" y="572"/>
                    <a:pt x="1509" y="572"/>
                  </a:cubicBezTo>
                  <a:moveTo>
                    <a:pt x="1489" y="572"/>
                  </a:moveTo>
                  <a:cubicBezTo>
                    <a:pt x="1501" y="572"/>
                    <a:pt x="1501" y="572"/>
                    <a:pt x="1501" y="572"/>
                  </a:cubicBezTo>
                  <a:cubicBezTo>
                    <a:pt x="1501" y="568"/>
                    <a:pt x="1501" y="568"/>
                    <a:pt x="1501" y="568"/>
                  </a:cubicBezTo>
                  <a:cubicBezTo>
                    <a:pt x="1489" y="568"/>
                    <a:pt x="1489" y="568"/>
                    <a:pt x="1489" y="568"/>
                  </a:cubicBezTo>
                  <a:cubicBezTo>
                    <a:pt x="1489" y="572"/>
                    <a:pt x="1489" y="572"/>
                    <a:pt x="1489" y="572"/>
                  </a:cubicBezTo>
                  <a:moveTo>
                    <a:pt x="1469" y="572"/>
                  </a:moveTo>
                  <a:cubicBezTo>
                    <a:pt x="1481" y="572"/>
                    <a:pt x="1481" y="572"/>
                    <a:pt x="1481" y="572"/>
                  </a:cubicBezTo>
                  <a:cubicBezTo>
                    <a:pt x="1481" y="568"/>
                    <a:pt x="1481" y="568"/>
                    <a:pt x="1481" y="568"/>
                  </a:cubicBezTo>
                  <a:cubicBezTo>
                    <a:pt x="1469" y="568"/>
                    <a:pt x="1469" y="568"/>
                    <a:pt x="1469" y="568"/>
                  </a:cubicBezTo>
                  <a:cubicBezTo>
                    <a:pt x="1469" y="572"/>
                    <a:pt x="1469" y="572"/>
                    <a:pt x="1469" y="572"/>
                  </a:cubicBezTo>
                  <a:moveTo>
                    <a:pt x="1449" y="572"/>
                  </a:moveTo>
                  <a:cubicBezTo>
                    <a:pt x="1461" y="572"/>
                    <a:pt x="1461" y="572"/>
                    <a:pt x="1461" y="572"/>
                  </a:cubicBezTo>
                  <a:cubicBezTo>
                    <a:pt x="1461" y="568"/>
                    <a:pt x="1461" y="568"/>
                    <a:pt x="1461" y="568"/>
                  </a:cubicBezTo>
                  <a:cubicBezTo>
                    <a:pt x="1449" y="568"/>
                    <a:pt x="1449" y="568"/>
                    <a:pt x="1449" y="568"/>
                  </a:cubicBezTo>
                  <a:cubicBezTo>
                    <a:pt x="1449" y="572"/>
                    <a:pt x="1449" y="572"/>
                    <a:pt x="1449" y="572"/>
                  </a:cubicBezTo>
                  <a:moveTo>
                    <a:pt x="1429" y="572"/>
                  </a:moveTo>
                  <a:cubicBezTo>
                    <a:pt x="1441" y="572"/>
                    <a:pt x="1441" y="572"/>
                    <a:pt x="1441" y="572"/>
                  </a:cubicBezTo>
                  <a:cubicBezTo>
                    <a:pt x="1441" y="568"/>
                    <a:pt x="1441" y="568"/>
                    <a:pt x="1441" y="568"/>
                  </a:cubicBezTo>
                  <a:cubicBezTo>
                    <a:pt x="1429" y="568"/>
                    <a:pt x="1429" y="568"/>
                    <a:pt x="1429" y="568"/>
                  </a:cubicBezTo>
                  <a:cubicBezTo>
                    <a:pt x="1429" y="572"/>
                    <a:pt x="1429" y="572"/>
                    <a:pt x="1429" y="572"/>
                  </a:cubicBezTo>
                  <a:moveTo>
                    <a:pt x="1409" y="572"/>
                  </a:moveTo>
                  <a:cubicBezTo>
                    <a:pt x="1421" y="572"/>
                    <a:pt x="1421" y="572"/>
                    <a:pt x="1421" y="572"/>
                  </a:cubicBezTo>
                  <a:cubicBezTo>
                    <a:pt x="1421" y="568"/>
                    <a:pt x="1421" y="568"/>
                    <a:pt x="1421" y="568"/>
                  </a:cubicBezTo>
                  <a:cubicBezTo>
                    <a:pt x="1409" y="568"/>
                    <a:pt x="1409" y="568"/>
                    <a:pt x="1409" y="568"/>
                  </a:cubicBezTo>
                  <a:cubicBezTo>
                    <a:pt x="1409" y="572"/>
                    <a:pt x="1409" y="572"/>
                    <a:pt x="1409" y="572"/>
                  </a:cubicBezTo>
                  <a:moveTo>
                    <a:pt x="1389" y="572"/>
                  </a:moveTo>
                  <a:cubicBezTo>
                    <a:pt x="1401" y="572"/>
                    <a:pt x="1401" y="572"/>
                    <a:pt x="1401" y="572"/>
                  </a:cubicBezTo>
                  <a:cubicBezTo>
                    <a:pt x="1401" y="568"/>
                    <a:pt x="1401" y="568"/>
                    <a:pt x="1401" y="568"/>
                  </a:cubicBezTo>
                  <a:cubicBezTo>
                    <a:pt x="1389" y="568"/>
                    <a:pt x="1389" y="568"/>
                    <a:pt x="1389" y="568"/>
                  </a:cubicBezTo>
                  <a:cubicBezTo>
                    <a:pt x="1389" y="572"/>
                    <a:pt x="1389" y="572"/>
                    <a:pt x="1389" y="572"/>
                  </a:cubicBezTo>
                  <a:moveTo>
                    <a:pt x="1369" y="572"/>
                  </a:moveTo>
                  <a:cubicBezTo>
                    <a:pt x="1381" y="572"/>
                    <a:pt x="1381" y="572"/>
                    <a:pt x="1381" y="572"/>
                  </a:cubicBezTo>
                  <a:cubicBezTo>
                    <a:pt x="1381" y="568"/>
                    <a:pt x="1381" y="568"/>
                    <a:pt x="1381" y="568"/>
                  </a:cubicBezTo>
                  <a:cubicBezTo>
                    <a:pt x="1369" y="568"/>
                    <a:pt x="1369" y="568"/>
                    <a:pt x="1369" y="568"/>
                  </a:cubicBezTo>
                  <a:cubicBezTo>
                    <a:pt x="1369" y="572"/>
                    <a:pt x="1369" y="572"/>
                    <a:pt x="1369" y="572"/>
                  </a:cubicBezTo>
                  <a:moveTo>
                    <a:pt x="1349" y="572"/>
                  </a:moveTo>
                  <a:cubicBezTo>
                    <a:pt x="1361" y="572"/>
                    <a:pt x="1361" y="572"/>
                    <a:pt x="1361" y="572"/>
                  </a:cubicBezTo>
                  <a:cubicBezTo>
                    <a:pt x="1361" y="568"/>
                    <a:pt x="1361" y="568"/>
                    <a:pt x="1361" y="568"/>
                  </a:cubicBezTo>
                  <a:cubicBezTo>
                    <a:pt x="1349" y="568"/>
                    <a:pt x="1349" y="568"/>
                    <a:pt x="1349" y="568"/>
                  </a:cubicBezTo>
                  <a:cubicBezTo>
                    <a:pt x="1349" y="572"/>
                    <a:pt x="1349" y="572"/>
                    <a:pt x="1349" y="572"/>
                  </a:cubicBezTo>
                  <a:moveTo>
                    <a:pt x="1329" y="572"/>
                  </a:moveTo>
                  <a:cubicBezTo>
                    <a:pt x="1341" y="572"/>
                    <a:pt x="1341" y="572"/>
                    <a:pt x="1341" y="572"/>
                  </a:cubicBezTo>
                  <a:cubicBezTo>
                    <a:pt x="1341" y="568"/>
                    <a:pt x="1341" y="568"/>
                    <a:pt x="1341" y="568"/>
                  </a:cubicBezTo>
                  <a:cubicBezTo>
                    <a:pt x="1329" y="568"/>
                    <a:pt x="1329" y="568"/>
                    <a:pt x="1329" y="568"/>
                  </a:cubicBezTo>
                  <a:cubicBezTo>
                    <a:pt x="1329" y="572"/>
                    <a:pt x="1329" y="572"/>
                    <a:pt x="1329" y="572"/>
                  </a:cubicBezTo>
                  <a:moveTo>
                    <a:pt x="1309" y="572"/>
                  </a:moveTo>
                  <a:cubicBezTo>
                    <a:pt x="1321" y="572"/>
                    <a:pt x="1321" y="572"/>
                    <a:pt x="1321" y="572"/>
                  </a:cubicBezTo>
                  <a:cubicBezTo>
                    <a:pt x="1321" y="568"/>
                    <a:pt x="1321" y="568"/>
                    <a:pt x="1321" y="568"/>
                  </a:cubicBezTo>
                  <a:cubicBezTo>
                    <a:pt x="1309" y="568"/>
                    <a:pt x="1309" y="568"/>
                    <a:pt x="1309" y="568"/>
                  </a:cubicBezTo>
                  <a:cubicBezTo>
                    <a:pt x="1309" y="572"/>
                    <a:pt x="1309" y="572"/>
                    <a:pt x="1309" y="572"/>
                  </a:cubicBezTo>
                  <a:moveTo>
                    <a:pt x="1289" y="572"/>
                  </a:moveTo>
                  <a:cubicBezTo>
                    <a:pt x="1301" y="572"/>
                    <a:pt x="1301" y="572"/>
                    <a:pt x="1301" y="572"/>
                  </a:cubicBezTo>
                  <a:cubicBezTo>
                    <a:pt x="1301" y="568"/>
                    <a:pt x="1301" y="568"/>
                    <a:pt x="1301" y="568"/>
                  </a:cubicBezTo>
                  <a:cubicBezTo>
                    <a:pt x="1289" y="568"/>
                    <a:pt x="1289" y="568"/>
                    <a:pt x="1289" y="568"/>
                  </a:cubicBezTo>
                  <a:cubicBezTo>
                    <a:pt x="1289" y="572"/>
                    <a:pt x="1289" y="572"/>
                    <a:pt x="1289" y="572"/>
                  </a:cubicBezTo>
                  <a:moveTo>
                    <a:pt x="1269" y="572"/>
                  </a:moveTo>
                  <a:cubicBezTo>
                    <a:pt x="1281" y="572"/>
                    <a:pt x="1281" y="572"/>
                    <a:pt x="1281" y="572"/>
                  </a:cubicBezTo>
                  <a:cubicBezTo>
                    <a:pt x="1281" y="568"/>
                    <a:pt x="1281" y="568"/>
                    <a:pt x="1281" y="568"/>
                  </a:cubicBezTo>
                  <a:cubicBezTo>
                    <a:pt x="1269" y="568"/>
                    <a:pt x="1269" y="568"/>
                    <a:pt x="1269" y="568"/>
                  </a:cubicBezTo>
                  <a:cubicBezTo>
                    <a:pt x="1269" y="572"/>
                    <a:pt x="1269" y="572"/>
                    <a:pt x="1269" y="572"/>
                  </a:cubicBezTo>
                  <a:moveTo>
                    <a:pt x="1249" y="572"/>
                  </a:moveTo>
                  <a:cubicBezTo>
                    <a:pt x="1261" y="572"/>
                    <a:pt x="1261" y="572"/>
                    <a:pt x="1261" y="572"/>
                  </a:cubicBezTo>
                  <a:cubicBezTo>
                    <a:pt x="1261" y="568"/>
                    <a:pt x="1261" y="568"/>
                    <a:pt x="1261" y="568"/>
                  </a:cubicBezTo>
                  <a:cubicBezTo>
                    <a:pt x="1249" y="568"/>
                    <a:pt x="1249" y="568"/>
                    <a:pt x="1249" y="568"/>
                  </a:cubicBezTo>
                  <a:cubicBezTo>
                    <a:pt x="1249" y="572"/>
                    <a:pt x="1249" y="572"/>
                    <a:pt x="1249" y="572"/>
                  </a:cubicBezTo>
                  <a:moveTo>
                    <a:pt x="1229" y="572"/>
                  </a:moveTo>
                  <a:cubicBezTo>
                    <a:pt x="1241" y="572"/>
                    <a:pt x="1241" y="572"/>
                    <a:pt x="1241" y="572"/>
                  </a:cubicBezTo>
                  <a:cubicBezTo>
                    <a:pt x="1241" y="568"/>
                    <a:pt x="1241" y="568"/>
                    <a:pt x="1241" y="568"/>
                  </a:cubicBezTo>
                  <a:cubicBezTo>
                    <a:pt x="1229" y="568"/>
                    <a:pt x="1229" y="568"/>
                    <a:pt x="1229" y="568"/>
                  </a:cubicBezTo>
                  <a:cubicBezTo>
                    <a:pt x="1229" y="572"/>
                    <a:pt x="1229" y="572"/>
                    <a:pt x="1229" y="572"/>
                  </a:cubicBezTo>
                  <a:moveTo>
                    <a:pt x="1209" y="572"/>
                  </a:moveTo>
                  <a:cubicBezTo>
                    <a:pt x="1221" y="572"/>
                    <a:pt x="1221" y="572"/>
                    <a:pt x="1221" y="572"/>
                  </a:cubicBezTo>
                  <a:cubicBezTo>
                    <a:pt x="1221" y="568"/>
                    <a:pt x="1221" y="568"/>
                    <a:pt x="1221" y="568"/>
                  </a:cubicBezTo>
                  <a:cubicBezTo>
                    <a:pt x="1209" y="568"/>
                    <a:pt x="1209" y="568"/>
                    <a:pt x="1209" y="568"/>
                  </a:cubicBezTo>
                  <a:cubicBezTo>
                    <a:pt x="1209" y="572"/>
                    <a:pt x="1209" y="572"/>
                    <a:pt x="1209" y="572"/>
                  </a:cubicBezTo>
                  <a:moveTo>
                    <a:pt x="1189" y="572"/>
                  </a:moveTo>
                  <a:cubicBezTo>
                    <a:pt x="1201" y="572"/>
                    <a:pt x="1201" y="572"/>
                    <a:pt x="1201" y="572"/>
                  </a:cubicBezTo>
                  <a:cubicBezTo>
                    <a:pt x="1201" y="568"/>
                    <a:pt x="1201" y="568"/>
                    <a:pt x="1201" y="568"/>
                  </a:cubicBezTo>
                  <a:cubicBezTo>
                    <a:pt x="1189" y="568"/>
                    <a:pt x="1189" y="568"/>
                    <a:pt x="1189" y="568"/>
                  </a:cubicBezTo>
                  <a:cubicBezTo>
                    <a:pt x="1189" y="572"/>
                    <a:pt x="1189" y="572"/>
                    <a:pt x="1189" y="572"/>
                  </a:cubicBezTo>
                  <a:moveTo>
                    <a:pt x="1169" y="572"/>
                  </a:moveTo>
                  <a:cubicBezTo>
                    <a:pt x="1181" y="572"/>
                    <a:pt x="1181" y="572"/>
                    <a:pt x="1181" y="572"/>
                  </a:cubicBezTo>
                  <a:cubicBezTo>
                    <a:pt x="1181" y="568"/>
                    <a:pt x="1181" y="568"/>
                    <a:pt x="1181" y="568"/>
                  </a:cubicBezTo>
                  <a:cubicBezTo>
                    <a:pt x="1169" y="568"/>
                    <a:pt x="1169" y="568"/>
                    <a:pt x="1169" y="568"/>
                  </a:cubicBezTo>
                  <a:cubicBezTo>
                    <a:pt x="1169" y="572"/>
                    <a:pt x="1169" y="572"/>
                    <a:pt x="1169" y="572"/>
                  </a:cubicBezTo>
                  <a:moveTo>
                    <a:pt x="1149" y="572"/>
                  </a:moveTo>
                  <a:cubicBezTo>
                    <a:pt x="1161" y="572"/>
                    <a:pt x="1161" y="572"/>
                    <a:pt x="1161" y="572"/>
                  </a:cubicBezTo>
                  <a:cubicBezTo>
                    <a:pt x="1161" y="568"/>
                    <a:pt x="1161" y="568"/>
                    <a:pt x="1161" y="568"/>
                  </a:cubicBezTo>
                  <a:cubicBezTo>
                    <a:pt x="1149" y="568"/>
                    <a:pt x="1149" y="568"/>
                    <a:pt x="1149" y="568"/>
                  </a:cubicBezTo>
                  <a:cubicBezTo>
                    <a:pt x="1149" y="572"/>
                    <a:pt x="1149" y="572"/>
                    <a:pt x="1149" y="572"/>
                  </a:cubicBezTo>
                  <a:moveTo>
                    <a:pt x="1129" y="572"/>
                  </a:moveTo>
                  <a:cubicBezTo>
                    <a:pt x="1141" y="572"/>
                    <a:pt x="1141" y="572"/>
                    <a:pt x="1141" y="572"/>
                  </a:cubicBezTo>
                  <a:cubicBezTo>
                    <a:pt x="1141" y="568"/>
                    <a:pt x="1141" y="568"/>
                    <a:pt x="1141" y="568"/>
                  </a:cubicBezTo>
                  <a:cubicBezTo>
                    <a:pt x="1129" y="568"/>
                    <a:pt x="1129" y="568"/>
                    <a:pt x="1129" y="568"/>
                  </a:cubicBezTo>
                  <a:cubicBezTo>
                    <a:pt x="1129" y="572"/>
                    <a:pt x="1129" y="572"/>
                    <a:pt x="1129" y="572"/>
                  </a:cubicBezTo>
                  <a:moveTo>
                    <a:pt x="1109" y="572"/>
                  </a:moveTo>
                  <a:cubicBezTo>
                    <a:pt x="1121" y="572"/>
                    <a:pt x="1121" y="572"/>
                    <a:pt x="1121" y="572"/>
                  </a:cubicBezTo>
                  <a:cubicBezTo>
                    <a:pt x="1121" y="568"/>
                    <a:pt x="1121" y="568"/>
                    <a:pt x="1121" y="568"/>
                  </a:cubicBezTo>
                  <a:cubicBezTo>
                    <a:pt x="1109" y="568"/>
                    <a:pt x="1109" y="568"/>
                    <a:pt x="1109" y="568"/>
                  </a:cubicBezTo>
                  <a:cubicBezTo>
                    <a:pt x="1109" y="572"/>
                    <a:pt x="1109" y="572"/>
                    <a:pt x="1109" y="572"/>
                  </a:cubicBezTo>
                  <a:moveTo>
                    <a:pt x="1089" y="572"/>
                  </a:moveTo>
                  <a:cubicBezTo>
                    <a:pt x="1101" y="572"/>
                    <a:pt x="1101" y="572"/>
                    <a:pt x="1101" y="572"/>
                  </a:cubicBezTo>
                  <a:cubicBezTo>
                    <a:pt x="1101" y="568"/>
                    <a:pt x="1101" y="568"/>
                    <a:pt x="1101" y="568"/>
                  </a:cubicBezTo>
                  <a:cubicBezTo>
                    <a:pt x="1089" y="568"/>
                    <a:pt x="1089" y="568"/>
                    <a:pt x="1089" y="568"/>
                  </a:cubicBezTo>
                  <a:cubicBezTo>
                    <a:pt x="1089" y="572"/>
                    <a:pt x="1089" y="572"/>
                    <a:pt x="1089" y="572"/>
                  </a:cubicBezTo>
                  <a:moveTo>
                    <a:pt x="1069" y="572"/>
                  </a:moveTo>
                  <a:cubicBezTo>
                    <a:pt x="1081" y="572"/>
                    <a:pt x="1081" y="572"/>
                    <a:pt x="1081" y="572"/>
                  </a:cubicBezTo>
                  <a:cubicBezTo>
                    <a:pt x="1081" y="568"/>
                    <a:pt x="1081" y="568"/>
                    <a:pt x="1081" y="568"/>
                  </a:cubicBezTo>
                  <a:cubicBezTo>
                    <a:pt x="1069" y="568"/>
                    <a:pt x="1069" y="568"/>
                    <a:pt x="1069" y="568"/>
                  </a:cubicBezTo>
                  <a:cubicBezTo>
                    <a:pt x="1069" y="572"/>
                    <a:pt x="1069" y="572"/>
                    <a:pt x="1069" y="572"/>
                  </a:cubicBezTo>
                  <a:moveTo>
                    <a:pt x="1049" y="572"/>
                  </a:moveTo>
                  <a:cubicBezTo>
                    <a:pt x="1061" y="572"/>
                    <a:pt x="1061" y="572"/>
                    <a:pt x="1061" y="572"/>
                  </a:cubicBezTo>
                  <a:cubicBezTo>
                    <a:pt x="1061" y="568"/>
                    <a:pt x="1061" y="568"/>
                    <a:pt x="1061" y="568"/>
                  </a:cubicBezTo>
                  <a:cubicBezTo>
                    <a:pt x="1049" y="568"/>
                    <a:pt x="1049" y="568"/>
                    <a:pt x="1049" y="568"/>
                  </a:cubicBezTo>
                  <a:cubicBezTo>
                    <a:pt x="1049" y="572"/>
                    <a:pt x="1049" y="572"/>
                    <a:pt x="1049" y="572"/>
                  </a:cubicBezTo>
                  <a:moveTo>
                    <a:pt x="1029" y="572"/>
                  </a:moveTo>
                  <a:cubicBezTo>
                    <a:pt x="1041" y="572"/>
                    <a:pt x="1041" y="572"/>
                    <a:pt x="1041" y="572"/>
                  </a:cubicBezTo>
                  <a:cubicBezTo>
                    <a:pt x="1041" y="568"/>
                    <a:pt x="1041" y="568"/>
                    <a:pt x="1041" y="568"/>
                  </a:cubicBezTo>
                  <a:cubicBezTo>
                    <a:pt x="1029" y="568"/>
                    <a:pt x="1029" y="568"/>
                    <a:pt x="1029" y="568"/>
                  </a:cubicBezTo>
                  <a:cubicBezTo>
                    <a:pt x="1029" y="572"/>
                    <a:pt x="1029" y="572"/>
                    <a:pt x="1029" y="572"/>
                  </a:cubicBezTo>
                  <a:moveTo>
                    <a:pt x="1009" y="572"/>
                  </a:moveTo>
                  <a:cubicBezTo>
                    <a:pt x="1021" y="572"/>
                    <a:pt x="1021" y="572"/>
                    <a:pt x="1021" y="572"/>
                  </a:cubicBezTo>
                  <a:cubicBezTo>
                    <a:pt x="1021" y="568"/>
                    <a:pt x="1021" y="568"/>
                    <a:pt x="1021" y="568"/>
                  </a:cubicBezTo>
                  <a:cubicBezTo>
                    <a:pt x="1009" y="568"/>
                    <a:pt x="1009" y="568"/>
                    <a:pt x="1009" y="568"/>
                  </a:cubicBezTo>
                  <a:cubicBezTo>
                    <a:pt x="1009" y="572"/>
                    <a:pt x="1009" y="572"/>
                    <a:pt x="1009" y="572"/>
                  </a:cubicBezTo>
                  <a:moveTo>
                    <a:pt x="989" y="572"/>
                  </a:moveTo>
                  <a:cubicBezTo>
                    <a:pt x="1001" y="572"/>
                    <a:pt x="1001" y="572"/>
                    <a:pt x="1001" y="572"/>
                  </a:cubicBezTo>
                  <a:cubicBezTo>
                    <a:pt x="1001" y="568"/>
                    <a:pt x="1001" y="568"/>
                    <a:pt x="1001" y="568"/>
                  </a:cubicBezTo>
                  <a:cubicBezTo>
                    <a:pt x="989" y="568"/>
                    <a:pt x="989" y="568"/>
                    <a:pt x="989" y="568"/>
                  </a:cubicBezTo>
                  <a:cubicBezTo>
                    <a:pt x="989" y="572"/>
                    <a:pt x="989" y="572"/>
                    <a:pt x="989" y="572"/>
                  </a:cubicBezTo>
                  <a:moveTo>
                    <a:pt x="969" y="572"/>
                  </a:moveTo>
                  <a:cubicBezTo>
                    <a:pt x="981" y="572"/>
                    <a:pt x="981" y="572"/>
                    <a:pt x="981" y="572"/>
                  </a:cubicBezTo>
                  <a:cubicBezTo>
                    <a:pt x="981" y="568"/>
                    <a:pt x="981" y="568"/>
                    <a:pt x="981" y="568"/>
                  </a:cubicBezTo>
                  <a:cubicBezTo>
                    <a:pt x="969" y="568"/>
                    <a:pt x="969" y="568"/>
                    <a:pt x="969" y="568"/>
                  </a:cubicBezTo>
                  <a:cubicBezTo>
                    <a:pt x="969" y="572"/>
                    <a:pt x="969" y="572"/>
                    <a:pt x="969" y="572"/>
                  </a:cubicBezTo>
                  <a:moveTo>
                    <a:pt x="949" y="572"/>
                  </a:moveTo>
                  <a:cubicBezTo>
                    <a:pt x="961" y="572"/>
                    <a:pt x="961" y="572"/>
                    <a:pt x="961" y="572"/>
                  </a:cubicBezTo>
                  <a:cubicBezTo>
                    <a:pt x="961" y="568"/>
                    <a:pt x="961" y="568"/>
                    <a:pt x="961" y="568"/>
                  </a:cubicBezTo>
                  <a:cubicBezTo>
                    <a:pt x="949" y="568"/>
                    <a:pt x="949" y="568"/>
                    <a:pt x="949" y="568"/>
                  </a:cubicBezTo>
                  <a:cubicBezTo>
                    <a:pt x="949" y="572"/>
                    <a:pt x="949" y="572"/>
                    <a:pt x="949" y="572"/>
                  </a:cubicBezTo>
                  <a:moveTo>
                    <a:pt x="929" y="572"/>
                  </a:moveTo>
                  <a:cubicBezTo>
                    <a:pt x="941" y="572"/>
                    <a:pt x="941" y="572"/>
                    <a:pt x="941" y="572"/>
                  </a:cubicBezTo>
                  <a:cubicBezTo>
                    <a:pt x="941" y="568"/>
                    <a:pt x="941" y="568"/>
                    <a:pt x="941" y="568"/>
                  </a:cubicBezTo>
                  <a:cubicBezTo>
                    <a:pt x="929" y="568"/>
                    <a:pt x="929" y="568"/>
                    <a:pt x="929" y="568"/>
                  </a:cubicBezTo>
                  <a:cubicBezTo>
                    <a:pt x="929" y="572"/>
                    <a:pt x="929" y="572"/>
                    <a:pt x="929" y="572"/>
                  </a:cubicBezTo>
                  <a:moveTo>
                    <a:pt x="909" y="572"/>
                  </a:moveTo>
                  <a:cubicBezTo>
                    <a:pt x="921" y="572"/>
                    <a:pt x="921" y="572"/>
                    <a:pt x="921" y="572"/>
                  </a:cubicBezTo>
                  <a:cubicBezTo>
                    <a:pt x="921" y="568"/>
                    <a:pt x="921" y="568"/>
                    <a:pt x="921" y="568"/>
                  </a:cubicBezTo>
                  <a:cubicBezTo>
                    <a:pt x="909" y="568"/>
                    <a:pt x="909" y="568"/>
                    <a:pt x="909" y="568"/>
                  </a:cubicBezTo>
                  <a:cubicBezTo>
                    <a:pt x="909" y="572"/>
                    <a:pt x="909" y="572"/>
                    <a:pt x="909" y="572"/>
                  </a:cubicBezTo>
                  <a:moveTo>
                    <a:pt x="889" y="572"/>
                  </a:moveTo>
                  <a:cubicBezTo>
                    <a:pt x="901" y="572"/>
                    <a:pt x="901" y="572"/>
                    <a:pt x="901" y="572"/>
                  </a:cubicBezTo>
                  <a:cubicBezTo>
                    <a:pt x="901" y="568"/>
                    <a:pt x="901" y="568"/>
                    <a:pt x="901" y="568"/>
                  </a:cubicBezTo>
                  <a:cubicBezTo>
                    <a:pt x="889" y="568"/>
                    <a:pt x="889" y="568"/>
                    <a:pt x="889" y="568"/>
                  </a:cubicBezTo>
                  <a:cubicBezTo>
                    <a:pt x="889" y="572"/>
                    <a:pt x="889" y="572"/>
                    <a:pt x="889" y="572"/>
                  </a:cubicBezTo>
                  <a:moveTo>
                    <a:pt x="869" y="572"/>
                  </a:moveTo>
                  <a:cubicBezTo>
                    <a:pt x="881" y="572"/>
                    <a:pt x="881" y="572"/>
                    <a:pt x="881" y="572"/>
                  </a:cubicBezTo>
                  <a:cubicBezTo>
                    <a:pt x="881" y="568"/>
                    <a:pt x="881" y="568"/>
                    <a:pt x="881" y="568"/>
                  </a:cubicBezTo>
                  <a:cubicBezTo>
                    <a:pt x="869" y="568"/>
                    <a:pt x="869" y="568"/>
                    <a:pt x="869" y="568"/>
                  </a:cubicBezTo>
                  <a:cubicBezTo>
                    <a:pt x="869" y="572"/>
                    <a:pt x="869" y="572"/>
                    <a:pt x="869" y="572"/>
                  </a:cubicBezTo>
                  <a:moveTo>
                    <a:pt x="849" y="572"/>
                  </a:moveTo>
                  <a:cubicBezTo>
                    <a:pt x="861" y="572"/>
                    <a:pt x="861" y="572"/>
                    <a:pt x="861" y="572"/>
                  </a:cubicBezTo>
                  <a:cubicBezTo>
                    <a:pt x="861" y="568"/>
                    <a:pt x="861" y="568"/>
                    <a:pt x="861" y="568"/>
                  </a:cubicBezTo>
                  <a:cubicBezTo>
                    <a:pt x="849" y="568"/>
                    <a:pt x="849" y="568"/>
                    <a:pt x="849" y="568"/>
                  </a:cubicBezTo>
                  <a:cubicBezTo>
                    <a:pt x="849" y="572"/>
                    <a:pt x="849" y="572"/>
                    <a:pt x="849" y="572"/>
                  </a:cubicBezTo>
                  <a:moveTo>
                    <a:pt x="829" y="572"/>
                  </a:moveTo>
                  <a:cubicBezTo>
                    <a:pt x="841" y="572"/>
                    <a:pt x="841" y="572"/>
                    <a:pt x="841" y="572"/>
                  </a:cubicBezTo>
                  <a:cubicBezTo>
                    <a:pt x="841" y="568"/>
                    <a:pt x="841" y="568"/>
                    <a:pt x="841" y="568"/>
                  </a:cubicBezTo>
                  <a:cubicBezTo>
                    <a:pt x="829" y="568"/>
                    <a:pt x="829" y="568"/>
                    <a:pt x="829" y="568"/>
                  </a:cubicBezTo>
                  <a:cubicBezTo>
                    <a:pt x="829" y="572"/>
                    <a:pt x="829" y="572"/>
                    <a:pt x="829" y="572"/>
                  </a:cubicBezTo>
                  <a:moveTo>
                    <a:pt x="809" y="572"/>
                  </a:moveTo>
                  <a:cubicBezTo>
                    <a:pt x="821" y="572"/>
                    <a:pt x="821" y="572"/>
                    <a:pt x="821" y="572"/>
                  </a:cubicBezTo>
                  <a:cubicBezTo>
                    <a:pt x="821" y="568"/>
                    <a:pt x="821" y="568"/>
                    <a:pt x="821" y="568"/>
                  </a:cubicBezTo>
                  <a:cubicBezTo>
                    <a:pt x="809" y="568"/>
                    <a:pt x="809" y="568"/>
                    <a:pt x="809" y="568"/>
                  </a:cubicBezTo>
                  <a:cubicBezTo>
                    <a:pt x="809" y="572"/>
                    <a:pt x="809" y="572"/>
                    <a:pt x="809" y="572"/>
                  </a:cubicBezTo>
                  <a:moveTo>
                    <a:pt x="789" y="572"/>
                  </a:moveTo>
                  <a:cubicBezTo>
                    <a:pt x="801" y="572"/>
                    <a:pt x="801" y="572"/>
                    <a:pt x="801" y="572"/>
                  </a:cubicBezTo>
                  <a:cubicBezTo>
                    <a:pt x="801" y="568"/>
                    <a:pt x="801" y="568"/>
                    <a:pt x="801" y="568"/>
                  </a:cubicBezTo>
                  <a:cubicBezTo>
                    <a:pt x="789" y="568"/>
                    <a:pt x="789" y="568"/>
                    <a:pt x="789" y="568"/>
                  </a:cubicBezTo>
                  <a:cubicBezTo>
                    <a:pt x="789" y="572"/>
                    <a:pt x="789" y="572"/>
                    <a:pt x="789" y="572"/>
                  </a:cubicBezTo>
                  <a:moveTo>
                    <a:pt x="769" y="572"/>
                  </a:moveTo>
                  <a:cubicBezTo>
                    <a:pt x="781" y="572"/>
                    <a:pt x="781" y="572"/>
                    <a:pt x="781" y="572"/>
                  </a:cubicBezTo>
                  <a:cubicBezTo>
                    <a:pt x="781" y="568"/>
                    <a:pt x="781" y="568"/>
                    <a:pt x="781" y="568"/>
                  </a:cubicBezTo>
                  <a:cubicBezTo>
                    <a:pt x="769" y="568"/>
                    <a:pt x="769" y="568"/>
                    <a:pt x="769" y="568"/>
                  </a:cubicBezTo>
                  <a:cubicBezTo>
                    <a:pt x="769" y="572"/>
                    <a:pt x="769" y="572"/>
                    <a:pt x="769" y="572"/>
                  </a:cubicBezTo>
                  <a:moveTo>
                    <a:pt x="749" y="572"/>
                  </a:moveTo>
                  <a:cubicBezTo>
                    <a:pt x="761" y="572"/>
                    <a:pt x="761" y="572"/>
                    <a:pt x="761" y="572"/>
                  </a:cubicBezTo>
                  <a:cubicBezTo>
                    <a:pt x="761" y="568"/>
                    <a:pt x="761" y="568"/>
                    <a:pt x="761" y="568"/>
                  </a:cubicBezTo>
                  <a:cubicBezTo>
                    <a:pt x="749" y="568"/>
                    <a:pt x="749" y="568"/>
                    <a:pt x="749" y="568"/>
                  </a:cubicBezTo>
                  <a:cubicBezTo>
                    <a:pt x="749" y="572"/>
                    <a:pt x="749" y="572"/>
                    <a:pt x="749" y="572"/>
                  </a:cubicBezTo>
                  <a:moveTo>
                    <a:pt x="729" y="572"/>
                  </a:moveTo>
                  <a:cubicBezTo>
                    <a:pt x="741" y="572"/>
                    <a:pt x="741" y="572"/>
                    <a:pt x="741" y="572"/>
                  </a:cubicBezTo>
                  <a:cubicBezTo>
                    <a:pt x="741" y="568"/>
                    <a:pt x="741" y="568"/>
                    <a:pt x="741" y="568"/>
                  </a:cubicBezTo>
                  <a:cubicBezTo>
                    <a:pt x="729" y="568"/>
                    <a:pt x="729" y="568"/>
                    <a:pt x="729" y="568"/>
                  </a:cubicBezTo>
                  <a:cubicBezTo>
                    <a:pt x="729" y="572"/>
                    <a:pt x="729" y="572"/>
                    <a:pt x="729" y="572"/>
                  </a:cubicBezTo>
                  <a:moveTo>
                    <a:pt x="709" y="572"/>
                  </a:moveTo>
                  <a:cubicBezTo>
                    <a:pt x="721" y="572"/>
                    <a:pt x="721" y="572"/>
                    <a:pt x="721" y="572"/>
                  </a:cubicBezTo>
                  <a:cubicBezTo>
                    <a:pt x="721" y="568"/>
                    <a:pt x="721" y="568"/>
                    <a:pt x="721" y="568"/>
                  </a:cubicBezTo>
                  <a:cubicBezTo>
                    <a:pt x="709" y="568"/>
                    <a:pt x="709" y="568"/>
                    <a:pt x="709" y="568"/>
                  </a:cubicBezTo>
                  <a:cubicBezTo>
                    <a:pt x="709" y="572"/>
                    <a:pt x="709" y="572"/>
                    <a:pt x="709" y="572"/>
                  </a:cubicBezTo>
                  <a:moveTo>
                    <a:pt x="689" y="572"/>
                  </a:moveTo>
                  <a:cubicBezTo>
                    <a:pt x="701" y="572"/>
                    <a:pt x="701" y="572"/>
                    <a:pt x="701" y="572"/>
                  </a:cubicBezTo>
                  <a:cubicBezTo>
                    <a:pt x="701" y="568"/>
                    <a:pt x="701" y="568"/>
                    <a:pt x="701" y="568"/>
                  </a:cubicBezTo>
                  <a:cubicBezTo>
                    <a:pt x="689" y="568"/>
                    <a:pt x="689" y="568"/>
                    <a:pt x="689" y="568"/>
                  </a:cubicBezTo>
                  <a:cubicBezTo>
                    <a:pt x="689" y="572"/>
                    <a:pt x="689" y="572"/>
                    <a:pt x="689" y="572"/>
                  </a:cubicBezTo>
                  <a:moveTo>
                    <a:pt x="669" y="572"/>
                  </a:moveTo>
                  <a:cubicBezTo>
                    <a:pt x="681" y="572"/>
                    <a:pt x="681" y="572"/>
                    <a:pt x="681" y="572"/>
                  </a:cubicBezTo>
                  <a:cubicBezTo>
                    <a:pt x="681" y="568"/>
                    <a:pt x="681" y="568"/>
                    <a:pt x="681" y="568"/>
                  </a:cubicBezTo>
                  <a:cubicBezTo>
                    <a:pt x="669" y="568"/>
                    <a:pt x="669" y="568"/>
                    <a:pt x="669" y="568"/>
                  </a:cubicBezTo>
                  <a:cubicBezTo>
                    <a:pt x="669" y="572"/>
                    <a:pt x="669" y="572"/>
                    <a:pt x="669" y="572"/>
                  </a:cubicBezTo>
                  <a:moveTo>
                    <a:pt x="649" y="572"/>
                  </a:moveTo>
                  <a:cubicBezTo>
                    <a:pt x="661" y="572"/>
                    <a:pt x="661" y="572"/>
                    <a:pt x="661" y="572"/>
                  </a:cubicBezTo>
                  <a:cubicBezTo>
                    <a:pt x="661" y="568"/>
                    <a:pt x="661" y="568"/>
                    <a:pt x="661" y="568"/>
                  </a:cubicBezTo>
                  <a:cubicBezTo>
                    <a:pt x="649" y="568"/>
                    <a:pt x="649" y="568"/>
                    <a:pt x="649" y="568"/>
                  </a:cubicBezTo>
                  <a:cubicBezTo>
                    <a:pt x="649" y="572"/>
                    <a:pt x="649" y="572"/>
                    <a:pt x="649" y="572"/>
                  </a:cubicBezTo>
                  <a:moveTo>
                    <a:pt x="629" y="572"/>
                  </a:moveTo>
                  <a:cubicBezTo>
                    <a:pt x="641" y="572"/>
                    <a:pt x="641" y="572"/>
                    <a:pt x="641" y="572"/>
                  </a:cubicBezTo>
                  <a:cubicBezTo>
                    <a:pt x="641" y="568"/>
                    <a:pt x="641" y="568"/>
                    <a:pt x="641" y="568"/>
                  </a:cubicBezTo>
                  <a:cubicBezTo>
                    <a:pt x="629" y="568"/>
                    <a:pt x="629" y="568"/>
                    <a:pt x="629" y="568"/>
                  </a:cubicBezTo>
                  <a:cubicBezTo>
                    <a:pt x="629" y="572"/>
                    <a:pt x="629" y="572"/>
                    <a:pt x="629" y="572"/>
                  </a:cubicBezTo>
                  <a:moveTo>
                    <a:pt x="609" y="572"/>
                  </a:moveTo>
                  <a:cubicBezTo>
                    <a:pt x="621" y="572"/>
                    <a:pt x="621" y="572"/>
                    <a:pt x="621" y="572"/>
                  </a:cubicBezTo>
                  <a:cubicBezTo>
                    <a:pt x="621" y="568"/>
                    <a:pt x="621" y="568"/>
                    <a:pt x="621" y="568"/>
                  </a:cubicBezTo>
                  <a:cubicBezTo>
                    <a:pt x="609" y="568"/>
                    <a:pt x="609" y="568"/>
                    <a:pt x="609" y="568"/>
                  </a:cubicBezTo>
                  <a:cubicBezTo>
                    <a:pt x="609" y="572"/>
                    <a:pt x="609" y="572"/>
                    <a:pt x="609" y="572"/>
                  </a:cubicBezTo>
                  <a:moveTo>
                    <a:pt x="589" y="572"/>
                  </a:moveTo>
                  <a:cubicBezTo>
                    <a:pt x="601" y="572"/>
                    <a:pt x="601" y="572"/>
                    <a:pt x="601" y="572"/>
                  </a:cubicBezTo>
                  <a:cubicBezTo>
                    <a:pt x="601" y="568"/>
                    <a:pt x="601" y="568"/>
                    <a:pt x="601" y="568"/>
                  </a:cubicBezTo>
                  <a:cubicBezTo>
                    <a:pt x="589" y="568"/>
                    <a:pt x="589" y="568"/>
                    <a:pt x="589" y="568"/>
                  </a:cubicBezTo>
                  <a:cubicBezTo>
                    <a:pt x="589" y="572"/>
                    <a:pt x="589" y="572"/>
                    <a:pt x="589" y="572"/>
                  </a:cubicBezTo>
                  <a:moveTo>
                    <a:pt x="569" y="572"/>
                  </a:moveTo>
                  <a:cubicBezTo>
                    <a:pt x="581" y="572"/>
                    <a:pt x="581" y="572"/>
                    <a:pt x="581" y="572"/>
                  </a:cubicBezTo>
                  <a:cubicBezTo>
                    <a:pt x="581" y="568"/>
                    <a:pt x="581" y="568"/>
                    <a:pt x="581" y="568"/>
                  </a:cubicBezTo>
                  <a:cubicBezTo>
                    <a:pt x="569" y="568"/>
                    <a:pt x="569" y="568"/>
                    <a:pt x="569" y="568"/>
                  </a:cubicBezTo>
                  <a:cubicBezTo>
                    <a:pt x="569" y="572"/>
                    <a:pt x="569" y="572"/>
                    <a:pt x="569" y="572"/>
                  </a:cubicBezTo>
                  <a:moveTo>
                    <a:pt x="549" y="572"/>
                  </a:moveTo>
                  <a:cubicBezTo>
                    <a:pt x="561" y="572"/>
                    <a:pt x="561" y="572"/>
                    <a:pt x="561" y="572"/>
                  </a:cubicBezTo>
                  <a:cubicBezTo>
                    <a:pt x="561" y="568"/>
                    <a:pt x="561" y="568"/>
                    <a:pt x="561" y="568"/>
                  </a:cubicBezTo>
                  <a:cubicBezTo>
                    <a:pt x="549" y="568"/>
                    <a:pt x="549" y="568"/>
                    <a:pt x="549" y="568"/>
                  </a:cubicBezTo>
                  <a:cubicBezTo>
                    <a:pt x="549" y="572"/>
                    <a:pt x="549" y="572"/>
                    <a:pt x="549" y="572"/>
                  </a:cubicBezTo>
                  <a:moveTo>
                    <a:pt x="529" y="572"/>
                  </a:moveTo>
                  <a:cubicBezTo>
                    <a:pt x="541" y="572"/>
                    <a:pt x="541" y="572"/>
                    <a:pt x="541" y="572"/>
                  </a:cubicBezTo>
                  <a:cubicBezTo>
                    <a:pt x="541" y="568"/>
                    <a:pt x="541" y="568"/>
                    <a:pt x="541" y="568"/>
                  </a:cubicBezTo>
                  <a:cubicBezTo>
                    <a:pt x="529" y="568"/>
                    <a:pt x="529" y="568"/>
                    <a:pt x="529" y="568"/>
                  </a:cubicBezTo>
                  <a:cubicBezTo>
                    <a:pt x="529" y="572"/>
                    <a:pt x="529" y="572"/>
                    <a:pt x="529" y="572"/>
                  </a:cubicBezTo>
                  <a:moveTo>
                    <a:pt x="509" y="572"/>
                  </a:moveTo>
                  <a:cubicBezTo>
                    <a:pt x="521" y="572"/>
                    <a:pt x="521" y="572"/>
                    <a:pt x="521" y="572"/>
                  </a:cubicBezTo>
                  <a:cubicBezTo>
                    <a:pt x="521" y="568"/>
                    <a:pt x="521" y="568"/>
                    <a:pt x="521" y="568"/>
                  </a:cubicBezTo>
                  <a:cubicBezTo>
                    <a:pt x="509" y="568"/>
                    <a:pt x="509" y="568"/>
                    <a:pt x="509" y="568"/>
                  </a:cubicBezTo>
                  <a:cubicBezTo>
                    <a:pt x="509" y="572"/>
                    <a:pt x="509" y="572"/>
                    <a:pt x="509" y="572"/>
                  </a:cubicBezTo>
                  <a:moveTo>
                    <a:pt x="489" y="572"/>
                  </a:moveTo>
                  <a:cubicBezTo>
                    <a:pt x="501" y="572"/>
                    <a:pt x="501" y="572"/>
                    <a:pt x="501" y="572"/>
                  </a:cubicBezTo>
                  <a:cubicBezTo>
                    <a:pt x="501" y="568"/>
                    <a:pt x="501" y="568"/>
                    <a:pt x="501" y="568"/>
                  </a:cubicBezTo>
                  <a:cubicBezTo>
                    <a:pt x="489" y="568"/>
                    <a:pt x="489" y="568"/>
                    <a:pt x="489" y="568"/>
                  </a:cubicBezTo>
                  <a:cubicBezTo>
                    <a:pt x="489" y="572"/>
                    <a:pt x="489" y="572"/>
                    <a:pt x="489" y="572"/>
                  </a:cubicBezTo>
                  <a:moveTo>
                    <a:pt x="469" y="572"/>
                  </a:moveTo>
                  <a:cubicBezTo>
                    <a:pt x="481" y="572"/>
                    <a:pt x="481" y="572"/>
                    <a:pt x="481" y="572"/>
                  </a:cubicBezTo>
                  <a:cubicBezTo>
                    <a:pt x="481" y="568"/>
                    <a:pt x="481" y="568"/>
                    <a:pt x="481" y="568"/>
                  </a:cubicBezTo>
                  <a:cubicBezTo>
                    <a:pt x="469" y="568"/>
                    <a:pt x="469" y="568"/>
                    <a:pt x="469" y="568"/>
                  </a:cubicBezTo>
                  <a:cubicBezTo>
                    <a:pt x="469" y="572"/>
                    <a:pt x="469" y="572"/>
                    <a:pt x="469" y="572"/>
                  </a:cubicBezTo>
                  <a:moveTo>
                    <a:pt x="449" y="572"/>
                  </a:moveTo>
                  <a:cubicBezTo>
                    <a:pt x="461" y="572"/>
                    <a:pt x="461" y="572"/>
                    <a:pt x="461" y="572"/>
                  </a:cubicBezTo>
                  <a:cubicBezTo>
                    <a:pt x="461" y="568"/>
                    <a:pt x="461" y="568"/>
                    <a:pt x="461" y="568"/>
                  </a:cubicBezTo>
                  <a:cubicBezTo>
                    <a:pt x="449" y="568"/>
                    <a:pt x="449" y="568"/>
                    <a:pt x="449" y="568"/>
                  </a:cubicBezTo>
                  <a:cubicBezTo>
                    <a:pt x="449" y="572"/>
                    <a:pt x="449" y="572"/>
                    <a:pt x="449" y="572"/>
                  </a:cubicBezTo>
                  <a:moveTo>
                    <a:pt x="429" y="572"/>
                  </a:moveTo>
                  <a:cubicBezTo>
                    <a:pt x="441" y="572"/>
                    <a:pt x="441" y="572"/>
                    <a:pt x="441" y="572"/>
                  </a:cubicBezTo>
                  <a:cubicBezTo>
                    <a:pt x="441" y="568"/>
                    <a:pt x="441" y="568"/>
                    <a:pt x="441" y="568"/>
                  </a:cubicBezTo>
                  <a:cubicBezTo>
                    <a:pt x="429" y="568"/>
                    <a:pt x="429" y="568"/>
                    <a:pt x="429" y="568"/>
                  </a:cubicBezTo>
                  <a:cubicBezTo>
                    <a:pt x="429" y="572"/>
                    <a:pt x="429" y="572"/>
                    <a:pt x="429" y="572"/>
                  </a:cubicBezTo>
                  <a:moveTo>
                    <a:pt x="409" y="572"/>
                  </a:moveTo>
                  <a:cubicBezTo>
                    <a:pt x="421" y="572"/>
                    <a:pt x="421" y="572"/>
                    <a:pt x="421" y="572"/>
                  </a:cubicBezTo>
                  <a:cubicBezTo>
                    <a:pt x="421" y="568"/>
                    <a:pt x="421" y="568"/>
                    <a:pt x="421" y="568"/>
                  </a:cubicBezTo>
                  <a:cubicBezTo>
                    <a:pt x="409" y="568"/>
                    <a:pt x="409" y="568"/>
                    <a:pt x="409" y="568"/>
                  </a:cubicBezTo>
                  <a:cubicBezTo>
                    <a:pt x="409" y="572"/>
                    <a:pt x="409" y="572"/>
                    <a:pt x="409" y="572"/>
                  </a:cubicBezTo>
                  <a:moveTo>
                    <a:pt x="389" y="572"/>
                  </a:moveTo>
                  <a:cubicBezTo>
                    <a:pt x="401" y="572"/>
                    <a:pt x="401" y="572"/>
                    <a:pt x="401" y="572"/>
                  </a:cubicBezTo>
                  <a:cubicBezTo>
                    <a:pt x="401" y="568"/>
                    <a:pt x="401" y="568"/>
                    <a:pt x="401" y="568"/>
                  </a:cubicBezTo>
                  <a:cubicBezTo>
                    <a:pt x="389" y="568"/>
                    <a:pt x="389" y="568"/>
                    <a:pt x="389" y="568"/>
                  </a:cubicBezTo>
                  <a:cubicBezTo>
                    <a:pt x="389" y="572"/>
                    <a:pt x="389" y="572"/>
                    <a:pt x="389" y="572"/>
                  </a:cubicBezTo>
                  <a:moveTo>
                    <a:pt x="369" y="572"/>
                  </a:moveTo>
                  <a:cubicBezTo>
                    <a:pt x="381" y="572"/>
                    <a:pt x="381" y="572"/>
                    <a:pt x="381" y="572"/>
                  </a:cubicBezTo>
                  <a:cubicBezTo>
                    <a:pt x="381" y="568"/>
                    <a:pt x="381" y="568"/>
                    <a:pt x="381" y="568"/>
                  </a:cubicBezTo>
                  <a:cubicBezTo>
                    <a:pt x="369" y="568"/>
                    <a:pt x="369" y="568"/>
                    <a:pt x="369" y="568"/>
                  </a:cubicBezTo>
                  <a:cubicBezTo>
                    <a:pt x="369" y="572"/>
                    <a:pt x="369" y="572"/>
                    <a:pt x="369" y="572"/>
                  </a:cubicBezTo>
                  <a:moveTo>
                    <a:pt x="349" y="572"/>
                  </a:moveTo>
                  <a:cubicBezTo>
                    <a:pt x="361" y="572"/>
                    <a:pt x="361" y="572"/>
                    <a:pt x="361" y="572"/>
                  </a:cubicBezTo>
                  <a:cubicBezTo>
                    <a:pt x="361" y="568"/>
                    <a:pt x="361" y="568"/>
                    <a:pt x="361" y="568"/>
                  </a:cubicBezTo>
                  <a:cubicBezTo>
                    <a:pt x="349" y="568"/>
                    <a:pt x="349" y="568"/>
                    <a:pt x="349" y="568"/>
                  </a:cubicBezTo>
                  <a:cubicBezTo>
                    <a:pt x="349" y="572"/>
                    <a:pt x="349" y="572"/>
                    <a:pt x="349" y="572"/>
                  </a:cubicBezTo>
                  <a:moveTo>
                    <a:pt x="329" y="572"/>
                  </a:moveTo>
                  <a:cubicBezTo>
                    <a:pt x="341" y="572"/>
                    <a:pt x="341" y="572"/>
                    <a:pt x="341" y="572"/>
                  </a:cubicBezTo>
                  <a:cubicBezTo>
                    <a:pt x="341" y="568"/>
                    <a:pt x="341" y="568"/>
                    <a:pt x="341" y="568"/>
                  </a:cubicBezTo>
                  <a:cubicBezTo>
                    <a:pt x="329" y="568"/>
                    <a:pt x="329" y="568"/>
                    <a:pt x="329" y="568"/>
                  </a:cubicBezTo>
                  <a:cubicBezTo>
                    <a:pt x="329" y="572"/>
                    <a:pt x="329" y="572"/>
                    <a:pt x="329" y="572"/>
                  </a:cubicBezTo>
                  <a:moveTo>
                    <a:pt x="309" y="572"/>
                  </a:moveTo>
                  <a:cubicBezTo>
                    <a:pt x="321" y="572"/>
                    <a:pt x="321" y="572"/>
                    <a:pt x="321" y="572"/>
                  </a:cubicBezTo>
                  <a:cubicBezTo>
                    <a:pt x="321" y="568"/>
                    <a:pt x="321" y="568"/>
                    <a:pt x="321" y="568"/>
                  </a:cubicBezTo>
                  <a:cubicBezTo>
                    <a:pt x="309" y="568"/>
                    <a:pt x="309" y="568"/>
                    <a:pt x="309" y="568"/>
                  </a:cubicBezTo>
                  <a:cubicBezTo>
                    <a:pt x="309" y="572"/>
                    <a:pt x="309" y="572"/>
                    <a:pt x="309" y="572"/>
                  </a:cubicBezTo>
                  <a:moveTo>
                    <a:pt x="289" y="572"/>
                  </a:moveTo>
                  <a:cubicBezTo>
                    <a:pt x="301" y="572"/>
                    <a:pt x="301" y="572"/>
                    <a:pt x="301" y="572"/>
                  </a:cubicBezTo>
                  <a:cubicBezTo>
                    <a:pt x="301" y="568"/>
                    <a:pt x="301" y="568"/>
                    <a:pt x="301" y="568"/>
                  </a:cubicBezTo>
                  <a:cubicBezTo>
                    <a:pt x="289" y="568"/>
                    <a:pt x="289" y="568"/>
                    <a:pt x="289" y="568"/>
                  </a:cubicBezTo>
                  <a:cubicBezTo>
                    <a:pt x="289" y="572"/>
                    <a:pt x="289" y="572"/>
                    <a:pt x="289" y="572"/>
                  </a:cubicBezTo>
                  <a:moveTo>
                    <a:pt x="269" y="572"/>
                  </a:moveTo>
                  <a:cubicBezTo>
                    <a:pt x="281" y="572"/>
                    <a:pt x="281" y="572"/>
                    <a:pt x="281" y="572"/>
                  </a:cubicBezTo>
                  <a:cubicBezTo>
                    <a:pt x="281" y="568"/>
                    <a:pt x="281" y="568"/>
                    <a:pt x="281" y="568"/>
                  </a:cubicBezTo>
                  <a:cubicBezTo>
                    <a:pt x="269" y="568"/>
                    <a:pt x="269" y="568"/>
                    <a:pt x="269" y="568"/>
                  </a:cubicBezTo>
                  <a:cubicBezTo>
                    <a:pt x="269" y="572"/>
                    <a:pt x="269" y="572"/>
                    <a:pt x="269" y="572"/>
                  </a:cubicBezTo>
                  <a:moveTo>
                    <a:pt x="249" y="572"/>
                  </a:moveTo>
                  <a:cubicBezTo>
                    <a:pt x="261" y="572"/>
                    <a:pt x="261" y="572"/>
                    <a:pt x="261" y="572"/>
                  </a:cubicBezTo>
                  <a:cubicBezTo>
                    <a:pt x="261" y="568"/>
                    <a:pt x="261" y="568"/>
                    <a:pt x="261" y="568"/>
                  </a:cubicBezTo>
                  <a:cubicBezTo>
                    <a:pt x="249" y="568"/>
                    <a:pt x="249" y="568"/>
                    <a:pt x="249" y="568"/>
                  </a:cubicBezTo>
                  <a:cubicBezTo>
                    <a:pt x="249" y="572"/>
                    <a:pt x="249" y="572"/>
                    <a:pt x="249" y="572"/>
                  </a:cubicBezTo>
                  <a:moveTo>
                    <a:pt x="229" y="572"/>
                  </a:moveTo>
                  <a:cubicBezTo>
                    <a:pt x="241" y="572"/>
                    <a:pt x="241" y="572"/>
                    <a:pt x="241" y="572"/>
                  </a:cubicBezTo>
                  <a:cubicBezTo>
                    <a:pt x="241" y="568"/>
                    <a:pt x="241" y="568"/>
                    <a:pt x="241" y="568"/>
                  </a:cubicBezTo>
                  <a:cubicBezTo>
                    <a:pt x="229" y="568"/>
                    <a:pt x="229" y="568"/>
                    <a:pt x="229" y="568"/>
                  </a:cubicBezTo>
                  <a:cubicBezTo>
                    <a:pt x="229" y="572"/>
                    <a:pt x="229" y="572"/>
                    <a:pt x="229" y="572"/>
                  </a:cubicBezTo>
                  <a:moveTo>
                    <a:pt x="209" y="572"/>
                  </a:moveTo>
                  <a:cubicBezTo>
                    <a:pt x="221" y="572"/>
                    <a:pt x="221" y="572"/>
                    <a:pt x="221" y="572"/>
                  </a:cubicBezTo>
                  <a:cubicBezTo>
                    <a:pt x="221" y="568"/>
                    <a:pt x="221" y="568"/>
                    <a:pt x="221" y="568"/>
                  </a:cubicBezTo>
                  <a:cubicBezTo>
                    <a:pt x="209" y="568"/>
                    <a:pt x="209" y="568"/>
                    <a:pt x="209" y="568"/>
                  </a:cubicBezTo>
                  <a:cubicBezTo>
                    <a:pt x="209" y="572"/>
                    <a:pt x="209" y="572"/>
                    <a:pt x="209" y="572"/>
                  </a:cubicBezTo>
                  <a:moveTo>
                    <a:pt x="189" y="572"/>
                  </a:moveTo>
                  <a:cubicBezTo>
                    <a:pt x="201" y="572"/>
                    <a:pt x="201" y="572"/>
                    <a:pt x="201" y="572"/>
                  </a:cubicBezTo>
                  <a:cubicBezTo>
                    <a:pt x="201" y="568"/>
                    <a:pt x="201" y="568"/>
                    <a:pt x="201" y="568"/>
                  </a:cubicBezTo>
                  <a:cubicBezTo>
                    <a:pt x="189" y="568"/>
                    <a:pt x="189" y="568"/>
                    <a:pt x="189" y="568"/>
                  </a:cubicBezTo>
                  <a:cubicBezTo>
                    <a:pt x="189" y="572"/>
                    <a:pt x="189" y="572"/>
                    <a:pt x="189" y="572"/>
                  </a:cubicBezTo>
                  <a:moveTo>
                    <a:pt x="169" y="573"/>
                  </a:moveTo>
                  <a:cubicBezTo>
                    <a:pt x="173" y="573"/>
                    <a:pt x="177" y="572"/>
                    <a:pt x="181" y="572"/>
                  </a:cubicBezTo>
                  <a:cubicBezTo>
                    <a:pt x="181" y="568"/>
                    <a:pt x="181" y="568"/>
                    <a:pt x="181" y="568"/>
                  </a:cubicBezTo>
                  <a:cubicBezTo>
                    <a:pt x="177" y="568"/>
                    <a:pt x="173" y="569"/>
                    <a:pt x="169" y="569"/>
                  </a:cubicBezTo>
                  <a:cubicBezTo>
                    <a:pt x="169" y="573"/>
                    <a:pt x="169" y="573"/>
                    <a:pt x="169" y="573"/>
                  </a:cubicBezTo>
                  <a:moveTo>
                    <a:pt x="149" y="576"/>
                  </a:moveTo>
                  <a:cubicBezTo>
                    <a:pt x="153" y="575"/>
                    <a:pt x="157" y="574"/>
                    <a:pt x="161" y="574"/>
                  </a:cubicBezTo>
                  <a:cubicBezTo>
                    <a:pt x="161" y="570"/>
                    <a:pt x="161" y="570"/>
                    <a:pt x="161" y="570"/>
                  </a:cubicBezTo>
                  <a:cubicBezTo>
                    <a:pt x="156" y="570"/>
                    <a:pt x="152" y="571"/>
                    <a:pt x="149" y="572"/>
                  </a:cubicBezTo>
                  <a:cubicBezTo>
                    <a:pt x="149" y="576"/>
                    <a:pt x="149" y="576"/>
                    <a:pt x="149" y="576"/>
                  </a:cubicBezTo>
                  <a:moveTo>
                    <a:pt x="130" y="580"/>
                  </a:moveTo>
                  <a:cubicBezTo>
                    <a:pt x="134" y="579"/>
                    <a:pt x="138" y="578"/>
                    <a:pt x="142" y="577"/>
                  </a:cubicBezTo>
                  <a:cubicBezTo>
                    <a:pt x="141" y="573"/>
                    <a:pt x="141" y="573"/>
                    <a:pt x="141" y="573"/>
                  </a:cubicBezTo>
                  <a:cubicBezTo>
                    <a:pt x="137" y="574"/>
                    <a:pt x="133" y="575"/>
                    <a:pt x="129" y="576"/>
                  </a:cubicBezTo>
                  <a:cubicBezTo>
                    <a:pt x="130" y="580"/>
                    <a:pt x="130" y="580"/>
                    <a:pt x="130" y="580"/>
                  </a:cubicBezTo>
                  <a:moveTo>
                    <a:pt x="112" y="587"/>
                  </a:moveTo>
                  <a:cubicBezTo>
                    <a:pt x="115" y="586"/>
                    <a:pt x="119" y="584"/>
                    <a:pt x="123" y="583"/>
                  </a:cubicBezTo>
                  <a:cubicBezTo>
                    <a:pt x="121" y="579"/>
                    <a:pt x="121" y="579"/>
                    <a:pt x="121" y="579"/>
                  </a:cubicBezTo>
                  <a:cubicBezTo>
                    <a:pt x="117" y="580"/>
                    <a:pt x="114" y="582"/>
                    <a:pt x="110" y="584"/>
                  </a:cubicBezTo>
                  <a:cubicBezTo>
                    <a:pt x="112" y="587"/>
                    <a:pt x="112" y="587"/>
                    <a:pt x="112" y="587"/>
                  </a:cubicBezTo>
                  <a:moveTo>
                    <a:pt x="94" y="596"/>
                  </a:moveTo>
                  <a:cubicBezTo>
                    <a:pt x="97" y="594"/>
                    <a:pt x="101" y="592"/>
                    <a:pt x="104" y="590"/>
                  </a:cubicBezTo>
                  <a:cubicBezTo>
                    <a:pt x="103" y="587"/>
                    <a:pt x="103" y="587"/>
                    <a:pt x="103" y="587"/>
                  </a:cubicBezTo>
                  <a:cubicBezTo>
                    <a:pt x="99" y="589"/>
                    <a:pt x="95" y="591"/>
                    <a:pt x="92" y="593"/>
                  </a:cubicBezTo>
                  <a:cubicBezTo>
                    <a:pt x="94" y="596"/>
                    <a:pt x="94" y="596"/>
                    <a:pt x="94" y="596"/>
                  </a:cubicBezTo>
                  <a:moveTo>
                    <a:pt x="77" y="607"/>
                  </a:moveTo>
                  <a:cubicBezTo>
                    <a:pt x="81" y="604"/>
                    <a:pt x="84" y="602"/>
                    <a:pt x="87" y="600"/>
                  </a:cubicBezTo>
                  <a:cubicBezTo>
                    <a:pt x="85" y="597"/>
                    <a:pt x="85" y="597"/>
                    <a:pt x="85" y="597"/>
                  </a:cubicBezTo>
                  <a:cubicBezTo>
                    <a:pt x="82" y="599"/>
                    <a:pt x="78" y="601"/>
                    <a:pt x="75" y="604"/>
                  </a:cubicBezTo>
                  <a:cubicBezTo>
                    <a:pt x="77" y="607"/>
                    <a:pt x="77" y="607"/>
                    <a:pt x="77" y="607"/>
                  </a:cubicBezTo>
                  <a:moveTo>
                    <a:pt x="62" y="619"/>
                  </a:moveTo>
                  <a:cubicBezTo>
                    <a:pt x="65" y="617"/>
                    <a:pt x="68" y="614"/>
                    <a:pt x="71" y="612"/>
                  </a:cubicBezTo>
                  <a:cubicBezTo>
                    <a:pt x="69" y="609"/>
                    <a:pt x="69" y="609"/>
                    <a:pt x="69" y="609"/>
                  </a:cubicBezTo>
                  <a:cubicBezTo>
                    <a:pt x="66" y="611"/>
                    <a:pt x="62" y="614"/>
                    <a:pt x="59" y="616"/>
                  </a:cubicBezTo>
                  <a:cubicBezTo>
                    <a:pt x="62" y="619"/>
                    <a:pt x="62" y="619"/>
                    <a:pt x="62" y="619"/>
                  </a:cubicBezTo>
                  <a:moveTo>
                    <a:pt x="48" y="634"/>
                  </a:moveTo>
                  <a:cubicBezTo>
                    <a:pt x="51" y="631"/>
                    <a:pt x="54" y="628"/>
                    <a:pt x="56" y="625"/>
                  </a:cubicBezTo>
                  <a:cubicBezTo>
                    <a:pt x="54" y="622"/>
                    <a:pt x="54" y="622"/>
                    <a:pt x="54" y="622"/>
                  </a:cubicBezTo>
                  <a:cubicBezTo>
                    <a:pt x="51" y="625"/>
                    <a:pt x="48" y="628"/>
                    <a:pt x="45" y="631"/>
                  </a:cubicBezTo>
                  <a:cubicBezTo>
                    <a:pt x="48" y="634"/>
                    <a:pt x="48" y="634"/>
                    <a:pt x="48" y="634"/>
                  </a:cubicBezTo>
                  <a:cubicBezTo>
                    <a:pt x="48" y="634"/>
                    <a:pt x="48" y="634"/>
                    <a:pt x="48" y="634"/>
                  </a:cubicBezTo>
                  <a:moveTo>
                    <a:pt x="36" y="649"/>
                  </a:moveTo>
                  <a:cubicBezTo>
                    <a:pt x="38" y="646"/>
                    <a:pt x="41" y="643"/>
                    <a:pt x="43" y="640"/>
                  </a:cubicBezTo>
                  <a:cubicBezTo>
                    <a:pt x="40" y="637"/>
                    <a:pt x="40" y="637"/>
                    <a:pt x="40" y="637"/>
                  </a:cubicBezTo>
                  <a:cubicBezTo>
                    <a:pt x="38" y="640"/>
                    <a:pt x="35" y="643"/>
                    <a:pt x="33" y="647"/>
                  </a:cubicBezTo>
                  <a:cubicBezTo>
                    <a:pt x="36" y="649"/>
                    <a:pt x="36" y="649"/>
                    <a:pt x="36" y="649"/>
                  </a:cubicBezTo>
                  <a:moveTo>
                    <a:pt x="26" y="666"/>
                  </a:moveTo>
                  <a:cubicBezTo>
                    <a:pt x="28" y="662"/>
                    <a:pt x="30" y="659"/>
                    <a:pt x="32" y="656"/>
                  </a:cubicBezTo>
                  <a:cubicBezTo>
                    <a:pt x="28" y="654"/>
                    <a:pt x="28" y="654"/>
                    <a:pt x="28" y="654"/>
                  </a:cubicBezTo>
                  <a:cubicBezTo>
                    <a:pt x="26" y="657"/>
                    <a:pt x="24" y="660"/>
                    <a:pt x="22" y="664"/>
                  </a:cubicBezTo>
                  <a:cubicBezTo>
                    <a:pt x="26" y="666"/>
                    <a:pt x="26" y="666"/>
                    <a:pt x="26" y="666"/>
                  </a:cubicBezTo>
                  <a:cubicBezTo>
                    <a:pt x="26" y="666"/>
                    <a:pt x="26" y="666"/>
                    <a:pt x="26" y="666"/>
                  </a:cubicBezTo>
                  <a:moveTo>
                    <a:pt x="17" y="684"/>
                  </a:moveTo>
                  <a:cubicBezTo>
                    <a:pt x="19" y="680"/>
                    <a:pt x="20" y="677"/>
                    <a:pt x="22" y="673"/>
                  </a:cubicBezTo>
                  <a:cubicBezTo>
                    <a:pt x="19" y="671"/>
                    <a:pt x="19" y="671"/>
                    <a:pt x="19" y="671"/>
                  </a:cubicBezTo>
                  <a:cubicBezTo>
                    <a:pt x="17" y="675"/>
                    <a:pt x="15" y="679"/>
                    <a:pt x="14" y="682"/>
                  </a:cubicBezTo>
                  <a:cubicBezTo>
                    <a:pt x="17" y="684"/>
                    <a:pt x="17" y="684"/>
                    <a:pt x="17" y="684"/>
                  </a:cubicBezTo>
                  <a:moveTo>
                    <a:pt x="11" y="703"/>
                  </a:moveTo>
                  <a:cubicBezTo>
                    <a:pt x="12" y="699"/>
                    <a:pt x="13" y="695"/>
                    <a:pt x="15" y="691"/>
                  </a:cubicBezTo>
                  <a:cubicBezTo>
                    <a:pt x="11" y="690"/>
                    <a:pt x="11" y="690"/>
                    <a:pt x="11" y="690"/>
                  </a:cubicBezTo>
                  <a:cubicBezTo>
                    <a:pt x="9" y="694"/>
                    <a:pt x="8" y="698"/>
                    <a:pt x="7" y="701"/>
                  </a:cubicBezTo>
                  <a:cubicBezTo>
                    <a:pt x="11" y="703"/>
                    <a:pt x="11" y="703"/>
                    <a:pt x="11" y="703"/>
                  </a:cubicBezTo>
                  <a:moveTo>
                    <a:pt x="7" y="722"/>
                  </a:moveTo>
                  <a:cubicBezTo>
                    <a:pt x="7" y="718"/>
                    <a:pt x="8" y="714"/>
                    <a:pt x="9" y="710"/>
                  </a:cubicBezTo>
                  <a:cubicBezTo>
                    <a:pt x="5" y="709"/>
                    <a:pt x="5" y="709"/>
                    <a:pt x="5" y="709"/>
                  </a:cubicBezTo>
                  <a:cubicBezTo>
                    <a:pt x="4" y="713"/>
                    <a:pt x="3" y="717"/>
                    <a:pt x="3" y="721"/>
                  </a:cubicBezTo>
                  <a:cubicBezTo>
                    <a:pt x="7" y="722"/>
                    <a:pt x="7" y="722"/>
                    <a:pt x="7" y="722"/>
                  </a:cubicBezTo>
                  <a:moveTo>
                    <a:pt x="5" y="741"/>
                  </a:moveTo>
                  <a:cubicBezTo>
                    <a:pt x="5" y="738"/>
                    <a:pt x="5" y="734"/>
                    <a:pt x="6" y="730"/>
                  </a:cubicBezTo>
                  <a:cubicBezTo>
                    <a:pt x="2" y="729"/>
                    <a:pt x="2" y="729"/>
                    <a:pt x="2" y="729"/>
                  </a:cubicBezTo>
                  <a:cubicBezTo>
                    <a:pt x="1" y="733"/>
                    <a:pt x="1" y="737"/>
                    <a:pt x="1" y="741"/>
                  </a:cubicBezTo>
                  <a:cubicBezTo>
                    <a:pt x="5" y="741"/>
                    <a:pt x="5" y="741"/>
                    <a:pt x="5" y="741"/>
                  </a:cubicBezTo>
                  <a:moveTo>
                    <a:pt x="5" y="761"/>
                  </a:moveTo>
                  <a:cubicBezTo>
                    <a:pt x="4" y="758"/>
                    <a:pt x="4" y="754"/>
                    <a:pt x="4" y="751"/>
                  </a:cubicBezTo>
                  <a:cubicBezTo>
                    <a:pt x="4" y="750"/>
                    <a:pt x="4" y="750"/>
                    <a:pt x="4" y="749"/>
                  </a:cubicBezTo>
                  <a:cubicBezTo>
                    <a:pt x="0" y="749"/>
                    <a:pt x="0" y="749"/>
                    <a:pt x="0" y="749"/>
                  </a:cubicBezTo>
                  <a:cubicBezTo>
                    <a:pt x="0" y="750"/>
                    <a:pt x="0" y="750"/>
                    <a:pt x="0" y="751"/>
                  </a:cubicBezTo>
                  <a:cubicBezTo>
                    <a:pt x="0" y="755"/>
                    <a:pt x="0" y="758"/>
                    <a:pt x="1" y="761"/>
                  </a:cubicBezTo>
                  <a:cubicBezTo>
                    <a:pt x="5" y="761"/>
                    <a:pt x="5" y="761"/>
                    <a:pt x="5" y="761"/>
                  </a:cubicBezTo>
                  <a:moveTo>
                    <a:pt x="7" y="781"/>
                  </a:moveTo>
                  <a:cubicBezTo>
                    <a:pt x="6" y="777"/>
                    <a:pt x="6" y="773"/>
                    <a:pt x="5" y="769"/>
                  </a:cubicBezTo>
                  <a:cubicBezTo>
                    <a:pt x="1" y="770"/>
                    <a:pt x="1" y="770"/>
                    <a:pt x="1" y="770"/>
                  </a:cubicBezTo>
                  <a:cubicBezTo>
                    <a:pt x="2" y="774"/>
                    <a:pt x="2" y="778"/>
                    <a:pt x="3" y="782"/>
                  </a:cubicBezTo>
                  <a:cubicBezTo>
                    <a:pt x="7" y="781"/>
                    <a:pt x="7" y="781"/>
                    <a:pt x="7" y="781"/>
                  </a:cubicBezTo>
                  <a:cubicBezTo>
                    <a:pt x="7" y="781"/>
                    <a:pt x="7" y="781"/>
                    <a:pt x="7" y="781"/>
                  </a:cubicBezTo>
                  <a:moveTo>
                    <a:pt x="11" y="800"/>
                  </a:moveTo>
                  <a:cubicBezTo>
                    <a:pt x="10" y="796"/>
                    <a:pt x="9" y="793"/>
                    <a:pt x="8" y="789"/>
                  </a:cubicBezTo>
                  <a:cubicBezTo>
                    <a:pt x="4" y="789"/>
                    <a:pt x="4" y="789"/>
                    <a:pt x="4" y="789"/>
                  </a:cubicBezTo>
                  <a:cubicBezTo>
                    <a:pt x="5" y="793"/>
                    <a:pt x="6" y="797"/>
                    <a:pt x="7" y="801"/>
                  </a:cubicBezTo>
                  <a:cubicBezTo>
                    <a:pt x="11" y="800"/>
                    <a:pt x="11" y="800"/>
                    <a:pt x="11" y="800"/>
                  </a:cubicBezTo>
                  <a:moveTo>
                    <a:pt x="18" y="819"/>
                  </a:moveTo>
                  <a:cubicBezTo>
                    <a:pt x="16" y="815"/>
                    <a:pt x="15" y="811"/>
                    <a:pt x="13" y="808"/>
                  </a:cubicBezTo>
                  <a:cubicBezTo>
                    <a:pt x="10" y="809"/>
                    <a:pt x="10" y="809"/>
                    <a:pt x="10" y="809"/>
                  </a:cubicBezTo>
                  <a:cubicBezTo>
                    <a:pt x="11" y="813"/>
                    <a:pt x="12" y="817"/>
                    <a:pt x="14" y="820"/>
                  </a:cubicBezTo>
                  <a:cubicBezTo>
                    <a:pt x="18" y="819"/>
                    <a:pt x="18" y="819"/>
                    <a:pt x="18" y="819"/>
                  </a:cubicBezTo>
                  <a:moveTo>
                    <a:pt x="26" y="837"/>
                  </a:moveTo>
                  <a:cubicBezTo>
                    <a:pt x="24" y="833"/>
                    <a:pt x="22" y="830"/>
                    <a:pt x="21" y="826"/>
                  </a:cubicBezTo>
                  <a:cubicBezTo>
                    <a:pt x="17" y="828"/>
                    <a:pt x="17" y="828"/>
                    <a:pt x="17" y="828"/>
                  </a:cubicBezTo>
                  <a:cubicBezTo>
                    <a:pt x="19" y="831"/>
                    <a:pt x="21" y="835"/>
                    <a:pt x="23" y="839"/>
                  </a:cubicBezTo>
                  <a:cubicBezTo>
                    <a:pt x="26" y="837"/>
                    <a:pt x="26" y="837"/>
                    <a:pt x="26" y="837"/>
                  </a:cubicBezTo>
                  <a:moveTo>
                    <a:pt x="37" y="853"/>
                  </a:moveTo>
                  <a:cubicBezTo>
                    <a:pt x="34" y="850"/>
                    <a:pt x="32" y="847"/>
                    <a:pt x="30" y="843"/>
                  </a:cubicBezTo>
                  <a:cubicBezTo>
                    <a:pt x="27" y="846"/>
                    <a:pt x="27" y="846"/>
                    <a:pt x="27" y="846"/>
                  </a:cubicBezTo>
                  <a:cubicBezTo>
                    <a:pt x="29" y="849"/>
                    <a:pt x="31" y="852"/>
                    <a:pt x="33" y="856"/>
                  </a:cubicBezTo>
                  <a:cubicBezTo>
                    <a:pt x="37" y="853"/>
                    <a:pt x="37" y="853"/>
                    <a:pt x="37" y="853"/>
                  </a:cubicBezTo>
                  <a:moveTo>
                    <a:pt x="49" y="869"/>
                  </a:moveTo>
                  <a:cubicBezTo>
                    <a:pt x="46" y="866"/>
                    <a:pt x="44" y="863"/>
                    <a:pt x="41" y="860"/>
                  </a:cubicBezTo>
                  <a:cubicBezTo>
                    <a:pt x="38" y="862"/>
                    <a:pt x="38" y="862"/>
                    <a:pt x="38" y="862"/>
                  </a:cubicBezTo>
                  <a:cubicBezTo>
                    <a:pt x="41" y="865"/>
                    <a:pt x="43" y="869"/>
                    <a:pt x="46" y="872"/>
                  </a:cubicBezTo>
                  <a:cubicBezTo>
                    <a:pt x="49" y="869"/>
                    <a:pt x="49" y="869"/>
                    <a:pt x="49" y="869"/>
                  </a:cubicBezTo>
                  <a:moveTo>
                    <a:pt x="63" y="883"/>
                  </a:moveTo>
                  <a:cubicBezTo>
                    <a:pt x="60" y="880"/>
                    <a:pt x="57" y="878"/>
                    <a:pt x="54" y="875"/>
                  </a:cubicBezTo>
                  <a:cubicBezTo>
                    <a:pt x="51" y="878"/>
                    <a:pt x="51" y="878"/>
                    <a:pt x="51" y="878"/>
                  </a:cubicBezTo>
                  <a:cubicBezTo>
                    <a:pt x="54" y="880"/>
                    <a:pt x="57" y="883"/>
                    <a:pt x="60" y="886"/>
                  </a:cubicBezTo>
                  <a:cubicBezTo>
                    <a:pt x="63" y="883"/>
                    <a:pt x="63" y="883"/>
                    <a:pt x="63" y="883"/>
                  </a:cubicBezTo>
                  <a:moveTo>
                    <a:pt x="78" y="896"/>
                  </a:moveTo>
                  <a:cubicBezTo>
                    <a:pt x="75" y="893"/>
                    <a:pt x="72" y="891"/>
                    <a:pt x="69" y="888"/>
                  </a:cubicBezTo>
                  <a:cubicBezTo>
                    <a:pt x="66" y="891"/>
                    <a:pt x="66" y="891"/>
                    <a:pt x="66" y="891"/>
                  </a:cubicBezTo>
                  <a:cubicBezTo>
                    <a:pt x="69" y="894"/>
                    <a:pt x="72" y="896"/>
                    <a:pt x="76" y="899"/>
                  </a:cubicBezTo>
                  <a:cubicBezTo>
                    <a:pt x="78" y="896"/>
                    <a:pt x="78" y="896"/>
                    <a:pt x="78" y="896"/>
                  </a:cubicBezTo>
                  <a:moveTo>
                    <a:pt x="95" y="906"/>
                  </a:moveTo>
                  <a:cubicBezTo>
                    <a:pt x="91" y="904"/>
                    <a:pt x="88" y="902"/>
                    <a:pt x="84" y="900"/>
                  </a:cubicBezTo>
                  <a:cubicBezTo>
                    <a:pt x="82" y="903"/>
                    <a:pt x="82" y="903"/>
                    <a:pt x="82" y="903"/>
                  </a:cubicBezTo>
                  <a:cubicBezTo>
                    <a:pt x="86" y="906"/>
                    <a:pt x="89" y="908"/>
                    <a:pt x="93" y="910"/>
                  </a:cubicBezTo>
                  <a:cubicBezTo>
                    <a:pt x="95" y="906"/>
                    <a:pt x="95" y="906"/>
                    <a:pt x="95" y="906"/>
                  </a:cubicBezTo>
                  <a:moveTo>
                    <a:pt x="112" y="915"/>
                  </a:moveTo>
                  <a:cubicBezTo>
                    <a:pt x="109" y="914"/>
                    <a:pt x="105" y="912"/>
                    <a:pt x="102" y="910"/>
                  </a:cubicBezTo>
                  <a:cubicBezTo>
                    <a:pt x="100" y="914"/>
                    <a:pt x="100" y="914"/>
                    <a:pt x="100" y="914"/>
                  </a:cubicBezTo>
                  <a:cubicBezTo>
                    <a:pt x="103" y="915"/>
                    <a:pt x="107" y="917"/>
                    <a:pt x="111" y="919"/>
                  </a:cubicBezTo>
                  <a:cubicBezTo>
                    <a:pt x="112" y="915"/>
                    <a:pt x="112" y="915"/>
                    <a:pt x="112" y="915"/>
                  </a:cubicBezTo>
                  <a:moveTo>
                    <a:pt x="131" y="922"/>
                  </a:moveTo>
                  <a:cubicBezTo>
                    <a:pt x="127" y="921"/>
                    <a:pt x="123" y="919"/>
                    <a:pt x="120" y="918"/>
                  </a:cubicBezTo>
                  <a:cubicBezTo>
                    <a:pt x="118" y="922"/>
                    <a:pt x="118" y="922"/>
                    <a:pt x="118" y="922"/>
                  </a:cubicBezTo>
                  <a:cubicBezTo>
                    <a:pt x="122" y="923"/>
                    <a:pt x="126" y="925"/>
                    <a:pt x="130" y="926"/>
                  </a:cubicBezTo>
                  <a:cubicBezTo>
                    <a:pt x="131" y="922"/>
                    <a:pt x="131" y="922"/>
                    <a:pt x="131" y="922"/>
                  </a:cubicBezTo>
                  <a:moveTo>
                    <a:pt x="150" y="927"/>
                  </a:moveTo>
                  <a:cubicBezTo>
                    <a:pt x="146" y="926"/>
                    <a:pt x="142" y="925"/>
                    <a:pt x="138" y="924"/>
                  </a:cubicBezTo>
                  <a:cubicBezTo>
                    <a:pt x="137" y="928"/>
                    <a:pt x="137" y="928"/>
                    <a:pt x="137" y="928"/>
                  </a:cubicBezTo>
                  <a:cubicBezTo>
                    <a:pt x="141" y="929"/>
                    <a:pt x="145" y="930"/>
                    <a:pt x="149" y="931"/>
                  </a:cubicBezTo>
                  <a:cubicBezTo>
                    <a:pt x="150" y="927"/>
                    <a:pt x="150" y="927"/>
                    <a:pt x="150" y="927"/>
                  </a:cubicBezTo>
                  <a:moveTo>
                    <a:pt x="170" y="929"/>
                  </a:moveTo>
                  <a:cubicBezTo>
                    <a:pt x="166" y="929"/>
                    <a:pt x="162" y="928"/>
                    <a:pt x="158" y="928"/>
                  </a:cubicBezTo>
                  <a:cubicBezTo>
                    <a:pt x="157" y="932"/>
                    <a:pt x="157" y="932"/>
                    <a:pt x="157" y="932"/>
                  </a:cubicBezTo>
                  <a:cubicBezTo>
                    <a:pt x="161" y="932"/>
                    <a:pt x="165" y="933"/>
                    <a:pt x="169" y="933"/>
                  </a:cubicBezTo>
                  <a:cubicBezTo>
                    <a:pt x="170" y="929"/>
                    <a:pt x="170" y="929"/>
                    <a:pt x="170" y="929"/>
                  </a:cubicBezTo>
                  <a:moveTo>
                    <a:pt x="189" y="930"/>
                  </a:moveTo>
                  <a:cubicBezTo>
                    <a:pt x="183" y="930"/>
                    <a:pt x="183" y="930"/>
                    <a:pt x="183" y="930"/>
                  </a:cubicBezTo>
                  <a:cubicBezTo>
                    <a:pt x="181" y="930"/>
                    <a:pt x="179" y="930"/>
                    <a:pt x="178" y="930"/>
                  </a:cubicBezTo>
                  <a:cubicBezTo>
                    <a:pt x="177" y="934"/>
                    <a:pt x="177" y="934"/>
                    <a:pt x="177" y="934"/>
                  </a:cubicBezTo>
                  <a:cubicBezTo>
                    <a:pt x="179" y="934"/>
                    <a:pt x="181" y="934"/>
                    <a:pt x="183" y="934"/>
                  </a:cubicBezTo>
                  <a:cubicBezTo>
                    <a:pt x="189" y="934"/>
                    <a:pt x="189" y="934"/>
                    <a:pt x="189" y="934"/>
                  </a:cubicBezTo>
                  <a:cubicBezTo>
                    <a:pt x="189" y="930"/>
                    <a:pt x="189" y="930"/>
                    <a:pt x="189" y="930"/>
                  </a:cubicBezTo>
                  <a:cubicBezTo>
                    <a:pt x="189" y="930"/>
                    <a:pt x="189" y="930"/>
                    <a:pt x="189" y="930"/>
                  </a:cubicBezTo>
                  <a:moveTo>
                    <a:pt x="209" y="930"/>
                  </a:moveTo>
                  <a:cubicBezTo>
                    <a:pt x="197" y="930"/>
                    <a:pt x="197" y="930"/>
                    <a:pt x="197" y="930"/>
                  </a:cubicBezTo>
                  <a:cubicBezTo>
                    <a:pt x="197" y="934"/>
                    <a:pt x="197" y="934"/>
                    <a:pt x="197" y="934"/>
                  </a:cubicBezTo>
                  <a:cubicBezTo>
                    <a:pt x="209" y="934"/>
                    <a:pt x="209" y="934"/>
                    <a:pt x="209" y="934"/>
                  </a:cubicBezTo>
                  <a:cubicBezTo>
                    <a:pt x="209" y="930"/>
                    <a:pt x="209" y="930"/>
                    <a:pt x="209" y="930"/>
                  </a:cubicBezTo>
                  <a:moveTo>
                    <a:pt x="229" y="930"/>
                  </a:moveTo>
                  <a:cubicBezTo>
                    <a:pt x="217" y="930"/>
                    <a:pt x="217" y="930"/>
                    <a:pt x="217" y="930"/>
                  </a:cubicBezTo>
                  <a:cubicBezTo>
                    <a:pt x="217" y="934"/>
                    <a:pt x="217" y="934"/>
                    <a:pt x="217" y="934"/>
                  </a:cubicBezTo>
                  <a:cubicBezTo>
                    <a:pt x="229" y="934"/>
                    <a:pt x="229" y="934"/>
                    <a:pt x="229" y="934"/>
                  </a:cubicBezTo>
                  <a:cubicBezTo>
                    <a:pt x="229" y="930"/>
                    <a:pt x="229" y="930"/>
                    <a:pt x="229" y="930"/>
                  </a:cubicBezTo>
                  <a:moveTo>
                    <a:pt x="249" y="930"/>
                  </a:moveTo>
                  <a:cubicBezTo>
                    <a:pt x="237" y="930"/>
                    <a:pt x="237" y="930"/>
                    <a:pt x="237" y="930"/>
                  </a:cubicBezTo>
                  <a:cubicBezTo>
                    <a:pt x="237" y="934"/>
                    <a:pt x="237" y="934"/>
                    <a:pt x="237" y="934"/>
                  </a:cubicBezTo>
                  <a:cubicBezTo>
                    <a:pt x="249" y="934"/>
                    <a:pt x="249" y="934"/>
                    <a:pt x="249" y="934"/>
                  </a:cubicBezTo>
                  <a:cubicBezTo>
                    <a:pt x="249" y="930"/>
                    <a:pt x="249" y="930"/>
                    <a:pt x="249" y="930"/>
                  </a:cubicBezTo>
                  <a:moveTo>
                    <a:pt x="269" y="930"/>
                  </a:moveTo>
                  <a:cubicBezTo>
                    <a:pt x="257" y="930"/>
                    <a:pt x="257" y="930"/>
                    <a:pt x="257" y="930"/>
                  </a:cubicBezTo>
                  <a:cubicBezTo>
                    <a:pt x="257" y="934"/>
                    <a:pt x="257" y="934"/>
                    <a:pt x="257" y="934"/>
                  </a:cubicBezTo>
                  <a:cubicBezTo>
                    <a:pt x="269" y="934"/>
                    <a:pt x="269" y="934"/>
                    <a:pt x="269" y="934"/>
                  </a:cubicBezTo>
                  <a:cubicBezTo>
                    <a:pt x="269" y="930"/>
                    <a:pt x="269" y="930"/>
                    <a:pt x="269" y="930"/>
                  </a:cubicBezTo>
                  <a:moveTo>
                    <a:pt x="289" y="930"/>
                  </a:moveTo>
                  <a:cubicBezTo>
                    <a:pt x="277" y="930"/>
                    <a:pt x="277" y="930"/>
                    <a:pt x="277" y="930"/>
                  </a:cubicBezTo>
                  <a:cubicBezTo>
                    <a:pt x="277" y="934"/>
                    <a:pt x="277" y="934"/>
                    <a:pt x="277" y="934"/>
                  </a:cubicBezTo>
                  <a:cubicBezTo>
                    <a:pt x="289" y="934"/>
                    <a:pt x="289" y="934"/>
                    <a:pt x="289" y="934"/>
                  </a:cubicBezTo>
                  <a:cubicBezTo>
                    <a:pt x="289" y="930"/>
                    <a:pt x="289" y="930"/>
                    <a:pt x="289" y="930"/>
                  </a:cubicBezTo>
                  <a:moveTo>
                    <a:pt x="309" y="930"/>
                  </a:moveTo>
                  <a:cubicBezTo>
                    <a:pt x="297" y="930"/>
                    <a:pt x="297" y="930"/>
                    <a:pt x="297" y="930"/>
                  </a:cubicBezTo>
                  <a:cubicBezTo>
                    <a:pt x="297" y="934"/>
                    <a:pt x="297" y="934"/>
                    <a:pt x="297" y="934"/>
                  </a:cubicBezTo>
                  <a:cubicBezTo>
                    <a:pt x="309" y="934"/>
                    <a:pt x="309" y="934"/>
                    <a:pt x="309" y="934"/>
                  </a:cubicBezTo>
                  <a:cubicBezTo>
                    <a:pt x="309" y="930"/>
                    <a:pt x="309" y="930"/>
                    <a:pt x="309" y="930"/>
                  </a:cubicBezTo>
                  <a:moveTo>
                    <a:pt x="329" y="930"/>
                  </a:moveTo>
                  <a:cubicBezTo>
                    <a:pt x="317" y="930"/>
                    <a:pt x="317" y="930"/>
                    <a:pt x="317" y="930"/>
                  </a:cubicBezTo>
                  <a:cubicBezTo>
                    <a:pt x="317" y="934"/>
                    <a:pt x="317" y="934"/>
                    <a:pt x="317" y="934"/>
                  </a:cubicBezTo>
                  <a:cubicBezTo>
                    <a:pt x="329" y="934"/>
                    <a:pt x="329" y="934"/>
                    <a:pt x="329" y="934"/>
                  </a:cubicBezTo>
                  <a:cubicBezTo>
                    <a:pt x="329" y="930"/>
                    <a:pt x="329" y="930"/>
                    <a:pt x="329" y="930"/>
                  </a:cubicBezTo>
                  <a:moveTo>
                    <a:pt x="349" y="930"/>
                  </a:moveTo>
                  <a:cubicBezTo>
                    <a:pt x="337" y="930"/>
                    <a:pt x="337" y="930"/>
                    <a:pt x="337" y="930"/>
                  </a:cubicBezTo>
                  <a:cubicBezTo>
                    <a:pt x="337" y="934"/>
                    <a:pt x="337" y="934"/>
                    <a:pt x="337" y="934"/>
                  </a:cubicBezTo>
                  <a:cubicBezTo>
                    <a:pt x="349" y="934"/>
                    <a:pt x="349" y="934"/>
                    <a:pt x="349" y="934"/>
                  </a:cubicBezTo>
                  <a:cubicBezTo>
                    <a:pt x="349" y="930"/>
                    <a:pt x="349" y="930"/>
                    <a:pt x="349" y="930"/>
                  </a:cubicBezTo>
                  <a:moveTo>
                    <a:pt x="369" y="930"/>
                  </a:moveTo>
                  <a:cubicBezTo>
                    <a:pt x="357" y="930"/>
                    <a:pt x="357" y="930"/>
                    <a:pt x="357" y="930"/>
                  </a:cubicBezTo>
                  <a:cubicBezTo>
                    <a:pt x="357" y="934"/>
                    <a:pt x="357" y="934"/>
                    <a:pt x="357" y="934"/>
                  </a:cubicBezTo>
                  <a:cubicBezTo>
                    <a:pt x="369" y="934"/>
                    <a:pt x="369" y="934"/>
                    <a:pt x="369" y="934"/>
                  </a:cubicBezTo>
                  <a:cubicBezTo>
                    <a:pt x="369" y="930"/>
                    <a:pt x="369" y="930"/>
                    <a:pt x="369" y="930"/>
                  </a:cubicBezTo>
                  <a:moveTo>
                    <a:pt x="389" y="930"/>
                  </a:moveTo>
                  <a:cubicBezTo>
                    <a:pt x="377" y="930"/>
                    <a:pt x="377" y="930"/>
                    <a:pt x="377" y="930"/>
                  </a:cubicBezTo>
                  <a:cubicBezTo>
                    <a:pt x="377" y="934"/>
                    <a:pt x="377" y="934"/>
                    <a:pt x="377" y="934"/>
                  </a:cubicBezTo>
                  <a:cubicBezTo>
                    <a:pt x="389" y="934"/>
                    <a:pt x="389" y="934"/>
                    <a:pt x="389" y="934"/>
                  </a:cubicBezTo>
                  <a:cubicBezTo>
                    <a:pt x="389" y="930"/>
                    <a:pt x="389" y="930"/>
                    <a:pt x="389" y="930"/>
                  </a:cubicBezTo>
                  <a:moveTo>
                    <a:pt x="409" y="930"/>
                  </a:moveTo>
                  <a:cubicBezTo>
                    <a:pt x="397" y="930"/>
                    <a:pt x="397" y="930"/>
                    <a:pt x="397" y="930"/>
                  </a:cubicBezTo>
                  <a:cubicBezTo>
                    <a:pt x="397" y="934"/>
                    <a:pt x="397" y="934"/>
                    <a:pt x="397" y="934"/>
                  </a:cubicBezTo>
                  <a:cubicBezTo>
                    <a:pt x="409" y="934"/>
                    <a:pt x="409" y="934"/>
                    <a:pt x="409" y="934"/>
                  </a:cubicBezTo>
                  <a:cubicBezTo>
                    <a:pt x="409" y="930"/>
                    <a:pt x="409" y="930"/>
                    <a:pt x="409" y="930"/>
                  </a:cubicBezTo>
                  <a:moveTo>
                    <a:pt x="429" y="930"/>
                  </a:moveTo>
                  <a:cubicBezTo>
                    <a:pt x="417" y="930"/>
                    <a:pt x="417" y="930"/>
                    <a:pt x="417" y="930"/>
                  </a:cubicBezTo>
                  <a:cubicBezTo>
                    <a:pt x="417" y="934"/>
                    <a:pt x="417" y="934"/>
                    <a:pt x="417" y="934"/>
                  </a:cubicBezTo>
                  <a:cubicBezTo>
                    <a:pt x="429" y="934"/>
                    <a:pt x="429" y="934"/>
                    <a:pt x="429" y="934"/>
                  </a:cubicBezTo>
                  <a:cubicBezTo>
                    <a:pt x="429" y="930"/>
                    <a:pt x="429" y="930"/>
                    <a:pt x="429" y="930"/>
                  </a:cubicBezTo>
                  <a:moveTo>
                    <a:pt x="449" y="930"/>
                  </a:moveTo>
                  <a:cubicBezTo>
                    <a:pt x="437" y="930"/>
                    <a:pt x="437" y="930"/>
                    <a:pt x="437" y="930"/>
                  </a:cubicBezTo>
                  <a:cubicBezTo>
                    <a:pt x="437" y="934"/>
                    <a:pt x="437" y="934"/>
                    <a:pt x="437" y="934"/>
                  </a:cubicBezTo>
                  <a:cubicBezTo>
                    <a:pt x="449" y="934"/>
                    <a:pt x="449" y="934"/>
                    <a:pt x="449" y="934"/>
                  </a:cubicBezTo>
                  <a:cubicBezTo>
                    <a:pt x="449" y="930"/>
                    <a:pt x="449" y="930"/>
                    <a:pt x="449" y="930"/>
                  </a:cubicBezTo>
                  <a:moveTo>
                    <a:pt x="469" y="930"/>
                  </a:moveTo>
                  <a:cubicBezTo>
                    <a:pt x="457" y="930"/>
                    <a:pt x="457" y="930"/>
                    <a:pt x="457" y="930"/>
                  </a:cubicBezTo>
                  <a:cubicBezTo>
                    <a:pt x="457" y="934"/>
                    <a:pt x="457" y="934"/>
                    <a:pt x="457" y="934"/>
                  </a:cubicBezTo>
                  <a:cubicBezTo>
                    <a:pt x="469" y="934"/>
                    <a:pt x="469" y="934"/>
                    <a:pt x="469" y="934"/>
                  </a:cubicBezTo>
                  <a:cubicBezTo>
                    <a:pt x="469" y="930"/>
                    <a:pt x="469" y="930"/>
                    <a:pt x="469" y="930"/>
                  </a:cubicBezTo>
                  <a:moveTo>
                    <a:pt x="489" y="930"/>
                  </a:moveTo>
                  <a:cubicBezTo>
                    <a:pt x="477" y="930"/>
                    <a:pt x="477" y="930"/>
                    <a:pt x="477" y="930"/>
                  </a:cubicBezTo>
                  <a:cubicBezTo>
                    <a:pt x="477" y="934"/>
                    <a:pt x="477" y="934"/>
                    <a:pt x="477" y="934"/>
                  </a:cubicBezTo>
                  <a:cubicBezTo>
                    <a:pt x="489" y="934"/>
                    <a:pt x="489" y="934"/>
                    <a:pt x="489" y="934"/>
                  </a:cubicBezTo>
                  <a:cubicBezTo>
                    <a:pt x="489" y="930"/>
                    <a:pt x="489" y="930"/>
                    <a:pt x="489" y="930"/>
                  </a:cubicBezTo>
                  <a:moveTo>
                    <a:pt x="509" y="930"/>
                  </a:moveTo>
                  <a:cubicBezTo>
                    <a:pt x="497" y="930"/>
                    <a:pt x="497" y="930"/>
                    <a:pt x="497" y="930"/>
                  </a:cubicBezTo>
                  <a:cubicBezTo>
                    <a:pt x="497" y="934"/>
                    <a:pt x="497" y="934"/>
                    <a:pt x="497" y="934"/>
                  </a:cubicBezTo>
                  <a:cubicBezTo>
                    <a:pt x="509" y="934"/>
                    <a:pt x="509" y="934"/>
                    <a:pt x="509" y="934"/>
                  </a:cubicBezTo>
                  <a:cubicBezTo>
                    <a:pt x="509" y="930"/>
                    <a:pt x="509" y="930"/>
                    <a:pt x="509" y="930"/>
                  </a:cubicBezTo>
                  <a:moveTo>
                    <a:pt x="529" y="930"/>
                  </a:moveTo>
                  <a:cubicBezTo>
                    <a:pt x="517" y="930"/>
                    <a:pt x="517" y="930"/>
                    <a:pt x="517" y="930"/>
                  </a:cubicBezTo>
                  <a:cubicBezTo>
                    <a:pt x="517" y="934"/>
                    <a:pt x="517" y="934"/>
                    <a:pt x="517" y="934"/>
                  </a:cubicBezTo>
                  <a:cubicBezTo>
                    <a:pt x="529" y="934"/>
                    <a:pt x="529" y="934"/>
                    <a:pt x="529" y="934"/>
                  </a:cubicBezTo>
                  <a:cubicBezTo>
                    <a:pt x="529" y="930"/>
                    <a:pt x="529" y="930"/>
                    <a:pt x="529" y="930"/>
                  </a:cubicBezTo>
                  <a:moveTo>
                    <a:pt x="549" y="930"/>
                  </a:moveTo>
                  <a:cubicBezTo>
                    <a:pt x="537" y="930"/>
                    <a:pt x="537" y="930"/>
                    <a:pt x="537" y="930"/>
                  </a:cubicBezTo>
                  <a:cubicBezTo>
                    <a:pt x="537" y="934"/>
                    <a:pt x="537" y="934"/>
                    <a:pt x="537" y="934"/>
                  </a:cubicBezTo>
                  <a:cubicBezTo>
                    <a:pt x="549" y="934"/>
                    <a:pt x="549" y="934"/>
                    <a:pt x="549" y="934"/>
                  </a:cubicBezTo>
                  <a:cubicBezTo>
                    <a:pt x="549" y="930"/>
                    <a:pt x="549" y="930"/>
                    <a:pt x="549" y="930"/>
                  </a:cubicBezTo>
                  <a:moveTo>
                    <a:pt x="569" y="930"/>
                  </a:moveTo>
                  <a:cubicBezTo>
                    <a:pt x="557" y="930"/>
                    <a:pt x="557" y="930"/>
                    <a:pt x="557" y="930"/>
                  </a:cubicBezTo>
                  <a:cubicBezTo>
                    <a:pt x="557" y="934"/>
                    <a:pt x="557" y="934"/>
                    <a:pt x="557" y="934"/>
                  </a:cubicBezTo>
                  <a:cubicBezTo>
                    <a:pt x="569" y="934"/>
                    <a:pt x="569" y="934"/>
                    <a:pt x="569" y="934"/>
                  </a:cubicBezTo>
                  <a:cubicBezTo>
                    <a:pt x="569" y="930"/>
                    <a:pt x="569" y="930"/>
                    <a:pt x="569" y="930"/>
                  </a:cubicBezTo>
                  <a:moveTo>
                    <a:pt x="589" y="930"/>
                  </a:moveTo>
                  <a:cubicBezTo>
                    <a:pt x="577" y="930"/>
                    <a:pt x="577" y="930"/>
                    <a:pt x="577" y="930"/>
                  </a:cubicBezTo>
                  <a:cubicBezTo>
                    <a:pt x="577" y="934"/>
                    <a:pt x="577" y="934"/>
                    <a:pt x="577" y="934"/>
                  </a:cubicBezTo>
                  <a:cubicBezTo>
                    <a:pt x="589" y="934"/>
                    <a:pt x="589" y="934"/>
                    <a:pt x="589" y="934"/>
                  </a:cubicBezTo>
                  <a:cubicBezTo>
                    <a:pt x="589" y="930"/>
                    <a:pt x="589" y="930"/>
                    <a:pt x="589" y="930"/>
                  </a:cubicBezTo>
                  <a:moveTo>
                    <a:pt x="609" y="930"/>
                  </a:moveTo>
                  <a:cubicBezTo>
                    <a:pt x="597" y="930"/>
                    <a:pt x="597" y="930"/>
                    <a:pt x="597" y="930"/>
                  </a:cubicBezTo>
                  <a:cubicBezTo>
                    <a:pt x="597" y="934"/>
                    <a:pt x="597" y="934"/>
                    <a:pt x="597" y="934"/>
                  </a:cubicBezTo>
                  <a:cubicBezTo>
                    <a:pt x="609" y="934"/>
                    <a:pt x="609" y="934"/>
                    <a:pt x="609" y="934"/>
                  </a:cubicBezTo>
                  <a:cubicBezTo>
                    <a:pt x="609" y="930"/>
                    <a:pt x="609" y="930"/>
                    <a:pt x="609" y="930"/>
                  </a:cubicBezTo>
                  <a:moveTo>
                    <a:pt x="629" y="930"/>
                  </a:moveTo>
                  <a:cubicBezTo>
                    <a:pt x="617" y="930"/>
                    <a:pt x="617" y="930"/>
                    <a:pt x="617" y="930"/>
                  </a:cubicBezTo>
                  <a:cubicBezTo>
                    <a:pt x="617" y="934"/>
                    <a:pt x="617" y="934"/>
                    <a:pt x="617" y="934"/>
                  </a:cubicBezTo>
                  <a:cubicBezTo>
                    <a:pt x="629" y="934"/>
                    <a:pt x="629" y="934"/>
                    <a:pt x="629" y="934"/>
                  </a:cubicBezTo>
                  <a:cubicBezTo>
                    <a:pt x="629" y="930"/>
                    <a:pt x="629" y="930"/>
                    <a:pt x="629" y="930"/>
                  </a:cubicBezTo>
                  <a:moveTo>
                    <a:pt x="649" y="930"/>
                  </a:moveTo>
                  <a:cubicBezTo>
                    <a:pt x="637" y="930"/>
                    <a:pt x="637" y="930"/>
                    <a:pt x="637" y="930"/>
                  </a:cubicBezTo>
                  <a:cubicBezTo>
                    <a:pt x="637" y="934"/>
                    <a:pt x="637" y="934"/>
                    <a:pt x="637" y="934"/>
                  </a:cubicBezTo>
                  <a:cubicBezTo>
                    <a:pt x="649" y="934"/>
                    <a:pt x="649" y="934"/>
                    <a:pt x="649" y="934"/>
                  </a:cubicBezTo>
                  <a:cubicBezTo>
                    <a:pt x="649" y="930"/>
                    <a:pt x="649" y="930"/>
                    <a:pt x="649" y="930"/>
                  </a:cubicBezTo>
                  <a:moveTo>
                    <a:pt x="669" y="930"/>
                  </a:moveTo>
                  <a:cubicBezTo>
                    <a:pt x="657" y="930"/>
                    <a:pt x="657" y="930"/>
                    <a:pt x="657" y="930"/>
                  </a:cubicBezTo>
                  <a:cubicBezTo>
                    <a:pt x="657" y="934"/>
                    <a:pt x="657" y="934"/>
                    <a:pt x="657" y="934"/>
                  </a:cubicBezTo>
                  <a:cubicBezTo>
                    <a:pt x="669" y="934"/>
                    <a:pt x="669" y="934"/>
                    <a:pt x="669" y="934"/>
                  </a:cubicBezTo>
                  <a:cubicBezTo>
                    <a:pt x="669" y="930"/>
                    <a:pt x="669" y="930"/>
                    <a:pt x="669" y="930"/>
                  </a:cubicBezTo>
                  <a:moveTo>
                    <a:pt x="689" y="930"/>
                  </a:moveTo>
                  <a:cubicBezTo>
                    <a:pt x="677" y="930"/>
                    <a:pt x="677" y="930"/>
                    <a:pt x="677" y="930"/>
                  </a:cubicBezTo>
                  <a:cubicBezTo>
                    <a:pt x="677" y="934"/>
                    <a:pt x="677" y="934"/>
                    <a:pt x="677" y="934"/>
                  </a:cubicBezTo>
                  <a:cubicBezTo>
                    <a:pt x="689" y="934"/>
                    <a:pt x="689" y="934"/>
                    <a:pt x="689" y="934"/>
                  </a:cubicBezTo>
                  <a:cubicBezTo>
                    <a:pt x="689" y="930"/>
                    <a:pt x="689" y="930"/>
                    <a:pt x="689" y="930"/>
                  </a:cubicBezTo>
                  <a:moveTo>
                    <a:pt x="709" y="930"/>
                  </a:moveTo>
                  <a:cubicBezTo>
                    <a:pt x="697" y="930"/>
                    <a:pt x="697" y="930"/>
                    <a:pt x="697" y="930"/>
                  </a:cubicBezTo>
                  <a:cubicBezTo>
                    <a:pt x="697" y="934"/>
                    <a:pt x="697" y="934"/>
                    <a:pt x="697" y="934"/>
                  </a:cubicBezTo>
                  <a:cubicBezTo>
                    <a:pt x="709" y="934"/>
                    <a:pt x="709" y="934"/>
                    <a:pt x="709" y="934"/>
                  </a:cubicBezTo>
                  <a:cubicBezTo>
                    <a:pt x="709" y="930"/>
                    <a:pt x="709" y="930"/>
                    <a:pt x="709" y="930"/>
                  </a:cubicBezTo>
                  <a:moveTo>
                    <a:pt x="729" y="930"/>
                  </a:moveTo>
                  <a:cubicBezTo>
                    <a:pt x="717" y="930"/>
                    <a:pt x="717" y="930"/>
                    <a:pt x="717" y="930"/>
                  </a:cubicBezTo>
                  <a:cubicBezTo>
                    <a:pt x="717" y="934"/>
                    <a:pt x="717" y="934"/>
                    <a:pt x="717" y="934"/>
                  </a:cubicBezTo>
                  <a:cubicBezTo>
                    <a:pt x="729" y="934"/>
                    <a:pt x="729" y="934"/>
                    <a:pt x="729" y="934"/>
                  </a:cubicBezTo>
                  <a:cubicBezTo>
                    <a:pt x="729" y="930"/>
                    <a:pt x="729" y="930"/>
                    <a:pt x="729" y="930"/>
                  </a:cubicBezTo>
                  <a:moveTo>
                    <a:pt x="749" y="930"/>
                  </a:moveTo>
                  <a:cubicBezTo>
                    <a:pt x="737" y="930"/>
                    <a:pt x="737" y="930"/>
                    <a:pt x="737" y="930"/>
                  </a:cubicBezTo>
                  <a:cubicBezTo>
                    <a:pt x="737" y="934"/>
                    <a:pt x="737" y="934"/>
                    <a:pt x="737" y="934"/>
                  </a:cubicBezTo>
                  <a:cubicBezTo>
                    <a:pt x="749" y="934"/>
                    <a:pt x="749" y="934"/>
                    <a:pt x="749" y="934"/>
                  </a:cubicBezTo>
                  <a:cubicBezTo>
                    <a:pt x="749" y="930"/>
                    <a:pt x="749" y="930"/>
                    <a:pt x="749" y="930"/>
                  </a:cubicBezTo>
                  <a:moveTo>
                    <a:pt x="769" y="930"/>
                  </a:moveTo>
                  <a:cubicBezTo>
                    <a:pt x="757" y="930"/>
                    <a:pt x="757" y="930"/>
                    <a:pt x="757" y="930"/>
                  </a:cubicBezTo>
                  <a:cubicBezTo>
                    <a:pt x="757" y="934"/>
                    <a:pt x="757" y="934"/>
                    <a:pt x="757" y="934"/>
                  </a:cubicBezTo>
                  <a:cubicBezTo>
                    <a:pt x="769" y="934"/>
                    <a:pt x="769" y="934"/>
                    <a:pt x="769" y="934"/>
                  </a:cubicBezTo>
                  <a:cubicBezTo>
                    <a:pt x="769" y="930"/>
                    <a:pt x="769" y="930"/>
                    <a:pt x="769" y="930"/>
                  </a:cubicBezTo>
                  <a:moveTo>
                    <a:pt x="789" y="930"/>
                  </a:moveTo>
                  <a:cubicBezTo>
                    <a:pt x="777" y="930"/>
                    <a:pt x="777" y="930"/>
                    <a:pt x="777" y="930"/>
                  </a:cubicBezTo>
                  <a:cubicBezTo>
                    <a:pt x="777" y="934"/>
                    <a:pt x="777" y="934"/>
                    <a:pt x="777" y="934"/>
                  </a:cubicBezTo>
                  <a:cubicBezTo>
                    <a:pt x="789" y="934"/>
                    <a:pt x="789" y="934"/>
                    <a:pt x="789" y="934"/>
                  </a:cubicBezTo>
                  <a:cubicBezTo>
                    <a:pt x="789" y="930"/>
                    <a:pt x="789" y="930"/>
                    <a:pt x="789" y="930"/>
                  </a:cubicBezTo>
                  <a:moveTo>
                    <a:pt x="809" y="930"/>
                  </a:moveTo>
                  <a:cubicBezTo>
                    <a:pt x="797" y="930"/>
                    <a:pt x="797" y="930"/>
                    <a:pt x="797" y="930"/>
                  </a:cubicBezTo>
                  <a:cubicBezTo>
                    <a:pt x="797" y="934"/>
                    <a:pt x="797" y="934"/>
                    <a:pt x="797" y="934"/>
                  </a:cubicBezTo>
                  <a:cubicBezTo>
                    <a:pt x="809" y="934"/>
                    <a:pt x="809" y="934"/>
                    <a:pt x="809" y="934"/>
                  </a:cubicBezTo>
                  <a:cubicBezTo>
                    <a:pt x="809" y="930"/>
                    <a:pt x="809" y="930"/>
                    <a:pt x="809" y="930"/>
                  </a:cubicBezTo>
                  <a:moveTo>
                    <a:pt x="829" y="930"/>
                  </a:moveTo>
                  <a:cubicBezTo>
                    <a:pt x="817" y="930"/>
                    <a:pt x="817" y="930"/>
                    <a:pt x="817" y="930"/>
                  </a:cubicBezTo>
                  <a:cubicBezTo>
                    <a:pt x="817" y="934"/>
                    <a:pt x="817" y="934"/>
                    <a:pt x="817" y="934"/>
                  </a:cubicBezTo>
                  <a:cubicBezTo>
                    <a:pt x="829" y="934"/>
                    <a:pt x="829" y="934"/>
                    <a:pt x="829" y="934"/>
                  </a:cubicBezTo>
                  <a:cubicBezTo>
                    <a:pt x="829" y="930"/>
                    <a:pt x="829" y="930"/>
                    <a:pt x="829" y="930"/>
                  </a:cubicBezTo>
                  <a:moveTo>
                    <a:pt x="849" y="930"/>
                  </a:moveTo>
                  <a:cubicBezTo>
                    <a:pt x="837" y="930"/>
                    <a:pt x="837" y="930"/>
                    <a:pt x="837" y="930"/>
                  </a:cubicBezTo>
                  <a:cubicBezTo>
                    <a:pt x="837" y="934"/>
                    <a:pt x="837" y="934"/>
                    <a:pt x="837" y="934"/>
                  </a:cubicBezTo>
                  <a:cubicBezTo>
                    <a:pt x="849" y="934"/>
                    <a:pt x="849" y="934"/>
                    <a:pt x="849" y="934"/>
                  </a:cubicBezTo>
                  <a:cubicBezTo>
                    <a:pt x="849" y="930"/>
                    <a:pt x="849" y="930"/>
                    <a:pt x="849" y="930"/>
                  </a:cubicBezTo>
                  <a:moveTo>
                    <a:pt x="869" y="930"/>
                  </a:moveTo>
                  <a:cubicBezTo>
                    <a:pt x="857" y="930"/>
                    <a:pt x="857" y="930"/>
                    <a:pt x="857" y="930"/>
                  </a:cubicBezTo>
                  <a:cubicBezTo>
                    <a:pt x="857" y="934"/>
                    <a:pt x="857" y="934"/>
                    <a:pt x="857" y="934"/>
                  </a:cubicBezTo>
                  <a:cubicBezTo>
                    <a:pt x="869" y="934"/>
                    <a:pt x="869" y="934"/>
                    <a:pt x="869" y="934"/>
                  </a:cubicBezTo>
                  <a:cubicBezTo>
                    <a:pt x="869" y="930"/>
                    <a:pt x="869" y="930"/>
                    <a:pt x="869" y="930"/>
                  </a:cubicBezTo>
                  <a:moveTo>
                    <a:pt x="889" y="930"/>
                  </a:moveTo>
                  <a:cubicBezTo>
                    <a:pt x="877" y="930"/>
                    <a:pt x="877" y="930"/>
                    <a:pt x="877" y="930"/>
                  </a:cubicBezTo>
                  <a:cubicBezTo>
                    <a:pt x="877" y="934"/>
                    <a:pt x="877" y="934"/>
                    <a:pt x="877" y="934"/>
                  </a:cubicBezTo>
                  <a:cubicBezTo>
                    <a:pt x="889" y="934"/>
                    <a:pt x="889" y="934"/>
                    <a:pt x="889" y="934"/>
                  </a:cubicBezTo>
                  <a:cubicBezTo>
                    <a:pt x="889" y="930"/>
                    <a:pt x="889" y="930"/>
                    <a:pt x="889" y="930"/>
                  </a:cubicBezTo>
                  <a:moveTo>
                    <a:pt x="909" y="930"/>
                  </a:moveTo>
                  <a:cubicBezTo>
                    <a:pt x="897" y="930"/>
                    <a:pt x="897" y="930"/>
                    <a:pt x="897" y="930"/>
                  </a:cubicBezTo>
                  <a:cubicBezTo>
                    <a:pt x="897" y="934"/>
                    <a:pt x="897" y="934"/>
                    <a:pt x="897" y="934"/>
                  </a:cubicBezTo>
                  <a:cubicBezTo>
                    <a:pt x="909" y="934"/>
                    <a:pt x="909" y="934"/>
                    <a:pt x="909" y="934"/>
                  </a:cubicBezTo>
                  <a:cubicBezTo>
                    <a:pt x="909" y="930"/>
                    <a:pt x="909" y="930"/>
                    <a:pt x="909" y="930"/>
                  </a:cubicBezTo>
                  <a:moveTo>
                    <a:pt x="929" y="930"/>
                  </a:moveTo>
                  <a:cubicBezTo>
                    <a:pt x="917" y="930"/>
                    <a:pt x="917" y="930"/>
                    <a:pt x="917" y="930"/>
                  </a:cubicBezTo>
                  <a:cubicBezTo>
                    <a:pt x="917" y="934"/>
                    <a:pt x="917" y="934"/>
                    <a:pt x="917" y="934"/>
                  </a:cubicBezTo>
                  <a:cubicBezTo>
                    <a:pt x="929" y="934"/>
                    <a:pt x="929" y="934"/>
                    <a:pt x="929" y="934"/>
                  </a:cubicBezTo>
                  <a:cubicBezTo>
                    <a:pt x="929" y="930"/>
                    <a:pt x="929" y="930"/>
                    <a:pt x="929" y="930"/>
                  </a:cubicBezTo>
                  <a:moveTo>
                    <a:pt x="949" y="930"/>
                  </a:moveTo>
                  <a:cubicBezTo>
                    <a:pt x="937" y="930"/>
                    <a:pt x="937" y="930"/>
                    <a:pt x="937" y="930"/>
                  </a:cubicBezTo>
                  <a:cubicBezTo>
                    <a:pt x="937" y="934"/>
                    <a:pt x="937" y="934"/>
                    <a:pt x="937" y="934"/>
                  </a:cubicBezTo>
                  <a:cubicBezTo>
                    <a:pt x="949" y="934"/>
                    <a:pt x="949" y="934"/>
                    <a:pt x="949" y="934"/>
                  </a:cubicBezTo>
                  <a:cubicBezTo>
                    <a:pt x="949" y="930"/>
                    <a:pt x="949" y="930"/>
                    <a:pt x="949" y="930"/>
                  </a:cubicBezTo>
                  <a:moveTo>
                    <a:pt x="969" y="930"/>
                  </a:moveTo>
                  <a:cubicBezTo>
                    <a:pt x="957" y="930"/>
                    <a:pt x="957" y="930"/>
                    <a:pt x="957" y="930"/>
                  </a:cubicBezTo>
                  <a:cubicBezTo>
                    <a:pt x="957" y="934"/>
                    <a:pt x="957" y="934"/>
                    <a:pt x="957" y="934"/>
                  </a:cubicBezTo>
                  <a:cubicBezTo>
                    <a:pt x="969" y="934"/>
                    <a:pt x="969" y="934"/>
                    <a:pt x="969" y="934"/>
                  </a:cubicBezTo>
                  <a:cubicBezTo>
                    <a:pt x="969" y="930"/>
                    <a:pt x="969" y="930"/>
                    <a:pt x="969" y="930"/>
                  </a:cubicBezTo>
                  <a:moveTo>
                    <a:pt x="989" y="930"/>
                  </a:moveTo>
                  <a:cubicBezTo>
                    <a:pt x="977" y="930"/>
                    <a:pt x="977" y="930"/>
                    <a:pt x="977" y="930"/>
                  </a:cubicBezTo>
                  <a:cubicBezTo>
                    <a:pt x="977" y="934"/>
                    <a:pt x="977" y="934"/>
                    <a:pt x="977" y="934"/>
                  </a:cubicBezTo>
                  <a:cubicBezTo>
                    <a:pt x="989" y="934"/>
                    <a:pt x="989" y="934"/>
                    <a:pt x="989" y="934"/>
                  </a:cubicBezTo>
                  <a:cubicBezTo>
                    <a:pt x="989" y="930"/>
                    <a:pt x="989" y="930"/>
                    <a:pt x="989" y="930"/>
                  </a:cubicBezTo>
                  <a:moveTo>
                    <a:pt x="1009" y="930"/>
                  </a:moveTo>
                  <a:cubicBezTo>
                    <a:pt x="997" y="930"/>
                    <a:pt x="997" y="930"/>
                    <a:pt x="997" y="930"/>
                  </a:cubicBezTo>
                  <a:cubicBezTo>
                    <a:pt x="997" y="934"/>
                    <a:pt x="997" y="934"/>
                    <a:pt x="997" y="934"/>
                  </a:cubicBezTo>
                  <a:cubicBezTo>
                    <a:pt x="1009" y="934"/>
                    <a:pt x="1009" y="934"/>
                    <a:pt x="1009" y="934"/>
                  </a:cubicBezTo>
                  <a:cubicBezTo>
                    <a:pt x="1009" y="930"/>
                    <a:pt x="1009" y="930"/>
                    <a:pt x="1009" y="930"/>
                  </a:cubicBezTo>
                  <a:moveTo>
                    <a:pt x="1029" y="930"/>
                  </a:moveTo>
                  <a:cubicBezTo>
                    <a:pt x="1017" y="930"/>
                    <a:pt x="1017" y="930"/>
                    <a:pt x="1017" y="930"/>
                  </a:cubicBezTo>
                  <a:cubicBezTo>
                    <a:pt x="1017" y="934"/>
                    <a:pt x="1017" y="934"/>
                    <a:pt x="1017" y="934"/>
                  </a:cubicBezTo>
                  <a:cubicBezTo>
                    <a:pt x="1029" y="934"/>
                    <a:pt x="1029" y="934"/>
                    <a:pt x="1029" y="934"/>
                  </a:cubicBezTo>
                  <a:cubicBezTo>
                    <a:pt x="1029" y="930"/>
                    <a:pt x="1029" y="930"/>
                    <a:pt x="1029" y="930"/>
                  </a:cubicBezTo>
                  <a:moveTo>
                    <a:pt x="1049" y="930"/>
                  </a:moveTo>
                  <a:cubicBezTo>
                    <a:pt x="1037" y="930"/>
                    <a:pt x="1037" y="930"/>
                    <a:pt x="1037" y="930"/>
                  </a:cubicBezTo>
                  <a:cubicBezTo>
                    <a:pt x="1037" y="934"/>
                    <a:pt x="1037" y="934"/>
                    <a:pt x="1037" y="934"/>
                  </a:cubicBezTo>
                  <a:cubicBezTo>
                    <a:pt x="1049" y="934"/>
                    <a:pt x="1049" y="934"/>
                    <a:pt x="1049" y="934"/>
                  </a:cubicBezTo>
                  <a:cubicBezTo>
                    <a:pt x="1049" y="930"/>
                    <a:pt x="1049" y="930"/>
                    <a:pt x="1049" y="930"/>
                  </a:cubicBezTo>
                  <a:moveTo>
                    <a:pt x="1069" y="930"/>
                  </a:moveTo>
                  <a:cubicBezTo>
                    <a:pt x="1057" y="930"/>
                    <a:pt x="1057" y="930"/>
                    <a:pt x="1057" y="930"/>
                  </a:cubicBezTo>
                  <a:cubicBezTo>
                    <a:pt x="1057" y="934"/>
                    <a:pt x="1057" y="934"/>
                    <a:pt x="1057" y="934"/>
                  </a:cubicBezTo>
                  <a:cubicBezTo>
                    <a:pt x="1069" y="934"/>
                    <a:pt x="1069" y="934"/>
                    <a:pt x="1069" y="934"/>
                  </a:cubicBezTo>
                  <a:cubicBezTo>
                    <a:pt x="1069" y="930"/>
                    <a:pt x="1069" y="930"/>
                    <a:pt x="1069" y="930"/>
                  </a:cubicBezTo>
                  <a:moveTo>
                    <a:pt x="1089" y="930"/>
                  </a:moveTo>
                  <a:cubicBezTo>
                    <a:pt x="1077" y="930"/>
                    <a:pt x="1077" y="930"/>
                    <a:pt x="1077" y="930"/>
                  </a:cubicBezTo>
                  <a:cubicBezTo>
                    <a:pt x="1077" y="934"/>
                    <a:pt x="1077" y="934"/>
                    <a:pt x="1077" y="934"/>
                  </a:cubicBezTo>
                  <a:cubicBezTo>
                    <a:pt x="1089" y="934"/>
                    <a:pt x="1089" y="934"/>
                    <a:pt x="1089" y="934"/>
                  </a:cubicBezTo>
                  <a:cubicBezTo>
                    <a:pt x="1089" y="930"/>
                    <a:pt x="1089" y="930"/>
                    <a:pt x="1089" y="930"/>
                  </a:cubicBezTo>
                  <a:moveTo>
                    <a:pt x="1109" y="930"/>
                  </a:moveTo>
                  <a:cubicBezTo>
                    <a:pt x="1097" y="930"/>
                    <a:pt x="1097" y="930"/>
                    <a:pt x="1097" y="930"/>
                  </a:cubicBezTo>
                  <a:cubicBezTo>
                    <a:pt x="1097" y="934"/>
                    <a:pt x="1097" y="934"/>
                    <a:pt x="1097" y="934"/>
                  </a:cubicBezTo>
                  <a:cubicBezTo>
                    <a:pt x="1109" y="934"/>
                    <a:pt x="1109" y="934"/>
                    <a:pt x="1109" y="934"/>
                  </a:cubicBezTo>
                  <a:cubicBezTo>
                    <a:pt x="1109" y="930"/>
                    <a:pt x="1109" y="930"/>
                    <a:pt x="1109" y="930"/>
                  </a:cubicBezTo>
                  <a:moveTo>
                    <a:pt x="1129" y="930"/>
                  </a:moveTo>
                  <a:cubicBezTo>
                    <a:pt x="1117" y="930"/>
                    <a:pt x="1117" y="930"/>
                    <a:pt x="1117" y="930"/>
                  </a:cubicBezTo>
                  <a:cubicBezTo>
                    <a:pt x="1117" y="934"/>
                    <a:pt x="1117" y="934"/>
                    <a:pt x="1117" y="934"/>
                  </a:cubicBezTo>
                  <a:cubicBezTo>
                    <a:pt x="1129" y="934"/>
                    <a:pt x="1129" y="934"/>
                    <a:pt x="1129" y="934"/>
                  </a:cubicBezTo>
                  <a:cubicBezTo>
                    <a:pt x="1129" y="930"/>
                    <a:pt x="1129" y="930"/>
                    <a:pt x="1129" y="930"/>
                  </a:cubicBezTo>
                  <a:moveTo>
                    <a:pt x="1149" y="930"/>
                  </a:moveTo>
                  <a:cubicBezTo>
                    <a:pt x="1137" y="930"/>
                    <a:pt x="1137" y="930"/>
                    <a:pt x="1137" y="930"/>
                  </a:cubicBezTo>
                  <a:cubicBezTo>
                    <a:pt x="1137" y="934"/>
                    <a:pt x="1137" y="934"/>
                    <a:pt x="1137" y="934"/>
                  </a:cubicBezTo>
                  <a:cubicBezTo>
                    <a:pt x="1149" y="934"/>
                    <a:pt x="1149" y="934"/>
                    <a:pt x="1149" y="934"/>
                  </a:cubicBezTo>
                  <a:cubicBezTo>
                    <a:pt x="1149" y="930"/>
                    <a:pt x="1149" y="930"/>
                    <a:pt x="1149" y="930"/>
                  </a:cubicBezTo>
                  <a:moveTo>
                    <a:pt x="1169" y="930"/>
                  </a:moveTo>
                  <a:cubicBezTo>
                    <a:pt x="1157" y="930"/>
                    <a:pt x="1157" y="930"/>
                    <a:pt x="1157" y="930"/>
                  </a:cubicBezTo>
                  <a:cubicBezTo>
                    <a:pt x="1157" y="934"/>
                    <a:pt x="1157" y="934"/>
                    <a:pt x="1157" y="934"/>
                  </a:cubicBezTo>
                  <a:cubicBezTo>
                    <a:pt x="1169" y="934"/>
                    <a:pt x="1169" y="934"/>
                    <a:pt x="1169" y="934"/>
                  </a:cubicBezTo>
                  <a:cubicBezTo>
                    <a:pt x="1169" y="930"/>
                    <a:pt x="1169" y="930"/>
                    <a:pt x="1169" y="930"/>
                  </a:cubicBezTo>
                  <a:moveTo>
                    <a:pt x="1189" y="930"/>
                  </a:moveTo>
                  <a:cubicBezTo>
                    <a:pt x="1177" y="930"/>
                    <a:pt x="1177" y="930"/>
                    <a:pt x="1177" y="930"/>
                  </a:cubicBezTo>
                  <a:cubicBezTo>
                    <a:pt x="1177" y="934"/>
                    <a:pt x="1177" y="934"/>
                    <a:pt x="1177" y="934"/>
                  </a:cubicBezTo>
                  <a:cubicBezTo>
                    <a:pt x="1189" y="934"/>
                    <a:pt x="1189" y="934"/>
                    <a:pt x="1189" y="934"/>
                  </a:cubicBezTo>
                  <a:cubicBezTo>
                    <a:pt x="1189" y="930"/>
                    <a:pt x="1189" y="930"/>
                    <a:pt x="1189" y="930"/>
                  </a:cubicBezTo>
                  <a:moveTo>
                    <a:pt x="1209" y="930"/>
                  </a:moveTo>
                  <a:cubicBezTo>
                    <a:pt x="1197" y="930"/>
                    <a:pt x="1197" y="930"/>
                    <a:pt x="1197" y="930"/>
                  </a:cubicBezTo>
                  <a:cubicBezTo>
                    <a:pt x="1197" y="934"/>
                    <a:pt x="1197" y="934"/>
                    <a:pt x="1197" y="934"/>
                  </a:cubicBezTo>
                  <a:cubicBezTo>
                    <a:pt x="1209" y="934"/>
                    <a:pt x="1209" y="934"/>
                    <a:pt x="1209" y="934"/>
                  </a:cubicBezTo>
                  <a:cubicBezTo>
                    <a:pt x="1209" y="930"/>
                    <a:pt x="1209" y="930"/>
                    <a:pt x="1209" y="930"/>
                  </a:cubicBezTo>
                  <a:moveTo>
                    <a:pt x="1229" y="930"/>
                  </a:moveTo>
                  <a:cubicBezTo>
                    <a:pt x="1217" y="930"/>
                    <a:pt x="1217" y="930"/>
                    <a:pt x="1217" y="930"/>
                  </a:cubicBezTo>
                  <a:cubicBezTo>
                    <a:pt x="1217" y="934"/>
                    <a:pt x="1217" y="934"/>
                    <a:pt x="1217" y="934"/>
                  </a:cubicBezTo>
                  <a:cubicBezTo>
                    <a:pt x="1229" y="934"/>
                    <a:pt x="1229" y="934"/>
                    <a:pt x="1229" y="934"/>
                  </a:cubicBezTo>
                  <a:cubicBezTo>
                    <a:pt x="1229" y="930"/>
                    <a:pt x="1229" y="930"/>
                    <a:pt x="1229" y="930"/>
                  </a:cubicBezTo>
                  <a:moveTo>
                    <a:pt x="1249" y="930"/>
                  </a:moveTo>
                  <a:cubicBezTo>
                    <a:pt x="1237" y="930"/>
                    <a:pt x="1237" y="930"/>
                    <a:pt x="1237" y="930"/>
                  </a:cubicBezTo>
                  <a:cubicBezTo>
                    <a:pt x="1237" y="934"/>
                    <a:pt x="1237" y="934"/>
                    <a:pt x="1237" y="934"/>
                  </a:cubicBezTo>
                  <a:cubicBezTo>
                    <a:pt x="1249" y="934"/>
                    <a:pt x="1249" y="934"/>
                    <a:pt x="1249" y="934"/>
                  </a:cubicBezTo>
                  <a:cubicBezTo>
                    <a:pt x="1249" y="930"/>
                    <a:pt x="1249" y="930"/>
                    <a:pt x="1249" y="930"/>
                  </a:cubicBezTo>
                  <a:moveTo>
                    <a:pt x="1269" y="930"/>
                  </a:moveTo>
                  <a:cubicBezTo>
                    <a:pt x="1257" y="930"/>
                    <a:pt x="1257" y="930"/>
                    <a:pt x="1257" y="930"/>
                  </a:cubicBezTo>
                  <a:cubicBezTo>
                    <a:pt x="1257" y="934"/>
                    <a:pt x="1257" y="934"/>
                    <a:pt x="1257" y="934"/>
                  </a:cubicBezTo>
                  <a:cubicBezTo>
                    <a:pt x="1269" y="934"/>
                    <a:pt x="1269" y="934"/>
                    <a:pt x="1269" y="934"/>
                  </a:cubicBezTo>
                  <a:cubicBezTo>
                    <a:pt x="1269" y="930"/>
                    <a:pt x="1269" y="930"/>
                    <a:pt x="1269" y="930"/>
                  </a:cubicBezTo>
                  <a:moveTo>
                    <a:pt x="1289" y="930"/>
                  </a:moveTo>
                  <a:cubicBezTo>
                    <a:pt x="1277" y="930"/>
                    <a:pt x="1277" y="930"/>
                    <a:pt x="1277" y="930"/>
                  </a:cubicBezTo>
                  <a:cubicBezTo>
                    <a:pt x="1277" y="934"/>
                    <a:pt x="1277" y="934"/>
                    <a:pt x="1277" y="934"/>
                  </a:cubicBezTo>
                  <a:cubicBezTo>
                    <a:pt x="1289" y="934"/>
                    <a:pt x="1289" y="934"/>
                    <a:pt x="1289" y="934"/>
                  </a:cubicBezTo>
                  <a:cubicBezTo>
                    <a:pt x="1289" y="930"/>
                    <a:pt x="1289" y="930"/>
                    <a:pt x="1289" y="930"/>
                  </a:cubicBezTo>
                  <a:moveTo>
                    <a:pt x="1309" y="930"/>
                  </a:moveTo>
                  <a:cubicBezTo>
                    <a:pt x="1297" y="930"/>
                    <a:pt x="1297" y="930"/>
                    <a:pt x="1297" y="930"/>
                  </a:cubicBezTo>
                  <a:cubicBezTo>
                    <a:pt x="1297" y="934"/>
                    <a:pt x="1297" y="934"/>
                    <a:pt x="1297" y="934"/>
                  </a:cubicBezTo>
                  <a:cubicBezTo>
                    <a:pt x="1309" y="934"/>
                    <a:pt x="1309" y="934"/>
                    <a:pt x="1309" y="934"/>
                  </a:cubicBezTo>
                  <a:cubicBezTo>
                    <a:pt x="1309" y="930"/>
                    <a:pt x="1309" y="930"/>
                    <a:pt x="1309" y="930"/>
                  </a:cubicBezTo>
                  <a:moveTo>
                    <a:pt x="1329" y="930"/>
                  </a:moveTo>
                  <a:cubicBezTo>
                    <a:pt x="1317" y="930"/>
                    <a:pt x="1317" y="930"/>
                    <a:pt x="1317" y="930"/>
                  </a:cubicBezTo>
                  <a:cubicBezTo>
                    <a:pt x="1317" y="934"/>
                    <a:pt x="1317" y="934"/>
                    <a:pt x="1317" y="934"/>
                  </a:cubicBezTo>
                  <a:cubicBezTo>
                    <a:pt x="1329" y="934"/>
                    <a:pt x="1329" y="934"/>
                    <a:pt x="1329" y="934"/>
                  </a:cubicBezTo>
                  <a:cubicBezTo>
                    <a:pt x="1329" y="930"/>
                    <a:pt x="1329" y="930"/>
                    <a:pt x="1329" y="930"/>
                  </a:cubicBezTo>
                  <a:moveTo>
                    <a:pt x="1349" y="930"/>
                  </a:moveTo>
                  <a:cubicBezTo>
                    <a:pt x="1337" y="930"/>
                    <a:pt x="1337" y="930"/>
                    <a:pt x="1337" y="930"/>
                  </a:cubicBezTo>
                  <a:cubicBezTo>
                    <a:pt x="1337" y="934"/>
                    <a:pt x="1337" y="934"/>
                    <a:pt x="1337" y="934"/>
                  </a:cubicBezTo>
                  <a:cubicBezTo>
                    <a:pt x="1349" y="934"/>
                    <a:pt x="1349" y="934"/>
                    <a:pt x="1349" y="934"/>
                  </a:cubicBezTo>
                  <a:cubicBezTo>
                    <a:pt x="1349" y="930"/>
                    <a:pt x="1349" y="930"/>
                    <a:pt x="1349" y="930"/>
                  </a:cubicBezTo>
                  <a:moveTo>
                    <a:pt x="1369" y="930"/>
                  </a:moveTo>
                  <a:cubicBezTo>
                    <a:pt x="1357" y="930"/>
                    <a:pt x="1357" y="930"/>
                    <a:pt x="1357" y="930"/>
                  </a:cubicBezTo>
                  <a:cubicBezTo>
                    <a:pt x="1357" y="934"/>
                    <a:pt x="1357" y="934"/>
                    <a:pt x="1357" y="934"/>
                  </a:cubicBezTo>
                  <a:cubicBezTo>
                    <a:pt x="1369" y="934"/>
                    <a:pt x="1369" y="934"/>
                    <a:pt x="1369" y="934"/>
                  </a:cubicBezTo>
                  <a:cubicBezTo>
                    <a:pt x="1369" y="930"/>
                    <a:pt x="1369" y="930"/>
                    <a:pt x="1369" y="930"/>
                  </a:cubicBezTo>
                  <a:moveTo>
                    <a:pt x="1389" y="930"/>
                  </a:moveTo>
                  <a:cubicBezTo>
                    <a:pt x="1377" y="930"/>
                    <a:pt x="1377" y="930"/>
                    <a:pt x="1377" y="930"/>
                  </a:cubicBezTo>
                  <a:cubicBezTo>
                    <a:pt x="1377" y="934"/>
                    <a:pt x="1377" y="934"/>
                    <a:pt x="1377" y="934"/>
                  </a:cubicBezTo>
                  <a:cubicBezTo>
                    <a:pt x="1389" y="934"/>
                    <a:pt x="1389" y="934"/>
                    <a:pt x="1389" y="934"/>
                  </a:cubicBezTo>
                  <a:cubicBezTo>
                    <a:pt x="1389" y="930"/>
                    <a:pt x="1389" y="930"/>
                    <a:pt x="1389" y="930"/>
                  </a:cubicBezTo>
                  <a:moveTo>
                    <a:pt x="1409" y="930"/>
                  </a:moveTo>
                  <a:cubicBezTo>
                    <a:pt x="1397" y="930"/>
                    <a:pt x="1397" y="930"/>
                    <a:pt x="1397" y="930"/>
                  </a:cubicBezTo>
                  <a:cubicBezTo>
                    <a:pt x="1397" y="934"/>
                    <a:pt x="1397" y="934"/>
                    <a:pt x="1397" y="934"/>
                  </a:cubicBezTo>
                  <a:cubicBezTo>
                    <a:pt x="1409" y="934"/>
                    <a:pt x="1409" y="934"/>
                    <a:pt x="1409" y="934"/>
                  </a:cubicBezTo>
                  <a:cubicBezTo>
                    <a:pt x="1409" y="930"/>
                    <a:pt x="1409" y="930"/>
                    <a:pt x="1409" y="930"/>
                  </a:cubicBezTo>
                  <a:moveTo>
                    <a:pt x="1429" y="930"/>
                  </a:moveTo>
                  <a:cubicBezTo>
                    <a:pt x="1417" y="930"/>
                    <a:pt x="1417" y="930"/>
                    <a:pt x="1417" y="930"/>
                  </a:cubicBezTo>
                  <a:cubicBezTo>
                    <a:pt x="1417" y="934"/>
                    <a:pt x="1417" y="934"/>
                    <a:pt x="1417" y="934"/>
                  </a:cubicBezTo>
                  <a:cubicBezTo>
                    <a:pt x="1429" y="934"/>
                    <a:pt x="1429" y="934"/>
                    <a:pt x="1429" y="934"/>
                  </a:cubicBezTo>
                  <a:cubicBezTo>
                    <a:pt x="1429" y="930"/>
                    <a:pt x="1429" y="930"/>
                    <a:pt x="1429" y="930"/>
                  </a:cubicBezTo>
                  <a:moveTo>
                    <a:pt x="1449" y="930"/>
                  </a:moveTo>
                  <a:cubicBezTo>
                    <a:pt x="1437" y="930"/>
                    <a:pt x="1437" y="930"/>
                    <a:pt x="1437" y="930"/>
                  </a:cubicBezTo>
                  <a:cubicBezTo>
                    <a:pt x="1437" y="934"/>
                    <a:pt x="1437" y="934"/>
                    <a:pt x="1437" y="934"/>
                  </a:cubicBezTo>
                  <a:cubicBezTo>
                    <a:pt x="1449" y="934"/>
                    <a:pt x="1449" y="934"/>
                    <a:pt x="1449" y="934"/>
                  </a:cubicBezTo>
                  <a:cubicBezTo>
                    <a:pt x="1449" y="930"/>
                    <a:pt x="1449" y="930"/>
                    <a:pt x="1449" y="930"/>
                  </a:cubicBezTo>
                  <a:moveTo>
                    <a:pt x="1469" y="930"/>
                  </a:moveTo>
                  <a:cubicBezTo>
                    <a:pt x="1457" y="930"/>
                    <a:pt x="1457" y="930"/>
                    <a:pt x="1457" y="930"/>
                  </a:cubicBezTo>
                  <a:cubicBezTo>
                    <a:pt x="1457" y="934"/>
                    <a:pt x="1457" y="934"/>
                    <a:pt x="1457" y="934"/>
                  </a:cubicBezTo>
                  <a:cubicBezTo>
                    <a:pt x="1469" y="934"/>
                    <a:pt x="1469" y="934"/>
                    <a:pt x="1469" y="934"/>
                  </a:cubicBezTo>
                  <a:cubicBezTo>
                    <a:pt x="1469" y="930"/>
                    <a:pt x="1469" y="930"/>
                    <a:pt x="1469" y="930"/>
                  </a:cubicBezTo>
                  <a:moveTo>
                    <a:pt x="1489" y="930"/>
                  </a:moveTo>
                  <a:cubicBezTo>
                    <a:pt x="1477" y="930"/>
                    <a:pt x="1477" y="930"/>
                    <a:pt x="1477" y="930"/>
                  </a:cubicBezTo>
                  <a:cubicBezTo>
                    <a:pt x="1477" y="934"/>
                    <a:pt x="1477" y="934"/>
                    <a:pt x="1477" y="934"/>
                  </a:cubicBezTo>
                  <a:cubicBezTo>
                    <a:pt x="1489" y="934"/>
                    <a:pt x="1489" y="934"/>
                    <a:pt x="1489" y="934"/>
                  </a:cubicBezTo>
                  <a:cubicBezTo>
                    <a:pt x="1489" y="930"/>
                    <a:pt x="1489" y="930"/>
                    <a:pt x="1489" y="930"/>
                  </a:cubicBezTo>
                  <a:moveTo>
                    <a:pt x="1509" y="930"/>
                  </a:moveTo>
                  <a:cubicBezTo>
                    <a:pt x="1497" y="930"/>
                    <a:pt x="1497" y="930"/>
                    <a:pt x="1497" y="930"/>
                  </a:cubicBezTo>
                  <a:cubicBezTo>
                    <a:pt x="1497" y="934"/>
                    <a:pt x="1497" y="934"/>
                    <a:pt x="1497" y="934"/>
                  </a:cubicBezTo>
                  <a:cubicBezTo>
                    <a:pt x="1509" y="934"/>
                    <a:pt x="1509" y="934"/>
                    <a:pt x="1509" y="934"/>
                  </a:cubicBezTo>
                  <a:cubicBezTo>
                    <a:pt x="1509" y="930"/>
                    <a:pt x="1509" y="930"/>
                    <a:pt x="1509" y="930"/>
                  </a:cubicBezTo>
                  <a:moveTo>
                    <a:pt x="1529" y="930"/>
                  </a:moveTo>
                  <a:cubicBezTo>
                    <a:pt x="1517" y="930"/>
                    <a:pt x="1517" y="930"/>
                    <a:pt x="1517" y="930"/>
                  </a:cubicBezTo>
                  <a:cubicBezTo>
                    <a:pt x="1517" y="934"/>
                    <a:pt x="1517" y="934"/>
                    <a:pt x="1517" y="934"/>
                  </a:cubicBezTo>
                  <a:cubicBezTo>
                    <a:pt x="1529" y="934"/>
                    <a:pt x="1529" y="934"/>
                    <a:pt x="1529" y="934"/>
                  </a:cubicBezTo>
                  <a:cubicBezTo>
                    <a:pt x="1529" y="930"/>
                    <a:pt x="1529" y="930"/>
                    <a:pt x="1529" y="930"/>
                  </a:cubicBezTo>
                  <a:moveTo>
                    <a:pt x="1549" y="930"/>
                  </a:moveTo>
                  <a:cubicBezTo>
                    <a:pt x="1537" y="930"/>
                    <a:pt x="1537" y="930"/>
                    <a:pt x="1537" y="930"/>
                  </a:cubicBezTo>
                  <a:cubicBezTo>
                    <a:pt x="1537" y="934"/>
                    <a:pt x="1537" y="934"/>
                    <a:pt x="1537" y="934"/>
                  </a:cubicBezTo>
                  <a:cubicBezTo>
                    <a:pt x="1549" y="934"/>
                    <a:pt x="1549" y="934"/>
                    <a:pt x="1549" y="934"/>
                  </a:cubicBezTo>
                  <a:cubicBezTo>
                    <a:pt x="1549" y="930"/>
                    <a:pt x="1549" y="930"/>
                    <a:pt x="1549" y="930"/>
                  </a:cubicBezTo>
                  <a:moveTo>
                    <a:pt x="1569" y="930"/>
                  </a:moveTo>
                  <a:cubicBezTo>
                    <a:pt x="1557" y="930"/>
                    <a:pt x="1557" y="930"/>
                    <a:pt x="1557" y="930"/>
                  </a:cubicBezTo>
                  <a:cubicBezTo>
                    <a:pt x="1557" y="934"/>
                    <a:pt x="1557" y="934"/>
                    <a:pt x="1557" y="934"/>
                  </a:cubicBezTo>
                  <a:cubicBezTo>
                    <a:pt x="1569" y="934"/>
                    <a:pt x="1569" y="934"/>
                    <a:pt x="1569" y="934"/>
                  </a:cubicBezTo>
                  <a:cubicBezTo>
                    <a:pt x="1569" y="930"/>
                    <a:pt x="1569" y="930"/>
                    <a:pt x="1569" y="930"/>
                  </a:cubicBezTo>
                  <a:moveTo>
                    <a:pt x="1589" y="930"/>
                  </a:moveTo>
                  <a:cubicBezTo>
                    <a:pt x="1577" y="930"/>
                    <a:pt x="1577" y="930"/>
                    <a:pt x="1577" y="930"/>
                  </a:cubicBezTo>
                  <a:cubicBezTo>
                    <a:pt x="1577" y="934"/>
                    <a:pt x="1577" y="934"/>
                    <a:pt x="1577" y="934"/>
                  </a:cubicBezTo>
                  <a:cubicBezTo>
                    <a:pt x="1589" y="934"/>
                    <a:pt x="1589" y="934"/>
                    <a:pt x="1589" y="934"/>
                  </a:cubicBezTo>
                  <a:cubicBezTo>
                    <a:pt x="1589" y="930"/>
                    <a:pt x="1589" y="930"/>
                    <a:pt x="1589" y="930"/>
                  </a:cubicBezTo>
                  <a:moveTo>
                    <a:pt x="1609" y="930"/>
                  </a:moveTo>
                  <a:cubicBezTo>
                    <a:pt x="1597" y="930"/>
                    <a:pt x="1597" y="930"/>
                    <a:pt x="1597" y="930"/>
                  </a:cubicBezTo>
                  <a:cubicBezTo>
                    <a:pt x="1597" y="934"/>
                    <a:pt x="1597" y="934"/>
                    <a:pt x="1597" y="934"/>
                  </a:cubicBezTo>
                  <a:cubicBezTo>
                    <a:pt x="1609" y="934"/>
                    <a:pt x="1609" y="934"/>
                    <a:pt x="1609" y="934"/>
                  </a:cubicBezTo>
                  <a:cubicBezTo>
                    <a:pt x="1609" y="930"/>
                    <a:pt x="1609" y="930"/>
                    <a:pt x="1609" y="930"/>
                  </a:cubicBezTo>
                  <a:moveTo>
                    <a:pt x="1629" y="930"/>
                  </a:moveTo>
                  <a:cubicBezTo>
                    <a:pt x="1617" y="930"/>
                    <a:pt x="1617" y="930"/>
                    <a:pt x="1617" y="930"/>
                  </a:cubicBezTo>
                  <a:cubicBezTo>
                    <a:pt x="1617" y="934"/>
                    <a:pt x="1617" y="934"/>
                    <a:pt x="1617" y="934"/>
                  </a:cubicBezTo>
                  <a:cubicBezTo>
                    <a:pt x="1629" y="934"/>
                    <a:pt x="1629" y="934"/>
                    <a:pt x="1629" y="934"/>
                  </a:cubicBezTo>
                  <a:cubicBezTo>
                    <a:pt x="1629" y="930"/>
                    <a:pt x="1629" y="930"/>
                    <a:pt x="1629" y="930"/>
                  </a:cubicBezTo>
                  <a:moveTo>
                    <a:pt x="1649" y="930"/>
                  </a:moveTo>
                  <a:cubicBezTo>
                    <a:pt x="1637" y="930"/>
                    <a:pt x="1637" y="930"/>
                    <a:pt x="1637" y="930"/>
                  </a:cubicBezTo>
                  <a:cubicBezTo>
                    <a:pt x="1637" y="934"/>
                    <a:pt x="1637" y="934"/>
                    <a:pt x="1637" y="934"/>
                  </a:cubicBezTo>
                  <a:cubicBezTo>
                    <a:pt x="1649" y="934"/>
                    <a:pt x="1649" y="934"/>
                    <a:pt x="1649" y="934"/>
                  </a:cubicBezTo>
                  <a:cubicBezTo>
                    <a:pt x="1649" y="930"/>
                    <a:pt x="1649" y="930"/>
                    <a:pt x="1649" y="930"/>
                  </a:cubicBezTo>
                  <a:moveTo>
                    <a:pt x="1669" y="930"/>
                  </a:moveTo>
                  <a:cubicBezTo>
                    <a:pt x="1657" y="930"/>
                    <a:pt x="1657" y="930"/>
                    <a:pt x="1657" y="930"/>
                  </a:cubicBezTo>
                  <a:cubicBezTo>
                    <a:pt x="1657" y="934"/>
                    <a:pt x="1657" y="934"/>
                    <a:pt x="1657" y="934"/>
                  </a:cubicBezTo>
                  <a:cubicBezTo>
                    <a:pt x="1669" y="934"/>
                    <a:pt x="1669" y="934"/>
                    <a:pt x="1669" y="934"/>
                  </a:cubicBezTo>
                  <a:cubicBezTo>
                    <a:pt x="1669" y="930"/>
                    <a:pt x="1669" y="930"/>
                    <a:pt x="1669" y="930"/>
                  </a:cubicBezTo>
                  <a:moveTo>
                    <a:pt x="1689" y="930"/>
                  </a:moveTo>
                  <a:cubicBezTo>
                    <a:pt x="1677" y="930"/>
                    <a:pt x="1677" y="930"/>
                    <a:pt x="1677" y="930"/>
                  </a:cubicBezTo>
                  <a:cubicBezTo>
                    <a:pt x="1677" y="934"/>
                    <a:pt x="1677" y="934"/>
                    <a:pt x="1677" y="934"/>
                  </a:cubicBezTo>
                  <a:cubicBezTo>
                    <a:pt x="1689" y="934"/>
                    <a:pt x="1689" y="934"/>
                    <a:pt x="1689" y="934"/>
                  </a:cubicBezTo>
                  <a:cubicBezTo>
                    <a:pt x="1689" y="930"/>
                    <a:pt x="1689" y="930"/>
                    <a:pt x="1689" y="930"/>
                  </a:cubicBezTo>
                  <a:moveTo>
                    <a:pt x="1709" y="930"/>
                  </a:moveTo>
                  <a:cubicBezTo>
                    <a:pt x="1697" y="930"/>
                    <a:pt x="1697" y="930"/>
                    <a:pt x="1697" y="930"/>
                  </a:cubicBezTo>
                  <a:cubicBezTo>
                    <a:pt x="1697" y="934"/>
                    <a:pt x="1697" y="934"/>
                    <a:pt x="1697" y="934"/>
                  </a:cubicBezTo>
                  <a:cubicBezTo>
                    <a:pt x="1709" y="934"/>
                    <a:pt x="1709" y="934"/>
                    <a:pt x="1709" y="934"/>
                  </a:cubicBezTo>
                  <a:cubicBezTo>
                    <a:pt x="1709" y="930"/>
                    <a:pt x="1709" y="930"/>
                    <a:pt x="1709" y="930"/>
                  </a:cubicBezTo>
                  <a:moveTo>
                    <a:pt x="1729" y="930"/>
                  </a:moveTo>
                  <a:cubicBezTo>
                    <a:pt x="1717" y="930"/>
                    <a:pt x="1717" y="930"/>
                    <a:pt x="1717" y="930"/>
                  </a:cubicBezTo>
                  <a:cubicBezTo>
                    <a:pt x="1717" y="934"/>
                    <a:pt x="1717" y="934"/>
                    <a:pt x="1717" y="934"/>
                  </a:cubicBezTo>
                  <a:cubicBezTo>
                    <a:pt x="1729" y="934"/>
                    <a:pt x="1729" y="934"/>
                    <a:pt x="1729" y="934"/>
                  </a:cubicBezTo>
                  <a:cubicBezTo>
                    <a:pt x="1729" y="930"/>
                    <a:pt x="1729" y="930"/>
                    <a:pt x="1729" y="930"/>
                  </a:cubicBezTo>
                  <a:moveTo>
                    <a:pt x="1749" y="930"/>
                  </a:moveTo>
                  <a:cubicBezTo>
                    <a:pt x="1737" y="930"/>
                    <a:pt x="1737" y="930"/>
                    <a:pt x="1737" y="930"/>
                  </a:cubicBezTo>
                  <a:cubicBezTo>
                    <a:pt x="1737" y="934"/>
                    <a:pt x="1737" y="934"/>
                    <a:pt x="1737" y="934"/>
                  </a:cubicBezTo>
                  <a:cubicBezTo>
                    <a:pt x="1749" y="934"/>
                    <a:pt x="1749" y="934"/>
                    <a:pt x="1749" y="934"/>
                  </a:cubicBezTo>
                  <a:cubicBezTo>
                    <a:pt x="1749" y="930"/>
                    <a:pt x="1749" y="930"/>
                    <a:pt x="1749" y="930"/>
                  </a:cubicBezTo>
                  <a:moveTo>
                    <a:pt x="1769" y="930"/>
                  </a:moveTo>
                  <a:cubicBezTo>
                    <a:pt x="1757" y="930"/>
                    <a:pt x="1757" y="930"/>
                    <a:pt x="1757" y="930"/>
                  </a:cubicBezTo>
                  <a:cubicBezTo>
                    <a:pt x="1757" y="934"/>
                    <a:pt x="1757" y="934"/>
                    <a:pt x="1757" y="934"/>
                  </a:cubicBezTo>
                  <a:cubicBezTo>
                    <a:pt x="1769" y="934"/>
                    <a:pt x="1769" y="934"/>
                    <a:pt x="1769" y="934"/>
                  </a:cubicBezTo>
                  <a:cubicBezTo>
                    <a:pt x="1769" y="930"/>
                    <a:pt x="1769" y="930"/>
                    <a:pt x="1769" y="930"/>
                  </a:cubicBezTo>
                  <a:moveTo>
                    <a:pt x="1789" y="930"/>
                  </a:moveTo>
                  <a:cubicBezTo>
                    <a:pt x="1777" y="930"/>
                    <a:pt x="1777" y="930"/>
                    <a:pt x="1777" y="930"/>
                  </a:cubicBezTo>
                  <a:cubicBezTo>
                    <a:pt x="1777" y="934"/>
                    <a:pt x="1777" y="934"/>
                    <a:pt x="1777" y="934"/>
                  </a:cubicBezTo>
                  <a:cubicBezTo>
                    <a:pt x="1789" y="934"/>
                    <a:pt x="1789" y="934"/>
                    <a:pt x="1789" y="934"/>
                  </a:cubicBezTo>
                  <a:cubicBezTo>
                    <a:pt x="1789" y="930"/>
                    <a:pt x="1789" y="930"/>
                    <a:pt x="1789" y="930"/>
                  </a:cubicBezTo>
                  <a:moveTo>
                    <a:pt x="1809" y="930"/>
                  </a:moveTo>
                  <a:cubicBezTo>
                    <a:pt x="1797" y="930"/>
                    <a:pt x="1797" y="930"/>
                    <a:pt x="1797" y="930"/>
                  </a:cubicBezTo>
                  <a:cubicBezTo>
                    <a:pt x="1797" y="934"/>
                    <a:pt x="1797" y="934"/>
                    <a:pt x="1797" y="934"/>
                  </a:cubicBezTo>
                  <a:cubicBezTo>
                    <a:pt x="1809" y="934"/>
                    <a:pt x="1809" y="934"/>
                    <a:pt x="1809" y="934"/>
                  </a:cubicBezTo>
                  <a:cubicBezTo>
                    <a:pt x="1809" y="930"/>
                    <a:pt x="1809" y="930"/>
                    <a:pt x="1809" y="930"/>
                  </a:cubicBezTo>
                  <a:moveTo>
                    <a:pt x="1829" y="930"/>
                  </a:moveTo>
                  <a:cubicBezTo>
                    <a:pt x="1817" y="930"/>
                    <a:pt x="1817" y="930"/>
                    <a:pt x="1817" y="930"/>
                  </a:cubicBezTo>
                  <a:cubicBezTo>
                    <a:pt x="1817" y="934"/>
                    <a:pt x="1817" y="934"/>
                    <a:pt x="1817" y="934"/>
                  </a:cubicBezTo>
                  <a:cubicBezTo>
                    <a:pt x="1829" y="934"/>
                    <a:pt x="1829" y="934"/>
                    <a:pt x="1829" y="934"/>
                  </a:cubicBezTo>
                  <a:cubicBezTo>
                    <a:pt x="1829" y="930"/>
                    <a:pt x="1829" y="930"/>
                    <a:pt x="1829" y="930"/>
                  </a:cubicBezTo>
                  <a:moveTo>
                    <a:pt x="1849" y="930"/>
                  </a:moveTo>
                  <a:cubicBezTo>
                    <a:pt x="1837" y="930"/>
                    <a:pt x="1837" y="930"/>
                    <a:pt x="1837" y="930"/>
                  </a:cubicBezTo>
                  <a:cubicBezTo>
                    <a:pt x="1837" y="934"/>
                    <a:pt x="1837" y="934"/>
                    <a:pt x="1837" y="934"/>
                  </a:cubicBezTo>
                  <a:cubicBezTo>
                    <a:pt x="1849" y="934"/>
                    <a:pt x="1849" y="934"/>
                    <a:pt x="1849" y="934"/>
                  </a:cubicBezTo>
                  <a:cubicBezTo>
                    <a:pt x="1849" y="930"/>
                    <a:pt x="1849" y="930"/>
                    <a:pt x="1849" y="930"/>
                  </a:cubicBezTo>
                  <a:moveTo>
                    <a:pt x="1869" y="930"/>
                  </a:moveTo>
                  <a:cubicBezTo>
                    <a:pt x="1857" y="930"/>
                    <a:pt x="1857" y="930"/>
                    <a:pt x="1857" y="930"/>
                  </a:cubicBezTo>
                  <a:cubicBezTo>
                    <a:pt x="1857" y="934"/>
                    <a:pt x="1857" y="934"/>
                    <a:pt x="1857" y="934"/>
                  </a:cubicBezTo>
                  <a:cubicBezTo>
                    <a:pt x="1869" y="934"/>
                    <a:pt x="1869" y="934"/>
                    <a:pt x="1869" y="934"/>
                  </a:cubicBezTo>
                  <a:cubicBezTo>
                    <a:pt x="1869" y="930"/>
                    <a:pt x="1869" y="930"/>
                    <a:pt x="1869" y="930"/>
                  </a:cubicBezTo>
                  <a:moveTo>
                    <a:pt x="1889" y="930"/>
                  </a:moveTo>
                  <a:cubicBezTo>
                    <a:pt x="1877" y="930"/>
                    <a:pt x="1877" y="930"/>
                    <a:pt x="1877" y="930"/>
                  </a:cubicBezTo>
                  <a:cubicBezTo>
                    <a:pt x="1877" y="934"/>
                    <a:pt x="1877" y="934"/>
                    <a:pt x="1877" y="934"/>
                  </a:cubicBezTo>
                  <a:cubicBezTo>
                    <a:pt x="1889" y="934"/>
                    <a:pt x="1889" y="934"/>
                    <a:pt x="1889" y="934"/>
                  </a:cubicBezTo>
                  <a:cubicBezTo>
                    <a:pt x="1889" y="930"/>
                    <a:pt x="1889" y="930"/>
                    <a:pt x="1889" y="930"/>
                  </a:cubicBezTo>
                  <a:moveTo>
                    <a:pt x="1909" y="930"/>
                  </a:moveTo>
                  <a:cubicBezTo>
                    <a:pt x="1897" y="930"/>
                    <a:pt x="1897" y="930"/>
                    <a:pt x="1897" y="930"/>
                  </a:cubicBezTo>
                  <a:cubicBezTo>
                    <a:pt x="1897" y="934"/>
                    <a:pt x="1897" y="934"/>
                    <a:pt x="1897" y="934"/>
                  </a:cubicBezTo>
                  <a:cubicBezTo>
                    <a:pt x="1909" y="934"/>
                    <a:pt x="1909" y="934"/>
                    <a:pt x="1909" y="934"/>
                  </a:cubicBezTo>
                  <a:cubicBezTo>
                    <a:pt x="1909" y="930"/>
                    <a:pt x="1909" y="930"/>
                    <a:pt x="1909" y="930"/>
                  </a:cubicBezTo>
                  <a:moveTo>
                    <a:pt x="1929" y="930"/>
                  </a:moveTo>
                  <a:cubicBezTo>
                    <a:pt x="1917" y="930"/>
                    <a:pt x="1917" y="930"/>
                    <a:pt x="1917" y="930"/>
                  </a:cubicBezTo>
                  <a:cubicBezTo>
                    <a:pt x="1917" y="934"/>
                    <a:pt x="1917" y="934"/>
                    <a:pt x="1917" y="934"/>
                  </a:cubicBezTo>
                  <a:cubicBezTo>
                    <a:pt x="1929" y="934"/>
                    <a:pt x="1929" y="934"/>
                    <a:pt x="1929" y="934"/>
                  </a:cubicBezTo>
                  <a:cubicBezTo>
                    <a:pt x="1929" y="930"/>
                    <a:pt x="1929" y="930"/>
                    <a:pt x="1929" y="930"/>
                  </a:cubicBezTo>
                  <a:moveTo>
                    <a:pt x="1949" y="930"/>
                  </a:moveTo>
                  <a:cubicBezTo>
                    <a:pt x="1937" y="930"/>
                    <a:pt x="1937" y="930"/>
                    <a:pt x="1937" y="930"/>
                  </a:cubicBezTo>
                  <a:cubicBezTo>
                    <a:pt x="1937" y="934"/>
                    <a:pt x="1937" y="934"/>
                    <a:pt x="1937" y="934"/>
                  </a:cubicBezTo>
                  <a:cubicBezTo>
                    <a:pt x="1949" y="934"/>
                    <a:pt x="1949" y="934"/>
                    <a:pt x="1949" y="934"/>
                  </a:cubicBezTo>
                  <a:cubicBezTo>
                    <a:pt x="1949" y="930"/>
                    <a:pt x="1949" y="930"/>
                    <a:pt x="1949" y="930"/>
                  </a:cubicBezTo>
                  <a:moveTo>
                    <a:pt x="1969" y="930"/>
                  </a:moveTo>
                  <a:cubicBezTo>
                    <a:pt x="1957" y="930"/>
                    <a:pt x="1957" y="930"/>
                    <a:pt x="1957" y="930"/>
                  </a:cubicBezTo>
                  <a:cubicBezTo>
                    <a:pt x="1957" y="934"/>
                    <a:pt x="1957" y="934"/>
                    <a:pt x="1957" y="934"/>
                  </a:cubicBezTo>
                  <a:cubicBezTo>
                    <a:pt x="1969" y="934"/>
                    <a:pt x="1969" y="934"/>
                    <a:pt x="1969" y="934"/>
                  </a:cubicBezTo>
                  <a:cubicBezTo>
                    <a:pt x="1969" y="930"/>
                    <a:pt x="1969" y="930"/>
                    <a:pt x="1969" y="930"/>
                  </a:cubicBezTo>
                  <a:moveTo>
                    <a:pt x="1989" y="930"/>
                  </a:moveTo>
                  <a:cubicBezTo>
                    <a:pt x="1977" y="930"/>
                    <a:pt x="1977" y="930"/>
                    <a:pt x="1977" y="930"/>
                  </a:cubicBezTo>
                  <a:cubicBezTo>
                    <a:pt x="1977" y="934"/>
                    <a:pt x="1977" y="934"/>
                    <a:pt x="1977" y="934"/>
                  </a:cubicBezTo>
                  <a:cubicBezTo>
                    <a:pt x="1989" y="934"/>
                    <a:pt x="1989" y="934"/>
                    <a:pt x="1989" y="934"/>
                  </a:cubicBezTo>
                  <a:cubicBezTo>
                    <a:pt x="1989" y="930"/>
                    <a:pt x="1989" y="930"/>
                    <a:pt x="1989" y="930"/>
                  </a:cubicBezTo>
                  <a:moveTo>
                    <a:pt x="2009" y="930"/>
                  </a:moveTo>
                  <a:cubicBezTo>
                    <a:pt x="1997" y="930"/>
                    <a:pt x="1997" y="930"/>
                    <a:pt x="1997" y="930"/>
                  </a:cubicBezTo>
                  <a:cubicBezTo>
                    <a:pt x="1997" y="934"/>
                    <a:pt x="1997" y="934"/>
                    <a:pt x="1997" y="934"/>
                  </a:cubicBezTo>
                  <a:cubicBezTo>
                    <a:pt x="2009" y="934"/>
                    <a:pt x="2009" y="934"/>
                    <a:pt x="2009" y="934"/>
                  </a:cubicBezTo>
                  <a:cubicBezTo>
                    <a:pt x="2009" y="930"/>
                    <a:pt x="2009" y="930"/>
                    <a:pt x="2009" y="930"/>
                  </a:cubicBezTo>
                  <a:moveTo>
                    <a:pt x="2029" y="930"/>
                  </a:moveTo>
                  <a:cubicBezTo>
                    <a:pt x="2017" y="930"/>
                    <a:pt x="2017" y="930"/>
                    <a:pt x="2017" y="930"/>
                  </a:cubicBezTo>
                  <a:cubicBezTo>
                    <a:pt x="2017" y="934"/>
                    <a:pt x="2017" y="934"/>
                    <a:pt x="2017" y="934"/>
                  </a:cubicBezTo>
                  <a:cubicBezTo>
                    <a:pt x="2029" y="934"/>
                    <a:pt x="2029" y="934"/>
                    <a:pt x="2029" y="934"/>
                  </a:cubicBezTo>
                  <a:cubicBezTo>
                    <a:pt x="2029" y="930"/>
                    <a:pt x="2029" y="930"/>
                    <a:pt x="2029" y="930"/>
                  </a:cubicBezTo>
                  <a:moveTo>
                    <a:pt x="2049" y="930"/>
                  </a:moveTo>
                  <a:cubicBezTo>
                    <a:pt x="2037" y="930"/>
                    <a:pt x="2037" y="930"/>
                    <a:pt x="2037" y="930"/>
                  </a:cubicBezTo>
                  <a:cubicBezTo>
                    <a:pt x="2037" y="934"/>
                    <a:pt x="2037" y="934"/>
                    <a:pt x="2037" y="934"/>
                  </a:cubicBezTo>
                  <a:cubicBezTo>
                    <a:pt x="2049" y="934"/>
                    <a:pt x="2049" y="934"/>
                    <a:pt x="2049" y="934"/>
                  </a:cubicBezTo>
                  <a:cubicBezTo>
                    <a:pt x="2049" y="930"/>
                    <a:pt x="2049" y="930"/>
                    <a:pt x="2049" y="930"/>
                  </a:cubicBezTo>
                  <a:moveTo>
                    <a:pt x="2069" y="930"/>
                  </a:moveTo>
                  <a:cubicBezTo>
                    <a:pt x="2057" y="930"/>
                    <a:pt x="2057" y="930"/>
                    <a:pt x="2057" y="930"/>
                  </a:cubicBezTo>
                  <a:cubicBezTo>
                    <a:pt x="2057" y="934"/>
                    <a:pt x="2057" y="934"/>
                    <a:pt x="2057" y="934"/>
                  </a:cubicBezTo>
                  <a:cubicBezTo>
                    <a:pt x="2069" y="934"/>
                    <a:pt x="2069" y="934"/>
                    <a:pt x="2069" y="934"/>
                  </a:cubicBezTo>
                  <a:cubicBezTo>
                    <a:pt x="2069" y="930"/>
                    <a:pt x="2069" y="930"/>
                    <a:pt x="2069" y="930"/>
                  </a:cubicBezTo>
                  <a:moveTo>
                    <a:pt x="2089" y="930"/>
                  </a:moveTo>
                  <a:cubicBezTo>
                    <a:pt x="2077" y="930"/>
                    <a:pt x="2077" y="930"/>
                    <a:pt x="2077" y="930"/>
                  </a:cubicBezTo>
                  <a:cubicBezTo>
                    <a:pt x="2077" y="934"/>
                    <a:pt x="2077" y="934"/>
                    <a:pt x="2077" y="934"/>
                  </a:cubicBezTo>
                  <a:cubicBezTo>
                    <a:pt x="2089" y="934"/>
                    <a:pt x="2089" y="934"/>
                    <a:pt x="2089" y="934"/>
                  </a:cubicBezTo>
                  <a:cubicBezTo>
                    <a:pt x="2089" y="930"/>
                    <a:pt x="2089" y="930"/>
                    <a:pt x="2089" y="930"/>
                  </a:cubicBezTo>
                  <a:moveTo>
                    <a:pt x="2109" y="930"/>
                  </a:moveTo>
                  <a:cubicBezTo>
                    <a:pt x="2097" y="930"/>
                    <a:pt x="2097" y="930"/>
                    <a:pt x="2097" y="930"/>
                  </a:cubicBezTo>
                  <a:cubicBezTo>
                    <a:pt x="2097" y="934"/>
                    <a:pt x="2097" y="934"/>
                    <a:pt x="2097" y="934"/>
                  </a:cubicBezTo>
                  <a:cubicBezTo>
                    <a:pt x="2109" y="934"/>
                    <a:pt x="2109" y="934"/>
                    <a:pt x="2109" y="934"/>
                  </a:cubicBezTo>
                  <a:cubicBezTo>
                    <a:pt x="2109" y="930"/>
                    <a:pt x="2109" y="930"/>
                    <a:pt x="2109" y="930"/>
                  </a:cubicBezTo>
                  <a:moveTo>
                    <a:pt x="2129" y="930"/>
                  </a:moveTo>
                  <a:cubicBezTo>
                    <a:pt x="2117" y="930"/>
                    <a:pt x="2117" y="930"/>
                    <a:pt x="2117" y="930"/>
                  </a:cubicBezTo>
                  <a:cubicBezTo>
                    <a:pt x="2117" y="934"/>
                    <a:pt x="2117" y="934"/>
                    <a:pt x="2117" y="934"/>
                  </a:cubicBezTo>
                  <a:cubicBezTo>
                    <a:pt x="2129" y="934"/>
                    <a:pt x="2129" y="934"/>
                    <a:pt x="2129" y="934"/>
                  </a:cubicBezTo>
                  <a:cubicBezTo>
                    <a:pt x="2129" y="930"/>
                    <a:pt x="2129" y="930"/>
                    <a:pt x="2129" y="930"/>
                  </a:cubicBezTo>
                  <a:moveTo>
                    <a:pt x="2149" y="930"/>
                  </a:moveTo>
                  <a:cubicBezTo>
                    <a:pt x="2137" y="930"/>
                    <a:pt x="2137" y="930"/>
                    <a:pt x="2137" y="930"/>
                  </a:cubicBezTo>
                  <a:cubicBezTo>
                    <a:pt x="2137" y="934"/>
                    <a:pt x="2137" y="934"/>
                    <a:pt x="2137" y="934"/>
                  </a:cubicBezTo>
                  <a:cubicBezTo>
                    <a:pt x="2149" y="934"/>
                    <a:pt x="2149" y="934"/>
                    <a:pt x="2149" y="934"/>
                  </a:cubicBezTo>
                  <a:cubicBezTo>
                    <a:pt x="2149" y="930"/>
                    <a:pt x="2149" y="930"/>
                    <a:pt x="2149" y="930"/>
                  </a:cubicBezTo>
                  <a:moveTo>
                    <a:pt x="2169" y="930"/>
                  </a:moveTo>
                  <a:cubicBezTo>
                    <a:pt x="2157" y="930"/>
                    <a:pt x="2157" y="930"/>
                    <a:pt x="2157" y="930"/>
                  </a:cubicBezTo>
                  <a:cubicBezTo>
                    <a:pt x="2157" y="934"/>
                    <a:pt x="2157" y="934"/>
                    <a:pt x="2157" y="934"/>
                  </a:cubicBezTo>
                  <a:cubicBezTo>
                    <a:pt x="2169" y="934"/>
                    <a:pt x="2169" y="934"/>
                    <a:pt x="2169" y="934"/>
                  </a:cubicBezTo>
                  <a:cubicBezTo>
                    <a:pt x="2169" y="930"/>
                    <a:pt x="2169" y="930"/>
                    <a:pt x="2169" y="930"/>
                  </a:cubicBezTo>
                  <a:moveTo>
                    <a:pt x="2189" y="930"/>
                  </a:moveTo>
                  <a:cubicBezTo>
                    <a:pt x="2177" y="930"/>
                    <a:pt x="2177" y="930"/>
                    <a:pt x="2177" y="930"/>
                  </a:cubicBezTo>
                  <a:cubicBezTo>
                    <a:pt x="2177" y="934"/>
                    <a:pt x="2177" y="934"/>
                    <a:pt x="2177" y="934"/>
                  </a:cubicBezTo>
                  <a:cubicBezTo>
                    <a:pt x="2189" y="934"/>
                    <a:pt x="2189" y="934"/>
                    <a:pt x="2189" y="934"/>
                  </a:cubicBezTo>
                  <a:cubicBezTo>
                    <a:pt x="2189" y="930"/>
                    <a:pt x="2189" y="930"/>
                    <a:pt x="2189" y="930"/>
                  </a:cubicBezTo>
                  <a:moveTo>
                    <a:pt x="2209" y="930"/>
                  </a:moveTo>
                  <a:cubicBezTo>
                    <a:pt x="2197" y="930"/>
                    <a:pt x="2197" y="930"/>
                    <a:pt x="2197" y="930"/>
                  </a:cubicBezTo>
                  <a:cubicBezTo>
                    <a:pt x="2197" y="934"/>
                    <a:pt x="2197" y="934"/>
                    <a:pt x="2197" y="934"/>
                  </a:cubicBezTo>
                  <a:cubicBezTo>
                    <a:pt x="2209" y="934"/>
                    <a:pt x="2209" y="934"/>
                    <a:pt x="2209" y="934"/>
                  </a:cubicBezTo>
                  <a:cubicBezTo>
                    <a:pt x="2209" y="930"/>
                    <a:pt x="2209" y="930"/>
                    <a:pt x="2209" y="930"/>
                  </a:cubicBezTo>
                  <a:moveTo>
                    <a:pt x="2230" y="930"/>
                  </a:moveTo>
                  <a:cubicBezTo>
                    <a:pt x="2227" y="930"/>
                    <a:pt x="2224" y="930"/>
                    <a:pt x="2221" y="930"/>
                  </a:cubicBezTo>
                  <a:cubicBezTo>
                    <a:pt x="2217" y="930"/>
                    <a:pt x="2217" y="930"/>
                    <a:pt x="2217" y="930"/>
                  </a:cubicBezTo>
                  <a:cubicBezTo>
                    <a:pt x="2217" y="934"/>
                    <a:pt x="2217" y="934"/>
                    <a:pt x="2217" y="934"/>
                  </a:cubicBezTo>
                  <a:cubicBezTo>
                    <a:pt x="2221" y="934"/>
                    <a:pt x="2221" y="934"/>
                    <a:pt x="2221" y="934"/>
                  </a:cubicBezTo>
                  <a:cubicBezTo>
                    <a:pt x="2224" y="934"/>
                    <a:pt x="2227" y="934"/>
                    <a:pt x="2229" y="934"/>
                  </a:cubicBezTo>
                  <a:cubicBezTo>
                    <a:pt x="2230" y="930"/>
                    <a:pt x="2230" y="930"/>
                    <a:pt x="2230" y="930"/>
                  </a:cubicBezTo>
                  <a:cubicBezTo>
                    <a:pt x="2230" y="930"/>
                    <a:pt x="2230" y="930"/>
                    <a:pt x="2230" y="930"/>
                  </a:cubicBezTo>
                  <a:moveTo>
                    <a:pt x="2250" y="933"/>
                  </a:moveTo>
                  <a:cubicBezTo>
                    <a:pt x="2246" y="932"/>
                    <a:pt x="2242" y="931"/>
                    <a:pt x="2238" y="931"/>
                  </a:cubicBezTo>
                  <a:cubicBezTo>
                    <a:pt x="2237" y="935"/>
                    <a:pt x="2237" y="935"/>
                    <a:pt x="2237" y="935"/>
                  </a:cubicBezTo>
                  <a:cubicBezTo>
                    <a:pt x="2241" y="935"/>
                    <a:pt x="2245" y="936"/>
                    <a:pt x="2249" y="937"/>
                  </a:cubicBezTo>
                  <a:cubicBezTo>
                    <a:pt x="2250" y="933"/>
                    <a:pt x="2250" y="933"/>
                    <a:pt x="2250" y="933"/>
                  </a:cubicBezTo>
                  <a:moveTo>
                    <a:pt x="2269" y="939"/>
                  </a:moveTo>
                  <a:cubicBezTo>
                    <a:pt x="2265" y="938"/>
                    <a:pt x="2261" y="936"/>
                    <a:pt x="2258" y="935"/>
                  </a:cubicBezTo>
                  <a:cubicBezTo>
                    <a:pt x="2256" y="939"/>
                    <a:pt x="2256" y="939"/>
                    <a:pt x="2256" y="939"/>
                  </a:cubicBezTo>
                  <a:cubicBezTo>
                    <a:pt x="2260" y="940"/>
                    <a:pt x="2264" y="941"/>
                    <a:pt x="2267" y="943"/>
                  </a:cubicBezTo>
                  <a:cubicBezTo>
                    <a:pt x="2269" y="939"/>
                    <a:pt x="2269" y="939"/>
                    <a:pt x="2269" y="939"/>
                  </a:cubicBezTo>
                  <a:cubicBezTo>
                    <a:pt x="2269" y="939"/>
                    <a:pt x="2269" y="939"/>
                    <a:pt x="2269" y="939"/>
                  </a:cubicBezTo>
                  <a:moveTo>
                    <a:pt x="2287" y="948"/>
                  </a:moveTo>
                  <a:cubicBezTo>
                    <a:pt x="2284" y="946"/>
                    <a:pt x="2280" y="944"/>
                    <a:pt x="2276" y="942"/>
                  </a:cubicBezTo>
                  <a:cubicBezTo>
                    <a:pt x="2275" y="946"/>
                    <a:pt x="2275" y="946"/>
                    <a:pt x="2275" y="946"/>
                  </a:cubicBezTo>
                  <a:cubicBezTo>
                    <a:pt x="2278" y="948"/>
                    <a:pt x="2282" y="950"/>
                    <a:pt x="2285" y="952"/>
                  </a:cubicBezTo>
                  <a:cubicBezTo>
                    <a:pt x="2287" y="948"/>
                    <a:pt x="2287" y="948"/>
                    <a:pt x="2287" y="948"/>
                  </a:cubicBezTo>
                  <a:moveTo>
                    <a:pt x="2303" y="961"/>
                  </a:moveTo>
                  <a:cubicBezTo>
                    <a:pt x="2300" y="958"/>
                    <a:pt x="2297" y="955"/>
                    <a:pt x="2294" y="953"/>
                  </a:cubicBezTo>
                  <a:cubicBezTo>
                    <a:pt x="2291" y="956"/>
                    <a:pt x="2291" y="956"/>
                    <a:pt x="2291" y="956"/>
                  </a:cubicBezTo>
                  <a:cubicBezTo>
                    <a:pt x="2295" y="958"/>
                    <a:pt x="2298" y="961"/>
                    <a:pt x="2301" y="964"/>
                  </a:cubicBezTo>
                  <a:cubicBezTo>
                    <a:pt x="2303" y="961"/>
                    <a:pt x="2303" y="961"/>
                    <a:pt x="2303" y="961"/>
                  </a:cubicBezTo>
                  <a:cubicBezTo>
                    <a:pt x="2303" y="961"/>
                    <a:pt x="2303" y="961"/>
                    <a:pt x="2303" y="961"/>
                  </a:cubicBezTo>
                  <a:moveTo>
                    <a:pt x="2317" y="975"/>
                  </a:moveTo>
                  <a:cubicBezTo>
                    <a:pt x="2315" y="972"/>
                    <a:pt x="2312" y="969"/>
                    <a:pt x="2309" y="966"/>
                  </a:cubicBezTo>
                  <a:cubicBezTo>
                    <a:pt x="2306" y="969"/>
                    <a:pt x="2306" y="969"/>
                    <a:pt x="2306" y="969"/>
                  </a:cubicBezTo>
                  <a:cubicBezTo>
                    <a:pt x="2309" y="972"/>
                    <a:pt x="2312" y="975"/>
                    <a:pt x="2314" y="978"/>
                  </a:cubicBezTo>
                  <a:cubicBezTo>
                    <a:pt x="2317" y="975"/>
                    <a:pt x="2317" y="975"/>
                    <a:pt x="2317" y="975"/>
                  </a:cubicBezTo>
                  <a:cubicBezTo>
                    <a:pt x="2317" y="975"/>
                    <a:pt x="2317" y="975"/>
                    <a:pt x="2317" y="975"/>
                  </a:cubicBezTo>
                  <a:moveTo>
                    <a:pt x="2329" y="992"/>
                  </a:moveTo>
                  <a:cubicBezTo>
                    <a:pt x="2327" y="988"/>
                    <a:pt x="2325" y="985"/>
                    <a:pt x="2322" y="982"/>
                  </a:cubicBezTo>
                  <a:cubicBezTo>
                    <a:pt x="2319" y="984"/>
                    <a:pt x="2319" y="984"/>
                    <a:pt x="2319" y="984"/>
                  </a:cubicBezTo>
                  <a:cubicBezTo>
                    <a:pt x="2321" y="987"/>
                    <a:pt x="2324" y="990"/>
                    <a:pt x="2325" y="994"/>
                  </a:cubicBezTo>
                  <a:cubicBezTo>
                    <a:pt x="2329" y="992"/>
                    <a:pt x="2329" y="992"/>
                    <a:pt x="2329" y="992"/>
                  </a:cubicBezTo>
                  <a:moveTo>
                    <a:pt x="2338" y="1010"/>
                  </a:moveTo>
                  <a:cubicBezTo>
                    <a:pt x="2336" y="1006"/>
                    <a:pt x="2335" y="1003"/>
                    <a:pt x="2333" y="999"/>
                  </a:cubicBezTo>
                  <a:cubicBezTo>
                    <a:pt x="2329" y="1001"/>
                    <a:pt x="2329" y="1001"/>
                    <a:pt x="2329" y="1001"/>
                  </a:cubicBezTo>
                  <a:cubicBezTo>
                    <a:pt x="2331" y="1004"/>
                    <a:pt x="2332" y="1008"/>
                    <a:pt x="2334" y="1012"/>
                  </a:cubicBezTo>
                  <a:cubicBezTo>
                    <a:pt x="2338" y="1010"/>
                    <a:pt x="2338" y="1010"/>
                    <a:pt x="2338" y="1010"/>
                  </a:cubicBezTo>
                  <a:moveTo>
                    <a:pt x="2343" y="1030"/>
                  </a:moveTo>
                  <a:cubicBezTo>
                    <a:pt x="2342" y="1026"/>
                    <a:pt x="2341" y="1022"/>
                    <a:pt x="2340" y="1018"/>
                  </a:cubicBezTo>
                  <a:cubicBezTo>
                    <a:pt x="2336" y="1019"/>
                    <a:pt x="2336" y="1019"/>
                    <a:pt x="2336" y="1019"/>
                  </a:cubicBezTo>
                  <a:cubicBezTo>
                    <a:pt x="2338" y="1023"/>
                    <a:pt x="2338" y="1027"/>
                    <a:pt x="2339" y="1031"/>
                  </a:cubicBezTo>
                  <a:cubicBezTo>
                    <a:pt x="2343" y="1030"/>
                    <a:pt x="2343" y="1030"/>
                    <a:pt x="2343" y="1030"/>
                  </a:cubicBezTo>
                  <a:cubicBezTo>
                    <a:pt x="2343" y="1030"/>
                    <a:pt x="2343" y="1030"/>
                    <a:pt x="2343" y="1030"/>
                  </a:cubicBezTo>
                  <a:moveTo>
                    <a:pt x="2345" y="1050"/>
                  </a:moveTo>
                  <a:cubicBezTo>
                    <a:pt x="2345" y="1046"/>
                    <a:pt x="2345" y="1042"/>
                    <a:pt x="2344" y="1038"/>
                  </a:cubicBezTo>
                  <a:cubicBezTo>
                    <a:pt x="2340" y="1038"/>
                    <a:pt x="2340" y="1038"/>
                    <a:pt x="2340" y="1038"/>
                  </a:cubicBezTo>
                  <a:cubicBezTo>
                    <a:pt x="2341" y="1042"/>
                    <a:pt x="2341" y="1046"/>
                    <a:pt x="2341" y="1050"/>
                  </a:cubicBezTo>
                  <a:cubicBezTo>
                    <a:pt x="2345" y="1050"/>
                    <a:pt x="2345" y="1050"/>
                    <a:pt x="2345" y="1050"/>
                  </a:cubicBezTo>
                  <a:moveTo>
                    <a:pt x="2344" y="1070"/>
                  </a:moveTo>
                  <a:cubicBezTo>
                    <a:pt x="2345" y="1066"/>
                    <a:pt x="2345" y="1062"/>
                    <a:pt x="2345" y="1058"/>
                  </a:cubicBezTo>
                  <a:cubicBezTo>
                    <a:pt x="2341" y="1058"/>
                    <a:pt x="2341" y="1058"/>
                    <a:pt x="2341" y="1058"/>
                  </a:cubicBezTo>
                  <a:cubicBezTo>
                    <a:pt x="2341" y="1062"/>
                    <a:pt x="2341" y="1066"/>
                    <a:pt x="2340" y="1070"/>
                  </a:cubicBezTo>
                  <a:cubicBezTo>
                    <a:pt x="2344" y="1070"/>
                    <a:pt x="2344" y="1070"/>
                    <a:pt x="2344" y="1070"/>
                  </a:cubicBezTo>
                  <a:moveTo>
                    <a:pt x="2340" y="1090"/>
                  </a:moveTo>
                  <a:cubicBezTo>
                    <a:pt x="2341" y="1086"/>
                    <a:pt x="2342" y="1082"/>
                    <a:pt x="2343" y="1078"/>
                  </a:cubicBezTo>
                  <a:cubicBezTo>
                    <a:pt x="2339" y="1077"/>
                    <a:pt x="2339" y="1077"/>
                    <a:pt x="2339" y="1077"/>
                  </a:cubicBezTo>
                  <a:cubicBezTo>
                    <a:pt x="2338" y="1081"/>
                    <a:pt x="2337" y="1085"/>
                    <a:pt x="2336" y="1089"/>
                  </a:cubicBezTo>
                  <a:cubicBezTo>
                    <a:pt x="2340" y="1090"/>
                    <a:pt x="2340" y="1090"/>
                    <a:pt x="2340" y="1090"/>
                  </a:cubicBezTo>
                  <a:moveTo>
                    <a:pt x="2333" y="1109"/>
                  </a:moveTo>
                  <a:cubicBezTo>
                    <a:pt x="2334" y="1105"/>
                    <a:pt x="2336" y="1102"/>
                    <a:pt x="2337" y="1098"/>
                  </a:cubicBezTo>
                  <a:cubicBezTo>
                    <a:pt x="2334" y="1096"/>
                    <a:pt x="2334" y="1096"/>
                    <a:pt x="2334" y="1096"/>
                  </a:cubicBezTo>
                  <a:cubicBezTo>
                    <a:pt x="2332" y="1100"/>
                    <a:pt x="2331" y="1104"/>
                    <a:pt x="2329" y="1107"/>
                  </a:cubicBezTo>
                  <a:cubicBezTo>
                    <a:pt x="2333" y="1109"/>
                    <a:pt x="2333" y="1109"/>
                    <a:pt x="2333" y="1109"/>
                  </a:cubicBezTo>
                  <a:cubicBezTo>
                    <a:pt x="2333" y="1109"/>
                    <a:pt x="2333" y="1109"/>
                    <a:pt x="2333" y="1109"/>
                  </a:cubicBezTo>
                  <a:moveTo>
                    <a:pt x="2322" y="1126"/>
                  </a:moveTo>
                  <a:cubicBezTo>
                    <a:pt x="2324" y="1123"/>
                    <a:pt x="2327" y="1120"/>
                    <a:pt x="2329" y="1116"/>
                  </a:cubicBezTo>
                  <a:cubicBezTo>
                    <a:pt x="2325" y="1114"/>
                    <a:pt x="2325" y="1114"/>
                    <a:pt x="2325" y="1114"/>
                  </a:cubicBezTo>
                  <a:cubicBezTo>
                    <a:pt x="2323" y="1117"/>
                    <a:pt x="2321" y="1121"/>
                    <a:pt x="2319" y="1124"/>
                  </a:cubicBezTo>
                  <a:cubicBezTo>
                    <a:pt x="2322" y="1126"/>
                    <a:pt x="2322" y="1126"/>
                    <a:pt x="2322" y="1126"/>
                  </a:cubicBezTo>
                  <a:moveTo>
                    <a:pt x="2309" y="1142"/>
                  </a:moveTo>
                  <a:cubicBezTo>
                    <a:pt x="2312" y="1139"/>
                    <a:pt x="2315" y="1136"/>
                    <a:pt x="2317" y="1133"/>
                  </a:cubicBezTo>
                  <a:cubicBezTo>
                    <a:pt x="2314" y="1130"/>
                    <a:pt x="2314" y="1130"/>
                    <a:pt x="2314" y="1130"/>
                  </a:cubicBezTo>
                  <a:cubicBezTo>
                    <a:pt x="2312" y="1133"/>
                    <a:pt x="2309" y="1136"/>
                    <a:pt x="2306" y="1139"/>
                  </a:cubicBezTo>
                  <a:cubicBezTo>
                    <a:pt x="2309" y="1142"/>
                    <a:pt x="2309" y="1142"/>
                    <a:pt x="2309" y="1142"/>
                  </a:cubicBezTo>
                  <a:moveTo>
                    <a:pt x="2293" y="1155"/>
                  </a:moveTo>
                  <a:cubicBezTo>
                    <a:pt x="2297" y="1152"/>
                    <a:pt x="2300" y="1150"/>
                    <a:pt x="2303" y="1147"/>
                  </a:cubicBezTo>
                  <a:cubicBezTo>
                    <a:pt x="2300" y="1144"/>
                    <a:pt x="2300" y="1144"/>
                    <a:pt x="2300" y="1144"/>
                  </a:cubicBezTo>
                  <a:cubicBezTo>
                    <a:pt x="2297" y="1147"/>
                    <a:pt x="2294" y="1149"/>
                    <a:pt x="2291" y="1152"/>
                  </a:cubicBezTo>
                  <a:cubicBezTo>
                    <a:pt x="2293" y="1155"/>
                    <a:pt x="2293" y="1155"/>
                    <a:pt x="2293" y="1155"/>
                  </a:cubicBezTo>
                  <a:moveTo>
                    <a:pt x="2276" y="1165"/>
                  </a:moveTo>
                  <a:cubicBezTo>
                    <a:pt x="2280" y="1163"/>
                    <a:pt x="2283" y="1161"/>
                    <a:pt x="2287" y="1159"/>
                  </a:cubicBezTo>
                  <a:cubicBezTo>
                    <a:pt x="2285" y="1156"/>
                    <a:pt x="2285" y="1156"/>
                    <a:pt x="2285" y="1156"/>
                  </a:cubicBezTo>
                  <a:cubicBezTo>
                    <a:pt x="2281" y="1158"/>
                    <a:pt x="2278" y="1160"/>
                    <a:pt x="2274" y="1162"/>
                  </a:cubicBezTo>
                  <a:cubicBezTo>
                    <a:pt x="2276" y="1165"/>
                    <a:pt x="2276" y="1165"/>
                    <a:pt x="2276" y="1165"/>
                  </a:cubicBezTo>
                  <a:moveTo>
                    <a:pt x="2257" y="1173"/>
                  </a:moveTo>
                  <a:cubicBezTo>
                    <a:pt x="2261" y="1171"/>
                    <a:pt x="2265" y="1170"/>
                    <a:pt x="2269" y="1169"/>
                  </a:cubicBezTo>
                  <a:cubicBezTo>
                    <a:pt x="2267" y="1165"/>
                    <a:pt x="2267" y="1165"/>
                    <a:pt x="2267" y="1165"/>
                  </a:cubicBezTo>
                  <a:cubicBezTo>
                    <a:pt x="2263" y="1166"/>
                    <a:pt x="2260" y="1168"/>
                    <a:pt x="2256" y="1169"/>
                  </a:cubicBezTo>
                  <a:cubicBezTo>
                    <a:pt x="2257" y="1173"/>
                    <a:pt x="2257" y="1173"/>
                    <a:pt x="2257" y="1173"/>
                  </a:cubicBezTo>
                  <a:moveTo>
                    <a:pt x="2237" y="1177"/>
                  </a:moveTo>
                  <a:cubicBezTo>
                    <a:pt x="2241" y="1176"/>
                    <a:pt x="2245" y="1176"/>
                    <a:pt x="2249" y="1175"/>
                  </a:cubicBezTo>
                  <a:cubicBezTo>
                    <a:pt x="2248" y="1171"/>
                    <a:pt x="2248" y="1171"/>
                    <a:pt x="2248" y="1171"/>
                  </a:cubicBezTo>
                  <a:cubicBezTo>
                    <a:pt x="2245" y="1172"/>
                    <a:pt x="2241" y="1172"/>
                    <a:pt x="2237" y="1173"/>
                  </a:cubicBezTo>
                  <a:cubicBezTo>
                    <a:pt x="2237" y="1177"/>
                    <a:pt x="2237" y="1177"/>
                    <a:pt x="2237" y="1177"/>
                  </a:cubicBezTo>
                  <a:moveTo>
                    <a:pt x="2217" y="1178"/>
                  </a:moveTo>
                  <a:cubicBezTo>
                    <a:pt x="2221" y="1178"/>
                    <a:pt x="2221" y="1178"/>
                    <a:pt x="2221" y="1178"/>
                  </a:cubicBezTo>
                  <a:cubicBezTo>
                    <a:pt x="2224" y="1178"/>
                    <a:pt x="2227" y="1178"/>
                    <a:pt x="2229" y="1178"/>
                  </a:cubicBezTo>
                  <a:cubicBezTo>
                    <a:pt x="2229" y="1174"/>
                    <a:pt x="2229" y="1174"/>
                    <a:pt x="2229" y="1174"/>
                  </a:cubicBezTo>
                  <a:cubicBezTo>
                    <a:pt x="2226" y="1174"/>
                    <a:pt x="2224" y="1174"/>
                    <a:pt x="2221" y="1174"/>
                  </a:cubicBezTo>
                  <a:cubicBezTo>
                    <a:pt x="2217" y="1174"/>
                    <a:pt x="2217" y="1174"/>
                    <a:pt x="2217" y="1174"/>
                  </a:cubicBezTo>
                  <a:cubicBezTo>
                    <a:pt x="2217" y="1178"/>
                    <a:pt x="2217" y="1178"/>
                    <a:pt x="2217" y="1178"/>
                  </a:cubicBezTo>
                  <a:moveTo>
                    <a:pt x="2197" y="1178"/>
                  </a:moveTo>
                  <a:cubicBezTo>
                    <a:pt x="2209" y="1178"/>
                    <a:pt x="2209" y="1178"/>
                    <a:pt x="2209" y="1178"/>
                  </a:cubicBezTo>
                  <a:cubicBezTo>
                    <a:pt x="2209" y="1174"/>
                    <a:pt x="2209" y="1174"/>
                    <a:pt x="2209" y="1174"/>
                  </a:cubicBezTo>
                  <a:cubicBezTo>
                    <a:pt x="2197" y="1174"/>
                    <a:pt x="2197" y="1174"/>
                    <a:pt x="2197" y="1174"/>
                  </a:cubicBezTo>
                  <a:cubicBezTo>
                    <a:pt x="2197" y="1178"/>
                    <a:pt x="2197" y="1178"/>
                    <a:pt x="2197" y="1178"/>
                  </a:cubicBezTo>
                  <a:moveTo>
                    <a:pt x="2177" y="1178"/>
                  </a:moveTo>
                  <a:cubicBezTo>
                    <a:pt x="2189" y="1178"/>
                    <a:pt x="2189" y="1178"/>
                    <a:pt x="2189" y="1178"/>
                  </a:cubicBezTo>
                  <a:cubicBezTo>
                    <a:pt x="2189" y="1174"/>
                    <a:pt x="2189" y="1174"/>
                    <a:pt x="2189" y="1174"/>
                  </a:cubicBezTo>
                  <a:cubicBezTo>
                    <a:pt x="2177" y="1174"/>
                    <a:pt x="2177" y="1174"/>
                    <a:pt x="2177" y="1174"/>
                  </a:cubicBezTo>
                  <a:cubicBezTo>
                    <a:pt x="2177" y="1178"/>
                    <a:pt x="2177" y="1178"/>
                    <a:pt x="2177" y="1178"/>
                  </a:cubicBezTo>
                  <a:moveTo>
                    <a:pt x="2157" y="1178"/>
                  </a:moveTo>
                  <a:cubicBezTo>
                    <a:pt x="2169" y="1178"/>
                    <a:pt x="2169" y="1178"/>
                    <a:pt x="2169" y="1178"/>
                  </a:cubicBezTo>
                  <a:cubicBezTo>
                    <a:pt x="2169" y="1174"/>
                    <a:pt x="2169" y="1174"/>
                    <a:pt x="2169" y="1174"/>
                  </a:cubicBezTo>
                  <a:cubicBezTo>
                    <a:pt x="2157" y="1174"/>
                    <a:pt x="2157" y="1174"/>
                    <a:pt x="2157" y="1174"/>
                  </a:cubicBezTo>
                  <a:cubicBezTo>
                    <a:pt x="2157" y="1178"/>
                    <a:pt x="2157" y="1178"/>
                    <a:pt x="2157" y="1178"/>
                  </a:cubicBezTo>
                  <a:moveTo>
                    <a:pt x="2137" y="1178"/>
                  </a:moveTo>
                  <a:cubicBezTo>
                    <a:pt x="2149" y="1178"/>
                    <a:pt x="2149" y="1178"/>
                    <a:pt x="2149" y="1178"/>
                  </a:cubicBezTo>
                  <a:cubicBezTo>
                    <a:pt x="2149" y="1174"/>
                    <a:pt x="2149" y="1174"/>
                    <a:pt x="2149" y="1174"/>
                  </a:cubicBezTo>
                  <a:cubicBezTo>
                    <a:pt x="2137" y="1174"/>
                    <a:pt x="2137" y="1174"/>
                    <a:pt x="2137" y="1174"/>
                  </a:cubicBezTo>
                  <a:cubicBezTo>
                    <a:pt x="2137" y="1178"/>
                    <a:pt x="2137" y="1178"/>
                    <a:pt x="2137" y="1178"/>
                  </a:cubicBezTo>
                  <a:moveTo>
                    <a:pt x="2117" y="1178"/>
                  </a:moveTo>
                  <a:cubicBezTo>
                    <a:pt x="2129" y="1178"/>
                    <a:pt x="2129" y="1178"/>
                    <a:pt x="2129" y="1178"/>
                  </a:cubicBezTo>
                  <a:cubicBezTo>
                    <a:pt x="2129" y="1174"/>
                    <a:pt x="2129" y="1174"/>
                    <a:pt x="2129" y="1174"/>
                  </a:cubicBezTo>
                  <a:cubicBezTo>
                    <a:pt x="2117" y="1174"/>
                    <a:pt x="2117" y="1174"/>
                    <a:pt x="2117" y="1174"/>
                  </a:cubicBezTo>
                  <a:cubicBezTo>
                    <a:pt x="2117" y="1178"/>
                    <a:pt x="2117" y="1178"/>
                    <a:pt x="2117" y="1178"/>
                  </a:cubicBezTo>
                  <a:moveTo>
                    <a:pt x="2097" y="1178"/>
                  </a:moveTo>
                  <a:cubicBezTo>
                    <a:pt x="2109" y="1178"/>
                    <a:pt x="2109" y="1178"/>
                    <a:pt x="2109" y="1178"/>
                  </a:cubicBezTo>
                  <a:cubicBezTo>
                    <a:pt x="2109" y="1174"/>
                    <a:pt x="2109" y="1174"/>
                    <a:pt x="2109" y="1174"/>
                  </a:cubicBezTo>
                  <a:cubicBezTo>
                    <a:pt x="2097" y="1174"/>
                    <a:pt x="2097" y="1174"/>
                    <a:pt x="2097" y="1174"/>
                  </a:cubicBezTo>
                  <a:cubicBezTo>
                    <a:pt x="2097" y="1178"/>
                    <a:pt x="2097" y="1178"/>
                    <a:pt x="2097" y="1178"/>
                  </a:cubicBezTo>
                  <a:moveTo>
                    <a:pt x="2077" y="1178"/>
                  </a:moveTo>
                  <a:cubicBezTo>
                    <a:pt x="2089" y="1178"/>
                    <a:pt x="2089" y="1178"/>
                    <a:pt x="2089" y="1178"/>
                  </a:cubicBezTo>
                  <a:cubicBezTo>
                    <a:pt x="2089" y="1174"/>
                    <a:pt x="2089" y="1174"/>
                    <a:pt x="2089" y="1174"/>
                  </a:cubicBezTo>
                  <a:cubicBezTo>
                    <a:pt x="2077" y="1174"/>
                    <a:pt x="2077" y="1174"/>
                    <a:pt x="2077" y="1174"/>
                  </a:cubicBezTo>
                  <a:cubicBezTo>
                    <a:pt x="2077" y="1178"/>
                    <a:pt x="2077" y="1178"/>
                    <a:pt x="2077" y="1178"/>
                  </a:cubicBezTo>
                  <a:moveTo>
                    <a:pt x="2057" y="1178"/>
                  </a:moveTo>
                  <a:cubicBezTo>
                    <a:pt x="2069" y="1178"/>
                    <a:pt x="2069" y="1178"/>
                    <a:pt x="2069" y="1178"/>
                  </a:cubicBezTo>
                  <a:cubicBezTo>
                    <a:pt x="2069" y="1174"/>
                    <a:pt x="2069" y="1174"/>
                    <a:pt x="2069" y="1174"/>
                  </a:cubicBezTo>
                  <a:cubicBezTo>
                    <a:pt x="2057" y="1174"/>
                    <a:pt x="2057" y="1174"/>
                    <a:pt x="2057" y="1174"/>
                  </a:cubicBezTo>
                  <a:cubicBezTo>
                    <a:pt x="2057" y="1178"/>
                    <a:pt x="2057" y="1178"/>
                    <a:pt x="2057" y="1178"/>
                  </a:cubicBezTo>
                  <a:moveTo>
                    <a:pt x="2037" y="1178"/>
                  </a:moveTo>
                  <a:cubicBezTo>
                    <a:pt x="2049" y="1178"/>
                    <a:pt x="2049" y="1178"/>
                    <a:pt x="2049" y="1178"/>
                  </a:cubicBezTo>
                  <a:cubicBezTo>
                    <a:pt x="2049" y="1174"/>
                    <a:pt x="2049" y="1174"/>
                    <a:pt x="2049" y="1174"/>
                  </a:cubicBezTo>
                  <a:cubicBezTo>
                    <a:pt x="2037" y="1174"/>
                    <a:pt x="2037" y="1174"/>
                    <a:pt x="2037" y="1174"/>
                  </a:cubicBezTo>
                  <a:cubicBezTo>
                    <a:pt x="2037" y="1178"/>
                    <a:pt x="2037" y="1178"/>
                    <a:pt x="2037" y="1178"/>
                  </a:cubicBezTo>
                  <a:moveTo>
                    <a:pt x="2017" y="1178"/>
                  </a:moveTo>
                  <a:cubicBezTo>
                    <a:pt x="2029" y="1178"/>
                    <a:pt x="2029" y="1178"/>
                    <a:pt x="2029" y="1178"/>
                  </a:cubicBezTo>
                  <a:cubicBezTo>
                    <a:pt x="2029" y="1174"/>
                    <a:pt x="2029" y="1174"/>
                    <a:pt x="2029" y="1174"/>
                  </a:cubicBezTo>
                  <a:cubicBezTo>
                    <a:pt x="2017" y="1174"/>
                    <a:pt x="2017" y="1174"/>
                    <a:pt x="2017" y="1174"/>
                  </a:cubicBezTo>
                  <a:cubicBezTo>
                    <a:pt x="2017" y="1178"/>
                    <a:pt x="2017" y="1178"/>
                    <a:pt x="2017" y="1178"/>
                  </a:cubicBezTo>
                  <a:moveTo>
                    <a:pt x="1997" y="1178"/>
                  </a:moveTo>
                  <a:cubicBezTo>
                    <a:pt x="2009" y="1178"/>
                    <a:pt x="2009" y="1178"/>
                    <a:pt x="2009" y="1178"/>
                  </a:cubicBezTo>
                  <a:cubicBezTo>
                    <a:pt x="2009" y="1174"/>
                    <a:pt x="2009" y="1174"/>
                    <a:pt x="2009" y="1174"/>
                  </a:cubicBezTo>
                  <a:cubicBezTo>
                    <a:pt x="1997" y="1174"/>
                    <a:pt x="1997" y="1174"/>
                    <a:pt x="1997" y="1174"/>
                  </a:cubicBezTo>
                  <a:cubicBezTo>
                    <a:pt x="1997" y="1178"/>
                    <a:pt x="1997" y="1178"/>
                    <a:pt x="1997" y="1178"/>
                  </a:cubicBezTo>
                  <a:moveTo>
                    <a:pt x="1977" y="1178"/>
                  </a:moveTo>
                  <a:cubicBezTo>
                    <a:pt x="1989" y="1178"/>
                    <a:pt x="1989" y="1178"/>
                    <a:pt x="1989" y="1178"/>
                  </a:cubicBezTo>
                  <a:cubicBezTo>
                    <a:pt x="1989" y="1174"/>
                    <a:pt x="1989" y="1174"/>
                    <a:pt x="1989" y="1174"/>
                  </a:cubicBezTo>
                  <a:cubicBezTo>
                    <a:pt x="1977" y="1174"/>
                    <a:pt x="1977" y="1174"/>
                    <a:pt x="1977" y="1174"/>
                  </a:cubicBezTo>
                  <a:cubicBezTo>
                    <a:pt x="1977" y="1178"/>
                    <a:pt x="1977" y="1178"/>
                    <a:pt x="1977" y="1178"/>
                  </a:cubicBezTo>
                  <a:moveTo>
                    <a:pt x="1957" y="1178"/>
                  </a:moveTo>
                  <a:cubicBezTo>
                    <a:pt x="1969" y="1178"/>
                    <a:pt x="1969" y="1178"/>
                    <a:pt x="1969" y="1178"/>
                  </a:cubicBezTo>
                  <a:cubicBezTo>
                    <a:pt x="1969" y="1174"/>
                    <a:pt x="1969" y="1174"/>
                    <a:pt x="1969" y="1174"/>
                  </a:cubicBezTo>
                  <a:cubicBezTo>
                    <a:pt x="1957" y="1174"/>
                    <a:pt x="1957" y="1174"/>
                    <a:pt x="1957" y="1174"/>
                  </a:cubicBezTo>
                  <a:cubicBezTo>
                    <a:pt x="1957" y="1178"/>
                    <a:pt x="1957" y="1178"/>
                    <a:pt x="1957" y="1178"/>
                  </a:cubicBezTo>
                  <a:moveTo>
                    <a:pt x="1937" y="1178"/>
                  </a:moveTo>
                  <a:cubicBezTo>
                    <a:pt x="1949" y="1178"/>
                    <a:pt x="1949" y="1178"/>
                    <a:pt x="1949" y="1178"/>
                  </a:cubicBezTo>
                  <a:cubicBezTo>
                    <a:pt x="1949" y="1174"/>
                    <a:pt x="1949" y="1174"/>
                    <a:pt x="1949" y="1174"/>
                  </a:cubicBezTo>
                  <a:cubicBezTo>
                    <a:pt x="1937" y="1174"/>
                    <a:pt x="1937" y="1174"/>
                    <a:pt x="1937" y="1174"/>
                  </a:cubicBezTo>
                  <a:cubicBezTo>
                    <a:pt x="1937" y="1178"/>
                    <a:pt x="1937" y="1178"/>
                    <a:pt x="1937" y="1178"/>
                  </a:cubicBezTo>
                  <a:moveTo>
                    <a:pt x="1917" y="1178"/>
                  </a:moveTo>
                  <a:cubicBezTo>
                    <a:pt x="1929" y="1178"/>
                    <a:pt x="1929" y="1178"/>
                    <a:pt x="1929" y="1178"/>
                  </a:cubicBezTo>
                  <a:cubicBezTo>
                    <a:pt x="1929" y="1174"/>
                    <a:pt x="1929" y="1174"/>
                    <a:pt x="1929" y="1174"/>
                  </a:cubicBezTo>
                  <a:cubicBezTo>
                    <a:pt x="1917" y="1174"/>
                    <a:pt x="1917" y="1174"/>
                    <a:pt x="1917" y="1174"/>
                  </a:cubicBezTo>
                  <a:cubicBezTo>
                    <a:pt x="1917" y="1178"/>
                    <a:pt x="1917" y="1178"/>
                    <a:pt x="1917" y="1178"/>
                  </a:cubicBezTo>
                  <a:moveTo>
                    <a:pt x="1897" y="1178"/>
                  </a:moveTo>
                  <a:cubicBezTo>
                    <a:pt x="1909" y="1178"/>
                    <a:pt x="1909" y="1178"/>
                    <a:pt x="1909" y="1178"/>
                  </a:cubicBezTo>
                  <a:cubicBezTo>
                    <a:pt x="1909" y="1174"/>
                    <a:pt x="1909" y="1174"/>
                    <a:pt x="1909" y="1174"/>
                  </a:cubicBezTo>
                  <a:cubicBezTo>
                    <a:pt x="1897" y="1174"/>
                    <a:pt x="1897" y="1174"/>
                    <a:pt x="1897" y="1174"/>
                  </a:cubicBezTo>
                  <a:cubicBezTo>
                    <a:pt x="1897" y="1178"/>
                    <a:pt x="1897" y="1178"/>
                    <a:pt x="1897" y="1178"/>
                  </a:cubicBezTo>
                  <a:moveTo>
                    <a:pt x="1877" y="1178"/>
                  </a:moveTo>
                  <a:cubicBezTo>
                    <a:pt x="1889" y="1178"/>
                    <a:pt x="1889" y="1178"/>
                    <a:pt x="1889" y="1178"/>
                  </a:cubicBezTo>
                  <a:cubicBezTo>
                    <a:pt x="1889" y="1174"/>
                    <a:pt x="1889" y="1174"/>
                    <a:pt x="1889" y="1174"/>
                  </a:cubicBezTo>
                  <a:cubicBezTo>
                    <a:pt x="1877" y="1174"/>
                    <a:pt x="1877" y="1174"/>
                    <a:pt x="1877" y="1174"/>
                  </a:cubicBezTo>
                  <a:cubicBezTo>
                    <a:pt x="1877" y="1178"/>
                    <a:pt x="1877" y="1178"/>
                    <a:pt x="1877" y="1178"/>
                  </a:cubicBezTo>
                  <a:moveTo>
                    <a:pt x="1857" y="1178"/>
                  </a:moveTo>
                  <a:cubicBezTo>
                    <a:pt x="1869" y="1178"/>
                    <a:pt x="1869" y="1178"/>
                    <a:pt x="1869" y="1178"/>
                  </a:cubicBezTo>
                  <a:cubicBezTo>
                    <a:pt x="1869" y="1174"/>
                    <a:pt x="1869" y="1174"/>
                    <a:pt x="1869" y="1174"/>
                  </a:cubicBezTo>
                  <a:cubicBezTo>
                    <a:pt x="1857" y="1174"/>
                    <a:pt x="1857" y="1174"/>
                    <a:pt x="1857" y="1174"/>
                  </a:cubicBezTo>
                  <a:cubicBezTo>
                    <a:pt x="1857" y="1178"/>
                    <a:pt x="1857" y="1178"/>
                    <a:pt x="1857" y="1178"/>
                  </a:cubicBezTo>
                  <a:moveTo>
                    <a:pt x="1837" y="1178"/>
                  </a:moveTo>
                  <a:cubicBezTo>
                    <a:pt x="1849" y="1178"/>
                    <a:pt x="1849" y="1178"/>
                    <a:pt x="1849" y="1178"/>
                  </a:cubicBezTo>
                  <a:cubicBezTo>
                    <a:pt x="1849" y="1174"/>
                    <a:pt x="1849" y="1174"/>
                    <a:pt x="1849" y="1174"/>
                  </a:cubicBezTo>
                  <a:cubicBezTo>
                    <a:pt x="1837" y="1174"/>
                    <a:pt x="1837" y="1174"/>
                    <a:pt x="1837" y="1174"/>
                  </a:cubicBezTo>
                  <a:cubicBezTo>
                    <a:pt x="1837" y="1178"/>
                    <a:pt x="1837" y="1178"/>
                    <a:pt x="1837" y="1178"/>
                  </a:cubicBezTo>
                  <a:moveTo>
                    <a:pt x="1817" y="1178"/>
                  </a:moveTo>
                  <a:cubicBezTo>
                    <a:pt x="1829" y="1178"/>
                    <a:pt x="1829" y="1178"/>
                    <a:pt x="1829" y="1178"/>
                  </a:cubicBezTo>
                  <a:cubicBezTo>
                    <a:pt x="1829" y="1174"/>
                    <a:pt x="1829" y="1174"/>
                    <a:pt x="1829" y="1174"/>
                  </a:cubicBezTo>
                  <a:cubicBezTo>
                    <a:pt x="1817" y="1174"/>
                    <a:pt x="1817" y="1174"/>
                    <a:pt x="1817" y="1174"/>
                  </a:cubicBezTo>
                  <a:cubicBezTo>
                    <a:pt x="1817" y="1178"/>
                    <a:pt x="1817" y="1178"/>
                    <a:pt x="1817" y="1178"/>
                  </a:cubicBezTo>
                  <a:moveTo>
                    <a:pt x="1797" y="1178"/>
                  </a:moveTo>
                  <a:cubicBezTo>
                    <a:pt x="1809" y="1178"/>
                    <a:pt x="1809" y="1178"/>
                    <a:pt x="1809" y="1178"/>
                  </a:cubicBezTo>
                  <a:cubicBezTo>
                    <a:pt x="1809" y="1174"/>
                    <a:pt x="1809" y="1174"/>
                    <a:pt x="1809" y="1174"/>
                  </a:cubicBezTo>
                  <a:cubicBezTo>
                    <a:pt x="1797" y="1174"/>
                    <a:pt x="1797" y="1174"/>
                    <a:pt x="1797" y="1174"/>
                  </a:cubicBezTo>
                  <a:cubicBezTo>
                    <a:pt x="1797" y="1178"/>
                    <a:pt x="1797" y="1178"/>
                    <a:pt x="1797" y="1178"/>
                  </a:cubicBezTo>
                  <a:moveTo>
                    <a:pt x="1777" y="1178"/>
                  </a:moveTo>
                  <a:cubicBezTo>
                    <a:pt x="1789" y="1178"/>
                    <a:pt x="1789" y="1178"/>
                    <a:pt x="1789" y="1178"/>
                  </a:cubicBezTo>
                  <a:cubicBezTo>
                    <a:pt x="1789" y="1174"/>
                    <a:pt x="1789" y="1174"/>
                    <a:pt x="1789" y="1174"/>
                  </a:cubicBezTo>
                  <a:cubicBezTo>
                    <a:pt x="1777" y="1174"/>
                    <a:pt x="1777" y="1174"/>
                    <a:pt x="1777" y="1174"/>
                  </a:cubicBezTo>
                  <a:cubicBezTo>
                    <a:pt x="1777" y="1178"/>
                    <a:pt x="1777" y="1178"/>
                    <a:pt x="1777" y="1178"/>
                  </a:cubicBezTo>
                  <a:moveTo>
                    <a:pt x="1757" y="1178"/>
                  </a:moveTo>
                  <a:cubicBezTo>
                    <a:pt x="1769" y="1178"/>
                    <a:pt x="1769" y="1178"/>
                    <a:pt x="1769" y="1178"/>
                  </a:cubicBezTo>
                  <a:cubicBezTo>
                    <a:pt x="1769" y="1174"/>
                    <a:pt x="1769" y="1174"/>
                    <a:pt x="1769" y="1174"/>
                  </a:cubicBezTo>
                  <a:cubicBezTo>
                    <a:pt x="1757" y="1174"/>
                    <a:pt x="1757" y="1174"/>
                    <a:pt x="1757" y="1174"/>
                  </a:cubicBezTo>
                  <a:cubicBezTo>
                    <a:pt x="1757" y="1178"/>
                    <a:pt x="1757" y="1178"/>
                    <a:pt x="1757" y="1178"/>
                  </a:cubicBezTo>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2" name="Oval 13"/>
            <p:cNvSpPr>
              <a:spLocks noChangeArrowheads="1"/>
            </p:cNvSpPr>
            <p:nvPr userDrawn="1"/>
          </p:nvSpPr>
          <p:spPr bwMode="auto">
            <a:xfrm>
              <a:off x="1047750" y="3549650"/>
              <a:ext cx="263525" cy="261938"/>
            </a:xfrm>
            <a:prstGeom prst="ellipse">
              <a:avLst/>
            </a:pr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3" name="Freeform 14"/>
            <p:cNvSpPr/>
            <p:nvPr userDrawn="1"/>
          </p:nvSpPr>
          <p:spPr bwMode="auto">
            <a:xfrm>
              <a:off x="1100138" y="3624263"/>
              <a:ext cx="160338" cy="120650"/>
            </a:xfrm>
            <a:custGeom>
              <a:avLst/>
              <a:gdLst>
                <a:gd name="T0" fmla="*/ 0 w 65"/>
                <a:gd name="T1" fmla="*/ 24 h 49"/>
                <a:gd name="T2" fmla="*/ 22 w 65"/>
                <a:gd name="T3" fmla="*/ 48 h 49"/>
                <a:gd name="T4" fmla="*/ 25 w 65"/>
                <a:gd name="T5" fmla="*/ 49 h 49"/>
                <a:gd name="T6" fmla="*/ 28 w 65"/>
                <a:gd name="T7" fmla="*/ 48 h 49"/>
                <a:gd name="T8" fmla="*/ 65 w 65"/>
                <a:gd name="T9" fmla="*/ 5 h 49"/>
                <a:gd name="T10" fmla="*/ 58 w 65"/>
                <a:gd name="T11" fmla="*/ 0 h 49"/>
                <a:gd name="T12" fmla="*/ 25 w 65"/>
                <a:gd name="T13" fmla="*/ 39 h 49"/>
                <a:gd name="T14" fmla="*/ 6 w 65"/>
                <a:gd name="T15" fmla="*/ 18 h 49"/>
                <a:gd name="T16" fmla="*/ 0 w 65"/>
                <a:gd name="T17" fmla="*/ 2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49">
                  <a:moveTo>
                    <a:pt x="0" y="24"/>
                  </a:moveTo>
                  <a:cubicBezTo>
                    <a:pt x="22" y="48"/>
                    <a:pt x="22" y="48"/>
                    <a:pt x="22" y="48"/>
                  </a:cubicBezTo>
                  <a:cubicBezTo>
                    <a:pt x="23" y="49"/>
                    <a:pt x="24" y="49"/>
                    <a:pt x="25" y="49"/>
                  </a:cubicBezTo>
                  <a:cubicBezTo>
                    <a:pt x="26" y="49"/>
                    <a:pt x="27" y="49"/>
                    <a:pt x="28" y="48"/>
                  </a:cubicBezTo>
                  <a:cubicBezTo>
                    <a:pt x="65" y="5"/>
                    <a:pt x="65" y="5"/>
                    <a:pt x="65" y="5"/>
                  </a:cubicBezTo>
                  <a:cubicBezTo>
                    <a:pt x="58" y="0"/>
                    <a:pt x="58" y="0"/>
                    <a:pt x="58" y="0"/>
                  </a:cubicBezTo>
                  <a:cubicBezTo>
                    <a:pt x="25" y="39"/>
                    <a:pt x="25" y="39"/>
                    <a:pt x="25" y="39"/>
                  </a:cubicBezTo>
                  <a:cubicBezTo>
                    <a:pt x="6" y="18"/>
                    <a:pt x="6" y="18"/>
                    <a:pt x="6" y="18"/>
                  </a:cubicBezTo>
                  <a:cubicBezTo>
                    <a:pt x="0" y="24"/>
                    <a:pt x="0" y="24"/>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4" name="Oval 15"/>
            <p:cNvSpPr>
              <a:spLocks noChangeArrowheads="1"/>
            </p:cNvSpPr>
            <p:nvPr userDrawn="1"/>
          </p:nvSpPr>
          <p:spPr bwMode="auto">
            <a:xfrm>
              <a:off x="6137275" y="2930525"/>
              <a:ext cx="261938" cy="261938"/>
            </a:xfrm>
            <a:prstGeom prst="ellipse">
              <a:avLst/>
            </a:pr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5" name="Freeform 16"/>
            <p:cNvSpPr/>
            <p:nvPr userDrawn="1"/>
          </p:nvSpPr>
          <p:spPr bwMode="auto">
            <a:xfrm>
              <a:off x="6208713" y="2994025"/>
              <a:ext cx="119063" cy="133350"/>
            </a:xfrm>
            <a:custGeom>
              <a:avLst/>
              <a:gdLst>
                <a:gd name="T0" fmla="*/ 9 w 75"/>
                <a:gd name="T1" fmla="*/ 84 h 84"/>
                <a:gd name="T2" fmla="*/ 75 w 75"/>
                <a:gd name="T3" fmla="*/ 10 h 84"/>
                <a:gd name="T4" fmla="*/ 66 w 75"/>
                <a:gd name="T5" fmla="*/ 0 h 84"/>
                <a:gd name="T6" fmla="*/ 0 w 75"/>
                <a:gd name="T7" fmla="*/ 77 h 84"/>
                <a:gd name="T8" fmla="*/ 9 w 75"/>
                <a:gd name="T9" fmla="*/ 84 h 84"/>
              </a:gdLst>
              <a:ahLst/>
              <a:cxnLst>
                <a:cxn ang="0">
                  <a:pos x="T0" y="T1"/>
                </a:cxn>
                <a:cxn ang="0">
                  <a:pos x="T2" y="T3"/>
                </a:cxn>
                <a:cxn ang="0">
                  <a:pos x="T4" y="T5"/>
                </a:cxn>
                <a:cxn ang="0">
                  <a:pos x="T6" y="T7"/>
                </a:cxn>
                <a:cxn ang="0">
                  <a:pos x="T8" y="T9"/>
                </a:cxn>
              </a:cxnLst>
              <a:rect l="0" t="0" r="r" b="b"/>
              <a:pathLst>
                <a:path w="75" h="84">
                  <a:moveTo>
                    <a:pt x="9" y="84"/>
                  </a:moveTo>
                  <a:lnTo>
                    <a:pt x="75" y="10"/>
                  </a:lnTo>
                  <a:lnTo>
                    <a:pt x="66" y="0"/>
                  </a:lnTo>
                  <a:lnTo>
                    <a:pt x="0" y="77"/>
                  </a:lnTo>
                  <a:lnTo>
                    <a:pt x="9" y="8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6" name="Freeform 17"/>
            <p:cNvSpPr/>
            <p:nvPr userDrawn="1"/>
          </p:nvSpPr>
          <p:spPr bwMode="auto">
            <a:xfrm>
              <a:off x="6208713" y="2994025"/>
              <a:ext cx="119063" cy="133350"/>
            </a:xfrm>
            <a:custGeom>
              <a:avLst/>
              <a:gdLst>
                <a:gd name="T0" fmla="*/ 9 w 75"/>
                <a:gd name="T1" fmla="*/ 84 h 84"/>
                <a:gd name="T2" fmla="*/ 75 w 75"/>
                <a:gd name="T3" fmla="*/ 10 h 84"/>
                <a:gd name="T4" fmla="*/ 66 w 75"/>
                <a:gd name="T5" fmla="*/ 0 h 84"/>
                <a:gd name="T6" fmla="*/ 0 w 75"/>
                <a:gd name="T7" fmla="*/ 77 h 84"/>
              </a:gdLst>
              <a:ahLst/>
              <a:cxnLst>
                <a:cxn ang="0">
                  <a:pos x="T0" y="T1"/>
                </a:cxn>
                <a:cxn ang="0">
                  <a:pos x="T2" y="T3"/>
                </a:cxn>
                <a:cxn ang="0">
                  <a:pos x="T4" y="T5"/>
                </a:cxn>
                <a:cxn ang="0">
                  <a:pos x="T6" y="T7"/>
                </a:cxn>
              </a:cxnLst>
              <a:rect l="0" t="0" r="r" b="b"/>
              <a:pathLst>
                <a:path w="75" h="84">
                  <a:moveTo>
                    <a:pt x="9" y="84"/>
                  </a:moveTo>
                  <a:lnTo>
                    <a:pt x="75" y="10"/>
                  </a:lnTo>
                  <a:lnTo>
                    <a:pt x="66" y="0"/>
                  </a:lnTo>
                  <a:lnTo>
                    <a:pt x="0" y="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7" name="Freeform 18"/>
            <p:cNvSpPr/>
            <p:nvPr userDrawn="1"/>
          </p:nvSpPr>
          <p:spPr bwMode="auto">
            <a:xfrm>
              <a:off x="6200775" y="3001963"/>
              <a:ext cx="134938" cy="119063"/>
            </a:xfrm>
            <a:custGeom>
              <a:avLst/>
              <a:gdLst>
                <a:gd name="T0" fmla="*/ 0 w 85"/>
                <a:gd name="T1" fmla="*/ 9 h 75"/>
                <a:gd name="T2" fmla="*/ 77 w 85"/>
                <a:gd name="T3" fmla="*/ 75 h 75"/>
                <a:gd name="T4" fmla="*/ 85 w 85"/>
                <a:gd name="T5" fmla="*/ 65 h 75"/>
                <a:gd name="T6" fmla="*/ 8 w 85"/>
                <a:gd name="T7" fmla="*/ 0 h 75"/>
                <a:gd name="T8" fmla="*/ 0 w 85"/>
                <a:gd name="T9" fmla="*/ 9 h 75"/>
              </a:gdLst>
              <a:ahLst/>
              <a:cxnLst>
                <a:cxn ang="0">
                  <a:pos x="T0" y="T1"/>
                </a:cxn>
                <a:cxn ang="0">
                  <a:pos x="T2" y="T3"/>
                </a:cxn>
                <a:cxn ang="0">
                  <a:pos x="T4" y="T5"/>
                </a:cxn>
                <a:cxn ang="0">
                  <a:pos x="T6" y="T7"/>
                </a:cxn>
                <a:cxn ang="0">
                  <a:pos x="T8" y="T9"/>
                </a:cxn>
              </a:cxnLst>
              <a:rect l="0" t="0" r="r" b="b"/>
              <a:pathLst>
                <a:path w="85" h="75">
                  <a:moveTo>
                    <a:pt x="0" y="9"/>
                  </a:moveTo>
                  <a:lnTo>
                    <a:pt x="77" y="75"/>
                  </a:lnTo>
                  <a:lnTo>
                    <a:pt x="85" y="65"/>
                  </a:lnTo>
                  <a:lnTo>
                    <a:pt x="8"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8" name="Freeform 19"/>
            <p:cNvSpPr/>
            <p:nvPr userDrawn="1"/>
          </p:nvSpPr>
          <p:spPr bwMode="auto">
            <a:xfrm>
              <a:off x="6200775" y="3001963"/>
              <a:ext cx="134938" cy="119063"/>
            </a:xfrm>
            <a:custGeom>
              <a:avLst/>
              <a:gdLst>
                <a:gd name="T0" fmla="*/ 0 w 85"/>
                <a:gd name="T1" fmla="*/ 9 h 75"/>
                <a:gd name="T2" fmla="*/ 77 w 85"/>
                <a:gd name="T3" fmla="*/ 75 h 75"/>
                <a:gd name="T4" fmla="*/ 85 w 85"/>
                <a:gd name="T5" fmla="*/ 65 h 75"/>
                <a:gd name="T6" fmla="*/ 8 w 85"/>
                <a:gd name="T7" fmla="*/ 0 h 75"/>
              </a:gdLst>
              <a:ahLst/>
              <a:cxnLst>
                <a:cxn ang="0">
                  <a:pos x="T0" y="T1"/>
                </a:cxn>
                <a:cxn ang="0">
                  <a:pos x="T2" y="T3"/>
                </a:cxn>
                <a:cxn ang="0">
                  <a:pos x="T4" y="T5"/>
                </a:cxn>
                <a:cxn ang="0">
                  <a:pos x="T6" y="T7"/>
                </a:cxn>
              </a:cxnLst>
              <a:rect l="0" t="0" r="r" b="b"/>
              <a:pathLst>
                <a:path w="85" h="75">
                  <a:moveTo>
                    <a:pt x="0" y="9"/>
                  </a:moveTo>
                  <a:lnTo>
                    <a:pt x="77" y="75"/>
                  </a:lnTo>
                  <a:lnTo>
                    <a:pt x="85" y="65"/>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9" name="Freeform 20"/>
            <p:cNvSpPr/>
            <p:nvPr userDrawn="1"/>
          </p:nvSpPr>
          <p:spPr bwMode="auto">
            <a:xfrm>
              <a:off x="6416675" y="3294063"/>
              <a:ext cx="506413" cy="504825"/>
            </a:xfrm>
            <a:custGeom>
              <a:avLst/>
              <a:gdLst>
                <a:gd name="T0" fmla="*/ 184 w 204"/>
                <a:gd name="T1" fmla="*/ 204 h 204"/>
                <a:gd name="T2" fmla="*/ 19 w 204"/>
                <a:gd name="T3" fmla="*/ 204 h 204"/>
                <a:gd name="T4" fmla="*/ 0 w 204"/>
                <a:gd name="T5" fmla="*/ 185 h 204"/>
                <a:gd name="T6" fmla="*/ 0 w 204"/>
                <a:gd name="T7" fmla="*/ 20 h 204"/>
                <a:gd name="T8" fmla="*/ 19 w 204"/>
                <a:gd name="T9" fmla="*/ 0 h 204"/>
                <a:gd name="T10" fmla="*/ 184 w 204"/>
                <a:gd name="T11" fmla="*/ 0 h 204"/>
                <a:gd name="T12" fmla="*/ 204 w 204"/>
                <a:gd name="T13" fmla="*/ 20 h 204"/>
                <a:gd name="T14" fmla="*/ 204 w 204"/>
                <a:gd name="T15" fmla="*/ 185 h 204"/>
                <a:gd name="T16" fmla="*/ 184 w 204"/>
                <a:gd name="T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204">
                  <a:moveTo>
                    <a:pt x="184" y="204"/>
                  </a:moveTo>
                  <a:cubicBezTo>
                    <a:pt x="19" y="204"/>
                    <a:pt x="19" y="204"/>
                    <a:pt x="19" y="204"/>
                  </a:cubicBezTo>
                  <a:cubicBezTo>
                    <a:pt x="8" y="204"/>
                    <a:pt x="0" y="196"/>
                    <a:pt x="0" y="185"/>
                  </a:cubicBezTo>
                  <a:cubicBezTo>
                    <a:pt x="0" y="20"/>
                    <a:pt x="0" y="20"/>
                    <a:pt x="0" y="20"/>
                  </a:cubicBezTo>
                  <a:cubicBezTo>
                    <a:pt x="0" y="9"/>
                    <a:pt x="8" y="0"/>
                    <a:pt x="19" y="0"/>
                  </a:cubicBezTo>
                  <a:cubicBezTo>
                    <a:pt x="184" y="0"/>
                    <a:pt x="184" y="0"/>
                    <a:pt x="184" y="0"/>
                  </a:cubicBezTo>
                  <a:cubicBezTo>
                    <a:pt x="195" y="0"/>
                    <a:pt x="204" y="9"/>
                    <a:pt x="204" y="20"/>
                  </a:cubicBezTo>
                  <a:cubicBezTo>
                    <a:pt x="204" y="185"/>
                    <a:pt x="204" y="185"/>
                    <a:pt x="204" y="185"/>
                  </a:cubicBezTo>
                  <a:cubicBezTo>
                    <a:pt x="204" y="196"/>
                    <a:pt x="195" y="204"/>
                    <a:pt x="184" y="204"/>
                  </a:cubicBezTo>
                  <a:close/>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0" name="Freeform 21"/>
            <p:cNvSpPr/>
            <p:nvPr userDrawn="1"/>
          </p:nvSpPr>
          <p:spPr bwMode="auto">
            <a:xfrm>
              <a:off x="6500813" y="3440113"/>
              <a:ext cx="246063" cy="234950"/>
            </a:xfrm>
            <a:custGeom>
              <a:avLst/>
              <a:gdLst>
                <a:gd name="T0" fmla="*/ 77 w 155"/>
                <a:gd name="T1" fmla="*/ 0 h 148"/>
                <a:gd name="T2" fmla="*/ 0 w 155"/>
                <a:gd name="T3" fmla="*/ 148 h 148"/>
                <a:gd name="T4" fmla="*/ 155 w 155"/>
                <a:gd name="T5" fmla="*/ 148 h 148"/>
                <a:gd name="T6" fmla="*/ 77 w 155"/>
                <a:gd name="T7" fmla="*/ 0 h 148"/>
              </a:gdLst>
              <a:ahLst/>
              <a:cxnLst>
                <a:cxn ang="0">
                  <a:pos x="T0" y="T1"/>
                </a:cxn>
                <a:cxn ang="0">
                  <a:pos x="T2" y="T3"/>
                </a:cxn>
                <a:cxn ang="0">
                  <a:pos x="T4" y="T5"/>
                </a:cxn>
                <a:cxn ang="0">
                  <a:pos x="T6" y="T7"/>
                </a:cxn>
              </a:cxnLst>
              <a:rect l="0" t="0" r="r" b="b"/>
              <a:pathLst>
                <a:path w="155" h="148">
                  <a:moveTo>
                    <a:pt x="77" y="0"/>
                  </a:moveTo>
                  <a:lnTo>
                    <a:pt x="0" y="148"/>
                  </a:lnTo>
                  <a:lnTo>
                    <a:pt x="155" y="148"/>
                  </a:lnTo>
                  <a:lnTo>
                    <a:pt x="77"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1" name="Freeform 22"/>
            <p:cNvSpPr/>
            <p:nvPr userDrawn="1"/>
          </p:nvSpPr>
          <p:spPr bwMode="auto">
            <a:xfrm>
              <a:off x="6724650" y="3517900"/>
              <a:ext cx="111125" cy="157163"/>
            </a:xfrm>
            <a:custGeom>
              <a:avLst/>
              <a:gdLst>
                <a:gd name="T0" fmla="*/ 19 w 70"/>
                <a:gd name="T1" fmla="*/ 0 h 99"/>
                <a:gd name="T2" fmla="*/ 0 w 70"/>
                <a:gd name="T3" fmla="*/ 35 h 99"/>
                <a:gd name="T4" fmla="*/ 33 w 70"/>
                <a:gd name="T5" fmla="*/ 99 h 99"/>
                <a:gd name="T6" fmla="*/ 70 w 70"/>
                <a:gd name="T7" fmla="*/ 99 h 99"/>
                <a:gd name="T8" fmla="*/ 19 w 70"/>
                <a:gd name="T9" fmla="*/ 0 h 99"/>
              </a:gdLst>
              <a:ahLst/>
              <a:cxnLst>
                <a:cxn ang="0">
                  <a:pos x="T0" y="T1"/>
                </a:cxn>
                <a:cxn ang="0">
                  <a:pos x="T2" y="T3"/>
                </a:cxn>
                <a:cxn ang="0">
                  <a:pos x="T4" y="T5"/>
                </a:cxn>
                <a:cxn ang="0">
                  <a:pos x="T6" y="T7"/>
                </a:cxn>
                <a:cxn ang="0">
                  <a:pos x="T8" y="T9"/>
                </a:cxn>
              </a:cxnLst>
              <a:rect l="0" t="0" r="r" b="b"/>
              <a:pathLst>
                <a:path w="70" h="99">
                  <a:moveTo>
                    <a:pt x="19" y="0"/>
                  </a:moveTo>
                  <a:lnTo>
                    <a:pt x="0" y="35"/>
                  </a:lnTo>
                  <a:lnTo>
                    <a:pt x="33" y="99"/>
                  </a:lnTo>
                  <a:lnTo>
                    <a:pt x="70" y="99"/>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2" name="Oval 23"/>
            <p:cNvSpPr>
              <a:spLocks noChangeArrowheads="1"/>
            </p:cNvSpPr>
            <p:nvPr userDrawn="1"/>
          </p:nvSpPr>
          <p:spPr bwMode="auto">
            <a:xfrm>
              <a:off x="6769100" y="3448050"/>
              <a:ext cx="49213"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3" name="Freeform 26"/>
            <p:cNvSpPr/>
            <p:nvPr userDrawn="1"/>
          </p:nvSpPr>
          <p:spPr bwMode="auto">
            <a:xfrm>
              <a:off x="1095375" y="4067175"/>
              <a:ext cx="420688" cy="420688"/>
            </a:xfrm>
            <a:custGeom>
              <a:avLst/>
              <a:gdLst>
                <a:gd name="T0" fmla="*/ 154 w 170"/>
                <a:gd name="T1" fmla="*/ 170 h 170"/>
                <a:gd name="T2" fmla="*/ 16 w 170"/>
                <a:gd name="T3" fmla="*/ 170 h 170"/>
                <a:gd name="T4" fmla="*/ 0 w 170"/>
                <a:gd name="T5" fmla="*/ 154 h 170"/>
                <a:gd name="T6" fmla="*/ 0 w 170"/>
                <a:gd name="T7" fmla="*/ 17 h 170"/>
                <a:gd name="T8" fmla="*/ 16 w 170"/>
                <a:gd name="T9" fmla="*/ 0 h 170"/>
                <a:gd name="T10" fmla="*/ 154 w 170"/>
                <a:gd name="T11" fmla="*/ 0 h 170"/>
                <a:gd name="T12" fmla="*/ 170 w 170"/>
                <a:gd name="T13" fmla="*/ 17 h 170"/>
                <a:gd name="T14" fmla="*/ 170 w 170"/>
                <a:gd name="T15" fmla="*/ 154 h 170"/>
                <a:gd name="T16" fmla="*/ 154 w 170"/>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170">
                  <a:moveTo>
                    <a:pt x="154" y="170"/>
                  </a:moveTo>
                  <a:cubicBezTo>
                    <a:pt x="16" y="170"/>
                    <a:pt x="16" y="170"/>
                    <a:pt x="16" y="170"/>
                  </a:cubicBezTo>
                  <a:cubicBezTo>
                    <a:pt x="7" y="170"/>
                    <a:pt x="0" y="163"/>
                    <a:pt x="0" y="154"/>
                  </a:cubicBezTo>
                  <a:cubicBezTo>
                    <a:pt x="0" y="17"/>
                    <a:pt x="0" y="17"/>
                    <a:pt x="0" y="17"/>
                  </a:cubicBezTo>
                  <a:cubicBezTo>
                    <a:pt x="0" y="8"/>
                    <a:pt x="7" y="0"/>
                    <a:pt x="16" y="0"/>
                  </a:cubicBezTo>
                  <a:cubicBezTo>
                    <a:pt x="154" y="0"/>
                    <a:pt x="154" y="0"/>
                    <a:pt x="154" y="0"/>
                  </a:cubicBezTo>
                  <a:cubicBezTo>
                    <a:pt x="163" y="0"/>
                    <a:pt x="170" y="8"/>
                    <a:pt x="170" y="17"/>
                  </a:cubicBezTo>
                  <a:cubicBezTo>
                    <a:pt x="170" y="154"/>
                    <a:pt x="170" y="154"/>
                    <a:pt x="170" y="154"/>
                  </a:cubicBezTo>
                  <a:cubicBezTo>
                    <a:pt x="170" y="163"/>
                    <a:pt x="163" y="170"/>
                    <a:pt x="154" y="170"/>
                  </a:cubicBezTo>
                  <a:close/>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4" name="Freeform 27"/>
            <p:cNvSpPr/>
            <p:nvPr userDrawn="1"/>
          </p:nvSpPr>
          <p:spPr bwMode="auto">
            <a:xfrm>
              <a:off x="1187450" y="4149725"/>
              <a:ext cx="236538" cy="257175"/>
            </a:xfrm>
            <a:custGeom>
              <a:avLst/>
              <a:gdLst>
                <a:gd name="T0" fmla="*/ 149 w 149"/>
                <a:gd name="T1" fmla="*/ 93 h 162"/>
                <a:gd name="T2" fmla="*/ 75 w 149"/>
                <a:gd name="T3" fmla="*/ 0 h 162"/>
                <a:gd name="T4" fmla="*/ 0 w 149"/>
                <a:gd name="T5" fmla="*/ 93 h 162"/>
                <a:gd name="T6" fmla="*/ 42 w 149"/>
                <a:gd name="T7" fmla="*/ 93 h 162"/>
                <a:gd name="T8" fmla="*/ 42 w 149"/>
                <a:gd name="T9" fmla="*/ 162 h 162"/>
                <a:gd name="T10" fmla="*/ 107 w 149"/>
                <a:gd name="T11" fmla="*/ 162 h 162"/>
                <a:gd name="T12" fmla="*/ 107 w 149"/>
                <a:gd name="T13" fmla="*/ 93 h 162"/>
                <a:gd name="T14" fmla="*/ 149 w 149"/>
                <a:gd name="T15" fmla="*/ 93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62">
                  <a:moveTo>
                    <a:pt x="149" y="93"/>
                  </a:moveTo>
                  <a:lnTo>
                    <a:pt x="75" y="0"/>
                  </a:lnTo>
                  <a:lnTo>
                    <a:pt x="0" y="93"/>
                  </a:lnTo>
                  <a:lnTo>
                    <a:pt x="42" y="93"/>
                  </a:lnTo>
                  <a:lnTo>
                    <a:pt x="42" y="162"/>
                  </a:lnTo>
                  <a:lnTo>
                    <a:pt x="107" y="162"/>
                  </a:lnTo>
                  <a:lnTo>
                    <a:pt x="107" y="93"/>
                  </a:lnTo>
                  <a:lnTo>
                    <a:pt x="149" y="9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5" name="Oval 28"/>
            <p:cNvSpPr>
              <a:spLocks noChangeArrowheads="1"/>
            </p:cNvSpPr>
            <p:nvPr userDrawn="1"/>
          </p:nvSpPr>
          <p:spPr bwMode="auto">
            <a:xfrm>
              <a:off x="6743700" y="4216400"/>
              <a:ext cx="100013" cy="98425"/>
            </a:xfrm>
            <a:prstGeom prst="ellipse">
              <a:avLst/>
            </a:prstGeom>
            <a:solidFill>
              <a:srgbClr val="D7F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6" name="Oval 29"/>
            <p:cNvSpPr>
              <a:spLocks noChangeArrowheads="1"/>
            </p:cNvSpPr>
            <p:nvPr userDrawn="1"/>
          </p:nvSpPr>
          <p:spPr bwMode="auto">
            <a:xfrm>
              <a:off x="1285875" y="2608263"/>
              <a:ext cx="98425" cy="96838"/>
            </a:xfrm>
            <a:prstGeom prst="ellipse">
              <a:avLst/>
            </a:prstGeom>
            <a:solidFill>
              <a:srgbClr val="D7F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7" name="Rectangle 30"/>
            <p:cNvSpPr>
              <a:spLocks noChangeArrowheads="1"/>
            </p:cNvSpPr>
            <p:nvPr userDrawn="1"/>
          </p:nvSpPr>
          <p:spPr bwMode="auto">
            <a:xfrm>
              <a:off x="1127125" y="3962400"/>
              <a:ext cx="146050" cy="11113"/>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298" name="Freeform 31"/>
            <p:cNvSpPr/>
            <p:nvPr userDrawn="1"/>
          </p:nvSpPr>
          <p:spPr bwMode="auto">
            <a:xfrm>
              <a:off x="1127125" y="3962400"/>
              <a:ext cx="146050" cy="11113"/>
            </a:xfrm>
            <a:custGeom>
              <a:avLst/>
              <a:gdLst>
                <a:gd name="T0" fmla="*/ 0 w 92"/>
                <a:gd name="T1" fmla="*/ 7 h 7"/>
                <a:gd name="T2" fmla="*/ 92 w 92"/>
                <a:gd name="T3" fmla="*/ 7 h 7"/>
                <a:gd name="T4" fmla="*/ 92 w 92"/>
                <a:gd name="T5" fmla="*/ 0 h 7"/>
                <a:gd name="T6" fmla="*/ 0 w 92"/>
                <a:gd name="T7" fmla="*/ 0 h 7"/>
              </a:gdLst>
              <a:ahLst/>
              <a:cxnLst>
                <a:cxn ang="0">
                  <a:pos x="T0" y="T1"/>
                </a:cxn>
                <a:cxn ang="0">
                  <a:pos x="T2" y="T3"/>
                </a:cxn>
                <a:cxn ang="0">
                  <a:pos x="T4" y="T5"/>
                </a:cxn>
                <a:cxn ang="0">
                  <a:pos x="T6" y="T7"/>
                </a:cxn>
              </a:cxnLst>
              <a:rect l="0" t="0" r="r" b="b"/>
              <a:pathLst>
                <a:path w="92" h="7">
                  <a:moveTo>
                    <a:pt x="0" y="7"/>
                  </a:moveTo>
                  <a:lnTo>
                    <a:pt x="92" y="7"/>
                  </a:lnTo>
                  <a:lnTo>
                    <a:pt x="9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9" name="Rectangle 32"/>
            <p:cNvSpPr>
              <a:spLocks noChangeArrowheads="1"/>
            </p:cNvSpPr>
            <p:nvPr userDrawn="1"/>
          </p:nvSpPr>
          <p:spPr bwMode="auto">
            <a:xfrm>
              <a:off x="998538" y="3962400"/>
              <a:ext cx="79375" cy="11113"/>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00" name="Freeform 33"/>
            <p:cNvSpPr/>
            <p:nvPr userDrawn="1"/>
          </p:nvSpPr>
          <p:spPr bwMode="auto">
            <a:xfrm>
              <a:off x="998538" y="3962400"/>
              <a:ext cx="79375" cy="11113"/>
            </a:xfrm>
            <a:custGeom>
              <a:avLst/>
              <a:gdLst>
                <a:gd name="T0" fmla="*/ 0 w 50"/>
                <a:gd name="T1" fmla="*/ 7 h 7"/>
                <a:gd name="T2" fmla="*/ 50 w 50"/>
                <a:gd name="T3" fmla="*/ 7 h 7"/>
                <a:gd name="T4" fmla="*/ 50 w 50"/>
                <a:gd name="T5" fmla="*/ 0 h 7"/>
                <a:gd name="T6" fmla="*/ 0 w 50"/>
                <a:gd name="T7" fmla="*/ 0 h 7"/>
              </a:gdLst>
              <a:ahLst/>
              <a:cxnLst>
                <a:cxn ang="0">
                  <a:pos x="T0" y="T1"/>
                </a:cxn>
                <a:cxn ang="0">
                  <a:pos x="T2" y="T3"/>
                </a:cxn>
                <a:cxn ang="0">
                  <a:pos x="T4" y="T5"/>
                </a:cxn>
                <a:cxn ang="0">
                  <a:pos x="T6" y="T7"/>
                </a:cxn>
              </a:cxnLst>
              <a:rect l="0" t="0" r="r" b="b"/>
              <a:pathLst>
                <a:path w="50" h="7">
                  <a:moveTo>
                    <a:pt x="0" y="7"/>
                  </a:moveTo>
                  <a:lnTo>
                    <a:pt x="50" y="7"/>
                  </a:lnTo>
                  <a:lnTo>
                    <a:pt x="5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1" name="Rectangle 34"/>
            <p:cNvSpPr>
              <a:spLocks noChangeArrowheads="1"/>
            </p:cNvSpPr>
            <p:nvPr userDrawn="1"/>
          </p:nvSpPr>
          <p:spPr bwMode="auto">
            <a:xfrm>
              <a:off x="5295900" y="2414588"/>
              <a:ext cx="146050"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02" name="Freeform 35"/>
            <p:cNvSpPr/>
            <p:nvPr userDrawn="1"/>
          </p:nvSpPr>
          <p:spPr bwMode="auto">
            <a:xfrm>
              <a:off x="5295900" y="2414588"/>
              <a:ext cx="146050" cy="9525"/>
            </a:xfrm>
            <a:custGeom>
              <a:avLst/>
              <a:gdLst>
                <a:gd name="T0" fmla="*/ 0 w 92"/>
                <a:gd name="T1" fmla="*/ 6 h 6"/>
                <a:gd name="T2" fmla="*/ 92 w 92"/>
                <a:gd name="T3" fmla="*/ 6 h 6"/>
                <a:gd name="T4" fmla="*/ 92 w 92"/>
                <a:gd name="T5" fmla="*/ 0 h 6"/>
                <a:gd name="T6" fmla="*/ 0 w 92"/>
                <a:gd name="T7" fmla="*/ 0 h 6"/>
              </a:gdLst>
              <a:ahLst/>
              <a:cxnLst>
                <a:cxn ang="0">
                  <a:pos x="T0" y="T1"/>
                </a:cxn>
                <a:cxn ang="0">
                  <a:pos x="T2" y="T3"/>
                </a:cxn>
                <a:cxn ang="0">
                  <a:pos x="T4" y="T5"/>
                </a:cxn>
                <a:cxn ang="0">
                  <a:pos x="T6" y="T7"/>
                </a:cxn>
              </a:cxnLst>
              <a:rect l="0" t="0" r="r" b="b"/>
              <a:pathLst>
                <a:path w="92" h="6">
                  <a:moveTo>
                    <a:pt x="0" y="6"/>
                  </a:moveTo>
                  <a:lnTo>
                    <a:pt x="92" y="6"/>
                  </a:lnTo>
                  <a:lnTo>
                    <a:pt x="9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3" name="Rectangle 36"/>
            <p:cNvSpPr>
              <a:spLocks noChangeArrowheads="1"/>
            </p:cNvSpPr>
            <p:nvPr userDrawn="1"/>
          </p:nvSpPr>
          <p:spPr bwMode="auto">
            <a:xfrm>
              <a:off x="5100638" y="5653088"/>
              <a:ext cx="146050"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04" name="Freeform 37"/>
            <p:cNvSpPr/>
            <p:nvPr userDrawn="1"/>
          </p:nvSpPr>
          <p:spPr bwMode="auto">
            <a:xfrm>
              <a:off x="5100638" y="5653088"/>
              <a:ext cx="146050" cy="9525"/>
            </a:xfrm>
            <a:custGeom>
              <a:avLst/>
              <a:gdLst>
                <a:gd name="T0" fmla="*/ 0 w 92"/>
                <a:gd name="T1" fmla="*/ 6 h 6"/>
                <a:gd name="T2" fmla="*/ 92 w 92"/>
                <a:gd name="T3" fmla="*/ 6 h 6"/>
                <a:gd name="T4" fmla="*/ 92 w 92"/>
                <a:gd name="T5" fmla="*/ 0 h 6"/>
                <a:gd name="T6" fmla="*/ 0 w 92"/>
                <a:gd name="T7" fmla="*/ 0 h 6"/>
              </a:gdLst>
              <a:ahLst/>
              <a:cxnLst>
                <a:cxn ang="0">
                  <a:pos x="T0" y="T1"/>
                </a:cxn>
                <a:cxn ang="0">
                  <a:pos x="T2" y="T3"/>
                </a:cxn>
                <a:cxn ang="0">
                  <a:pos x="T4" y="T5"/>
                </a:cxn>
                <a:cxn ang="0">
                  <a:pos x="T6" y="T7"/>
                </a:cxn>
              </a:cxnLst>
              <a:rect l="0" t="0" r="r" b="b"/>
              <a:pathLst>
                <a:path w="92" h="6">
                  <a:moveTo>
                    <a:pt x="0" y="6"/>
                  </a:moveTo>
                  <a:lnTo>
                    <a:pt x="92" y="6"/>
                  </a:lnTo>
                  <a:lnTo>
                    <a:pt x="9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5" name="Rectangle 38"/>
            <p:cNvSpPr>
              <a:spLocks noChangeArrowheads="1"/>
            </p:cNvSpPr>
            <p:nvPr userDrawn="1"/>
          </p:nvSpPr>
          <p:spPr bwMode="auto">
            <a:xfrm>
              <a:off x="5168900" y="2414588"/>
              <a:ext cx="77788"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06" name="Freeform 39"/>
            <p:cNvSpPr/>
            <p:nvPr userDrawn="1"/>
          </p:nvSpPr>
          <p:spPr bwMode="auto">
            <a:xfrm>
              <a:off x="5168900" y="2414588"/>
              <a:ext cx="77788" cy="9525"/>
            </a:xfrm>
            <a:custGeom>
              <a:avLst/>
              <a:gdLst>
                <a:gd name="T0" fmla="*/ 0 w 49"/>
                <a:gd name="T1" fmla="*/ 6 h 6"/>
                <a:gd name="T2" fmla="*/ 49 w 49"/>
                <a:gd name="T3" fmla="*/ 6 h 6"/>
                <a:gd name="T4" fmla="*/ 49 w 49"/>
                <a:gd name="T5" fmla="*/ 0 h 6"/>
                <a:gd name="T6" fmla="*/ 0 w 49"/>
                <a:gd name="T7" fmla="*/ 0 h 6"/>
              </a:gdLst>
              <a:ahLst/>
              <a:cxnLst>
                <a:cxn ang="0">
                  <a:pos x="T0" y="T1"/>
                </a:cxn>
                <a:cxn ang="0">
                  <a:pos x="T2" y="T3"/>
                </a:cxn>
                <a:cxn ang="0">
                  <a:pos x="T4" y="T5"/>
                </a:cxn>
                <a:cxn ang="0">
                  <a:pos x="T6" y="T7"/>
                </a:cxn>
              </a:cxnLst>
              <a:rect l="0" t="0" r="r" b="b"/>
              <a:pathLst>
                <a:path w="49" h="6">
                  <a:moveTo>
                    <a:pt x="0" y="6"/>
                  </a:moveTo>
                  <a:lnTo>
                    <a:pt x="49" y="6"/>
                  </a:lnTo>
                  <a:lnTo>
                    <a:pt x="4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7" name="Rectangle 40"/>
            <p:cNvSpPr>
              <a:spLocks noChangeArrowheads="1"/>
            </p:cNvSpPr>
            <p:nvPr userDrawn="1"/>
          </p:nvSpPr>
          <p:spPr bwMode="auto">
            <a:xfrm>
              <a:off x="2163763" y="2563813"/>
              <a:ext cx="79375"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08" name="Freeform 41"/>
            <p:cNvSpPr/>
            <p:nvPr userDrawn="1"/>
          </p:nvSpPr>
          <p:spPr bwMode="auto">
            <a:xfrm>
              <a:off x="2163763" y="2563813"/>
              <a:ext cx="79375" cy="9525"/>
            </a:xfrm>
            <a:custGeom>
              <a:avLst/>
              <a:gdLst>
                <a:gd name="T0" fmla="*/ 0 w 50"/>
                <a:gd name="T1" fmla="*/ 6 h 6"/>
                <a:gd name="T2" fmla="*/ 50 w 50"/>
                <a:gd name="T3" fmla="*/ 6 h 6"/>
                <a:gd name="T4" fmla="*/ 50 w 50"/>
                <a:gd name="T5" fmla="*/ 0 h 6"/>
                <a:gd name="T6" fmla="*/ 0 w 50"/>
                <a:gd name="T7" fmla="*/ 0 h 6"/>
              </a:gdLst>
              <a:ahLst/>
              <a:cxnLst>
                <a:cxn ang="0">
                  <a:pos x="T0" y="T1"/>
                </a:cxn>
                <a:cxn ang="0">
                  <a:pos x="T2" y="T3"/>
                </a:cxn>
                <a:cxn ang="0">
                  <a:pos x="T4" y="T5"/>
                </a:cxn>
                <a:cxn ang="0">
                  <a:pos x="T6" y="T7"/>
                </a:cxn>
              </a:cxnLst>
              <a:rect l="0" t="0" r="r" b="b"/>
              <a:pathLst>
                <a:path w="50" h="6">
                  <a:moveTo>
                    <a:pt x="0" y="6"/>
                  </a:moveTo>
                  <a:lnTo>
                    <a:pt x="50" y="6"/>
                  </a:lnTo>
                  <a:lnTo>
                    <a:pt x="5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9" name="Rectangle 42"/>
            <p:cNvSpPr>
              <a:spLocks noChangeArrowheads="1"/>
            </p:cNvSpPr>
            <p:nvPr userDrawn="1"/>
          </p:nvSpPr>
          <p:spPr bwMode="auto">
            <a:xfrm>
              <a:off x="896938" y="4854575"/>
              <a:ext cx="138113" cy="11113"/>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10" name="Freeform 43"/>
            <p:cNvSpPr/>
            <p:nvPr userDrawn="1"/>
          </p:nvSpPr>
          <p:spPr bwMode="auto">
            <a:xfrm>
              <a:off x="896938" y="4854575"/>
              <a:ext cx="138113" cy="11113"/>
            </a:xfrm>
            <a:custGeom>
              <a:avLst/>
              <a:gdLst>
                <a:gd name="T0" fmla="*/ 0 w 87"/>
                <a:gd name="T1" fmla="*/ 7 h 7"/>
                <a:gd name="T2" fmla="*/ 87 w 87"/>
                <a:gd name="T3" fmla="*/ 7 h 7"/>
                <a:gd name="T4" fmla="*/ 87 w 87"/>
                <a:gd name="T5" fmla="*/ 0 h 7"/>
                <a:gd name="T6" fmla="*/ 0 w 87"/>
                <a:gd name="T7" fmla="*/ 0 h 7"/>
              </a:gdLst>
              <a:ahLst/>
              <a:cxnLst>
                <a:cxn ang="0">
                  <a:pos x="T0" y="T1"/>
                </a:cxn>
                <a:cxn ang="0">
                  <a:pos x="T2" y="T3"/>
                </a:cxn>
                <a:cxn ang="0">
                  <a:pos x="T4" y="T5"/>
                </a:cxn>
                <a:cxn ang="0">
                  <a:pos x="T6" y="T7"/>
                </a:cxn>
              </a:cxnLst>
              <a:rect l="0" t="0" r="r" b="b"/>
              <a:pathLst>
                <a:path w="87" h="7">
                  <a:moveTo>
                    <a:pt x="0" y="7"/>
                  </a:moveTo>
                  <a:lnTo>
                    <a:pt x="87" y="7"/>
                  </a:lnTo>
                  <a:lnTo>
                    <a:pt x="8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1" name="Rectangle 44"/>
            <p:cNvSpPr>
              <a:spLocks noChangeArrowheads="1"/>
            </p:cNvSpPr>
            <p:nvPr userDrawn="1"/>
          </p:nvSpPr>
          <p:spPr bwMode="auto">
            <a:xfrm>
              <a:off x="6565900" y="4527550"/>
              <a:ext cx="76200" cy="11113"/>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12" name="Freeform 45"/>
            <p:cNvSpPr/>
            <p:nvPr userDrawn="1"/>
          </p:nvSpPr>
          <p:spPr bwMode="auto">
            <a:xfrm>
              <a:off x="6565900" y="4527550"/>
              <a:ext cx="76200" cy="11113"/>
            </a:xfrm>
            <a:custGeom>
              <a:avLst/>
              <a:gdLst>
                <a:gd name="T0" fmla="*/ 0 w 48"/>
                <a:gd name="T1" fmla="*/ 7 h 7"/>
                <a:gd name="T2" fmla="*/ 48 w 48"/>
                <a:gd name="T3" fmla="*/ 7 h 7"/>
                <a:gd name="T4" fmla="*/ 48 w 48"/>
                <a:gd name="T5" fmla="*/ 0 h 7"/>
                <a:gd name="T6" fmla="*/ 0 w 48"/>
                <a:gd name="T7" fmla="*/ 0 h 7"/>
              </a:gdLst>
              <a:ahLst/>
              <a:cxnLst>
                <a:cxn ang="0">
                  <a:pos x="T0" y="T1"/>
                </a:cxn>
                <a:cxn ang="0">
                  <a:pos x="T2" y="T3"/>
                </a:cxn>
                <a:cxn ang="0">
                  <a:pos x="T4" y="T5"/>
                </a:cxn>
                <a:cxn ang="0">
                  <a:pos x="T6" y="T7"/>
                </a:cxn>
              </a:cxnLst>
              <a:rect l="0" t="0" r="r" b="b"/>
              <a:pathLst>
                <a:path w="48" h="7">
                  <a:moveTo>
                    <a:pt x="0" y="7"/>
                  </a:moveTo>
                  <a:lnTo>
                    <a:pt x="48" y="7"/>
                  </a:lnTo>
                  <a:lnTo>
                    <a:pt x="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3" name="Rectangle 46"/>
            <p:cNvSpPr>
              <a:spLocks noChangeArrowheads="1"/>
            </p:cNvSpPr>
            <p:nvPr userDrawn="1"/>
          </p:nvSpPr>
          <p:spPr bwMode="auto">
            <a:xfrm>
              <a:off x="892175" y="2892425"/>
              <a:ext cx="9525" cy="603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14" name="Freeform 47"/>
            <p:cNvSpPr/>
            <p:nvPr userDrawn="1"/>
          </p:nvSpPr>
          <p:spPr bwMode="auto">
            <a:xfrm>
              <a:off x="892175" y="2892425"/>
              <a:ext cx="9525" cy="60325"/>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5" name="Rectangle 48"/>
            <p:cNvSpPr>
              <a:spLocks noChangeArrowheads="1"/>
            </p:cNvSpPr>
            <p:nvPr userDrawn="1"/>
          </p:nvSpPr>
          <p:spPr bwMode="auto">
            <a:xfrm>
              <a:off x="866775" y="2917825"/>
              <a:ext cx="58738"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16" name="Freeform 49"/>
            <p:cNvSpPr/>
            <p:nvPr userDrawn="1"/>
          </p:nvSpPr>
          <p:spPr bwMode="auto">
            <a:xfrm>
              <a:off x="866775" y="2917825"/>
              <a:ext cx="58738" cy="9525"/>
            </a:xfrm>
            <a:custGeom>
              <a:avLst/>
              <a:gdLst>
                <a:gd name="T0" fmla="*/ 37 w 37"/>
                <a:gd name="T1" fmla="*/ 0 h 6"/>
                <a:gd name="T2" fmla="*/ 0 w 37"/>
                <a:gd name="T3" fmla="*/ 0 h 6"/>
                <a:gd name="T4" fmla="*/ 0 w 37"/>
                <a:gd name="T5" fmla="*/ 6 h 6"/>
                <a:gd name="T6" fmla="*/ 37 w 37"/>
                <a:gd name="T7" fmla="*/ 6 h 6"/>
              </a:gdLst>
              <a:ahLst/>
              <a:cxnLst>
                <a:cxn ang="0">
                  <a:pos x="T0" y="T1"/>
                </a:cxn>
                <a:cxn ang="0">
                  <a:pos x="T2" y="T3"/>
                </a:cxn>
                <a:cxn ang="0">
                  <a:pos x="T4" y="T5"/>
                </a:cxn>
                <a:cxn ang="0">
                  <a:pos x="T6" y="T7"/>
                </a:cxn>
              </a:cxnLst>
              <a:rect l="0" t="0" r="r" b="b"/>
              <a:pathLst>
                <a:path w="37" h="6">
                  <a:moveTo>
                    <a:pt x="37" y="0"/>
                  </a:moveTo>
                  <a:lnTo>
                    <a:pt x="0" y="0"/>
                  </a:lnTo>
                  <a:lnTo>
                    <a:pt x="0" y="6"/>
                  </a:lnTo>
                  <a:lnTo>
                    <a:pt x="37"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7" name="Rectangle 50"/>
            <p:cNvSpPr>
              <a:spLocks noChangeArrowheads="1"/>
            </p:cNvSpPr>
            <p:nvPr userDrawn="1"/>
          </p:nvSpPr>
          <p:spPr bwMode="auto">
            <a:xfrm>
              <a:off x="1330325" y="5313363"/>
              <a:ext cx="9525" cy="603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18" name="Freeform 51"/>
            <p:cNvSpPr/>
            <p:nvPr userDrawn="1"/>
          </p:nvSpPr>
          <p:spPr bwMode="auto">
            <a:xfrm>
              <a:off x="1330325" y="5313363"/>
              <a:ext cx="9525" cy="60325"/>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9" name="Rectangle 52"/>
            <p:cNvSpPr>
              <a:spLocks noChangeArrowheads="1"/>
            </p:cNvSpPr>
            <p:nvPr userDrawn="1"/>
          </p:nvSpPr>
          <p:spPr bwMode="auto">
            <a:xfrm>
              <a:off x="1306513" y="5338763"/>
              <a:ext cx="55563"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20" name="Freeform 53"/>
            <p:cNvSpPr/>
            <p:nvPr userDrawn="1"/>
          </p:nvSpPr>
          <p:spPr bwMode="auto">
            <a:xfrm>
              <a:off x="1306513" y="5338763"/>
              <a:ext cx="55563" cy="9525"/>
            </a:xfrm>
            <a:custGeom>
              <a:avLst/>
              <a:gdLst>
                <a:gd name="T0" fmla="*/ 35 w 35"/>
                <a:gd name="T1" fmla="*/ 0 h 6"/>
                <a:gd name="T2" fmla="*/ 0 w 35"/>
                <a:gd name="T3" fmla="*/ 0 h 6"/>
                <a:gd name="T4" fmla="*/ 0 w 35"/>
                <a:gd name="T5" fmla="*/ 6 h 6"/>
                <a:gd name="T6" fmla="*/ 35 w 35"/>
                <a:gd name="T7" fmla="*/ 6 h 6"/>
              </a:gdLst>
              <a:ahLst/>
              <a:cxnLst>
                <a:cxn ang="0">
                  <a:pos x="T0" y="T1"/>
                </a:cxn>
                <a:cxn ang="0">
                  <a:pos x="T2" y="T3"/>
                </a:cxn>
                <a:cxn ang="0">
                  <a:pos x="T4" y="T5"/>
                </a:cxn>
                <a:cxn ang="0">
                  <a:pos x="T6" y="T7"/>
                </a:cxn>
              </a:cxnLst>
              <a:rect l="0" t="0" r="r" b="b"/>
              <a:pathLst>
                <a:path w="35" h="6">
                  <a:moveTo>
                    <a:pt x="35" y="0"/>
                  </a:moveTo>
                  <a:lnTo>
                    <a:pt x="0" y="0"/>
                  </a:lnTo>
                  <a:lnTo>
                    <a:pt x="0" y="6"/>
                  </a:lnTo>
                  <a:lnTo>
                    <a:pt x="35"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1" name="Rectangle 58"/>
            <p:cNvSpPr>
              <a:spLocks noChangeArrowheads="1"/>
            </p:cNvSpPr>
            <p:nvPr userDrawn="1"/>
          </p:nvSpPr>
          <p:spPr bwMode="auto">
            <a:xfrm>
              <a:off x="6384925" y="3975100"/>
              <a:ext cx="9525" cy="603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22" name="Freeform 59"/>
            <p:cNvSpPr/>
            <p:nvPr userDrawn="1"/>
          </p:nvSpPr>
          <p:spPr bwMode="auto">
            <a:xfrm>
              <a:off x="6384925" y="3975100"/>
              <a:ext cx="9525" cy="60325"/>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3" name="Rectangle 60"/>
            <p:cNvSpPr>
              <a:spLocks noChangeArrowheads="1"/>
            </p:cNvSpPr>
            <p:nvPr userDrawn="1"/>
          </p:nvSpPr>
          <p:spPr bwMode="auto">
            <a:xfrm>
              <a:off x="6362700" y="4000500"/>
              <a:ext cx="57150"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24" name="Freeform 61"/>
            <p:cNvSpPr/>
            <p:nvPr userDrawn="1"/>
          </p:nvSpPr>
          <p:spPr bwMode="auto">
            <a:xfrm>
              <a:off x="6362700" y="4000500"/>
              <a:ext cx="57150" cy="9525"/>
            </a:xfrm>
            <a:custGeom>
              <a:avLst/>
              <a:gdLst>
                <a:gd name="T0" fmla="*/ 36 w 36"/>
                <a:gd name="T1" fmla="*/ 0 h 6"/>
                <a:gd name="T2" fmla="*/ 0 w 36"/>
                <a:gd name="T3" fmla="*/ 0 h 6"/>
                <a:gd name="T4" fmla="*/ 0 w 36"/>
                <a:gd name="T5" fmla="*/ 6 h 6"/>
                <a:gd name="T6" fmla="*/ 36 w 36"/>
                <a:gd name="T7" fmla="*/ 6 h 6"/>
              </a:gdLst>
              <a:ahLst/>
              <a:cxnLst>
                <a:cxn ang="0">
                  <a:pos x="T0" y="T1"/>
                </a:cxn>
                <a:cxn ang="0">
                  <a:pos x="T2" y="T3"/>
                </a:cxn>
                <a:cxn ang="0">
                  <a:pos x="T4" y="T5"/>
                </a:cxn>
                <a:cxn ang="0">
                  <a:pos x="T6" y="T7"/>
                </a:cxn>
              </a:cxnLst>
              <a:rect l="0" t="0" r="r" b="b"/>
              <a:pathLst>
                <a:path w="36" h="6">
                  <a:moveTo>
                    <a:pt x="36" y="0"/>
                  </a:moveTo>
                  <a:lnTo>
                    <a:pt x="0" y="0"/>
                  </a:lnTo>
                  <a:lnTo>
                    <a:pt x="0" y="6"/>
                  </a:lnTo>
                  <a:lnTo>
                    <a:pt x="3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5" name="Rectangle 62"/>
            <p:cNvSpPr>
              <a:spLocks noChangeArrowheads="1"/>
            </p:cNvSpPr>
            <p:nvPr userDrawn="1"/>
          </p:nvSpPr>
          <p:spPr bwMode="auto">
            <a:xfrm>
              <a:off x="6530975" y="5467350"/>
              <a:ext cx="9525" cy="57150"/>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26" name="Freeform 63"/>
            <p:cNvSpPr/>
            <p:nvPr userDrawn="1"/>
          </p:nvSpPr>
          <p:spPr bwMode="auto">
            <a:xfrm>
              <a:off x="6530975" y="5467350"/>
              <a:ext cx="9525" cy="57150"/>
            </a:xfrm>
            <a:custGeom>
              <a:avLst/>
              <a:gdLst>
                <a:gd name="T0" fmla="*/ 0 w 6"/>
                <a:gd name="T1" fmla="*/ 0 h 36"/>
                <a:gd name="T2" fmla="*/ 0 w 6"/>
                <a:gd name="T3" fmla="*/ 36 h 36"/>
                <a:gd name="T4" fmla="*/ 6 w 6"/>
                <a:gd name="T5" fmla="*/ 36 h 36"/>
                <a:gd name="T6" fmla="*/ 6 w 6"/>
                <a:gd name="T7" fmla="*/ 0 h 36"/>
              </a:gdLst>
              <a:ahLst/>
              <a:cxnLst>
                <a:cxn ang="0">
                  <a:pos x="T0" y="T1"/>
                </a:cxn>
                <a:cxn ang="0">
                  <a:pos x="T2" y="T3"/>
                </a:cxn>
                <a:cxn ang="0">
                  <a:pos x="T4" y="T5"/>
                </a:cxn>
                <a:cxn ang="0">
                  <a:pos x="T6" y="T7"/>
                </a:cxn>
              </a:cxnLst>
              <a:rect l="0" t="0" r="r" b="b"/>
              <a:pathLst>
                <a:path w="6" h="36">
                  <a:moveTo>
                    <a:pt x="0" y="0"/>
                  </a:moveTo>
                  <a:lnTo>
                    <a:pt x="0" y="36"/>
                  </a:lnTo>
                  <a:lnTo>
                    <a:pt x="6" y="3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7" name="Rectangle 64"/>
            <p:cNvSpPr>
              <a:spLocks noChangeArrowheads="1"/>
            </p:cNvSpPr>
            <p:nvPr userDrawn="1"/>
          </p:nvSpPr>
          <p:spPr bwMode="auto">
            <a:xfrm>
              <a:off x="6505575" y="5492750"/>
              <a:ext cx="60325"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28" name="Freeform 65"/>
            <p:cNvSpPr/>
            <p:nvPr userDrawn="1"/>
          </p:nvSpPr>
          <p:spPr bwMode="auto">
            <a:xfrm>
              <a:off x="6505575" y="5492750"/>
              <a:ext cx="60325" cy="9525"/>
            </a:xfrm>
            <a:custGeom>
              <a:avLst/>
              <a:gdLst>
                <a:gd name="T0" fmla="*/ 38 w 38"/>
                <a:gd name="T1" fmla="*/ 0 h 6"/>
                <a:gd name="T2" fmla="*/ 0 w 38"/>
                <a:gd name="T3" fmla="*/ 0 h 6"/>
                <a:gd name="T4" fmla="*/ 0 w 38"/>
                <a:gd name="T5" fmla="*/ 6 h 6"/>
                <a:gd name="T6" fmla="*/ 38 w 38"/>
                <a:gd name="T7" fmla="*/ 6 h 6"/>
              </a:gdLst>
              <a:ahLst/>
              <a:cxnLst>
                <a:cxn ang="0">
                  <a:pos x="T0" y="T1"/>
                </a:cxn>
                <a:cxn ang="0">
                  <a:pos x="T2" y="T3"/>
                </a:cxn>
                <a:cxn ang="0">
                  <a:pos x="T4" y="T5"/>
                </a:cxn>
                <a:cxn ang="0">
                  <a:pos x="T6" y="T7"/>
                </a:cxn>
              </a:cxnLst>
              <a:rect l="0" t="0" r="r" b="b"/>
              <a:pathLst>
                <a:path w="38" h="6">
                  <a:moveTo>
                    <a:pt x="38" y="0"/>
                  </a:moveTo>
                  <a:lnTo>
                    <a:pt x="0" y="0"/>
                  </a:lnTo>
                  <a:lnTo>
                    <a:pt x="0" y="6"/>
                  </a:lnTo>
                  <a:lnTo>
                    <a:pt x="3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9" name="Rectangle 66"/>
            <p:cNvSpPr>
              <a:spLocks noChangeArrowheads="1"/>
            </p:cNvSpPr>
            <p:nvPr userDrawn="1"/>
          </p:nvSpPr>
          <p:spPr bwMode="auto">
            <a:xfrm>
              <a:off x="6635750" y="2892425"/>
              <a:ext cx="9525" cy="603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30" name="Freeform 67"/>
            <p:cNvSpPr/>
            <p:nvPr userDrawn="1"/>
          </p:nvSpPr>
          <p:spPr bwMode="auto">
            <a:xfrm>
              <a:off x="6635750" y="2892425"/>
              <a:ext cx="9525" cy="60325"/>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1" name="Rectangle 68"/>
            <p:cNvSpPr>
              <a:spLocks noChangeArrowheads="1"/>
            </p:cNvSpPr>
            <p:nvPr userDrawn="1"/>
          </p:nvSpPr>
          <p:spPr bwMode="auto">
            <a:xfrm>
              <a:off x="6610350" y="2917825"/>
              <a:ext cx="60325"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32" name="Freeform 69"/>
            <p:cNvSpPr/>
            <p:nvPr userDrawn="1"/>
          </p:nvSpPr>
          <p:spPr bwMode="auto">
            <a:xfrm>
              <a:off x="6610350" y="2917825"/>
              <a:ext cx="60325" cy="9525"/>
            </a:xfrm>
            <a:custGeom>
              <a:avLst/>
              <a:gdLst>
                <a:gd name="T0" fmla="*/ 38 w 38"/>
                <a:gd name="T1" fmla="*/ 0 h 6"/>
                <a:gd name="T2" fmla="*/ 0 w 38"/>
                <a:gd name="T3" fmla="*/ 0 h 6"/>
                <a:gd name="T4" fmla="*/ 0 w 38"/>
                <a:gd name="T5" fmla="*/ 6 h 6"/>
                <a:gd name="T6" fmla="*/ 38 w 38"/>
                <a:gd name="T7" fmla="*/ 6 h 6"/>
              </a:gdLst>
              <a:ahLst/>
              <a:cxnLst>
                <a:cxn ang="0">
                  <a:pos x="T0" y="T1"/>
                </a:cxn>
                <a:cxn ang="0">
                  <a:pos x="T2" y="T3"/>
                </a:cxn>
                <a:cxn ang="0">
                  <a:pos x="T4" y="T5"/>
                </a:cxn>
                <a:cxn ang="0">
                  <a:pos x="T6" y="T7"/>
                </a:cxn>
              </a:cxnLst>
              <a:rect l="0" t="0" r="r" b="b"/>
              <a:pathLst>
                <a:path w="38" h="6">
                  <a:moveTo>
                    <a:pt x="38" y="0"/>
                  </a:moveTo>
                  <a:lnTo>
                    <a:pt x="0" y="0"/>
                  </a:lnTo>
                  <a:lnTo>
                    <a:pt x="0" y="6"/>
                  </a:lnTo>
                  <a:lnTo>
                    <a:pt x="3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3" name="Freeform 70"/>
            <p:cNvSpPr/>
            <p:nvPr userDrawn="1"/>
          </p:nvSpPr>
          <p:spPr bwMode="auto">
            <a:xfrm>
              <a:off x="6672263" y="5259388"/>
              <a:ext cx="57150" cy="57150"/>
            </a:xfrm>
            <a:custGeom>
              <a:avLst/>
              <a:gdLst>
                <a:gd name="T0" fmla="*/ 21 w 23"/>
                <a:gd name="T1" fmla="*/ 11 h 23"/>
                <a:gd name="T2" fmla="*/ 19 w 23"/>
                <a:gd name="T3" fmla="*/ 11 h 23"/>
                <a:gd name="T4" fmla="*/ 12 w 23"/>
                <a:gd name="T5" fmla="*/ 19 h 23"/>
                <a:gd name="T6" fmla="*/ 4 w 23"/>
                <a:gd name="T7" fmla="*/ 11 h 23"/>
                <a:gd name="T8" fmla="*/ 12 w 23"/>
                <a:gd name="T9" fmla="*/ 4 h 23"/>
                <a:gd name="T10" fmla="*/ 19 w 23"/>
                <a:gd name="T11" fmla="*/ 11 h 23"/>
                <a:gd name="T12" fmla="*/ 21 w 23"/>
                <a:gd name="T13" fmla="*/ 11 h 23"/>
                <a:gd name="T14" fmla="*/ 23 w 23"/>
                <a:gd name="T15" fmla="*/ 11 h 23"/>
                <a:gd name="T16" fmla="*/ 12 w 23"/>
                <a:gd name="T17" fmla="*/ 0 h 23"/>
                <a:gd name="T18" fmla="*/ 0 w 23"/>
                <a:gd name="T19" fmla="*/ 11 h 23"/>
                <a:gd name="T20" fmla="*/ 12 w 23"/>
                <a:gd name="T21" fmla="*/ 23 h 23"/>
                <a:gd name="T22" fmla="*/ 23 w 23"/>
                <a:gd name="T23" fmla="*/ 11 h 23"/>
                <a:gd name="T24" fmla="*/ 21 w 23"/>
                <a:gd name="T25"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21" y="11"/>
                  </a:moveTo>
                  <a:cubicBezTo>
                    <a:pt x="19" y="11"/>
                    <a:pt x="19" y="11"/>
                    <a:pt x="19" y="11"/>
                  </a:cubicBezTo>
                  <a:cubicBezTo>
                    <a:pt x="19" y="15"/>
                    <a:pt x="16" y="19"/>
                    <a:pt x="12" y="19"/>
                  </a:cubicBezTo>
                  <a:cubicBezTo>
                    <a:pt x="7" y="19"/>
                    <a:pt x="4" y="15"/>
                    <a:pt x="4" y="11"/>
                  </a:cubicBezTo>
                  <a:cubicBezTo>
                    <a:pt x="4" y="7"/>
                    <a:pt x="7" y="4"/>
                    <a:pt x="12" y="4"/>
                  </a:cubicBezTo>
                  <a:cubicBezTo>
                    <a:pt x="16" y="4"/>
                    <a:pt x="19" y="7"/>
                    <a:pt x="19" y="11"/>
                  </a:cubicBezTo>
                  <a:cubicBezTo>
                    <a:pt x="21" y="11"/>
                    <a:pt x="21" y="11"/>
                    <a:pt x="21" y="11"/>
                  </a:cubicBezTo>
                  <a:cubicBezTo>
                    <a:pt x="23" y="11"/>
                    <a:pt x="23" y="11"/>
                    <a:pt x="23" y="11"/>
                  </a:cubicBezTo>
                  <a:cubicBezTo>
                    <a:pt x="23" y="5"/>
                    <a:pt x="18" y="0"/>
                    <a:pt x="12" y="0"/>
                  </a:cubicBezTo>
                  <a:cubicBezTo>
                    <a:pt x="5" y="0"/>
                    <a:pt x="0" y="5"/>
                    <a:pt x="0" y="11"/>
                  </a:cubicBezTo>
                  <a:cubicBezTo>
                    <a:pt x="0" y="18"/>
                    <a:pt x="5" y="23"/>
                    <a:pt x="12" y="23"/>
                  </a:cubicBezTo>
                  <a:cubicBezTo>
                    <a:pt x="18" y="23"/>
                    <a:pt x="23" y="18"/>
                    <a:pt x="23" y="11"/>
                  </a:cubicBezTo>
                  <a:lnTo>
                    <a:pt x="21" y="11"/>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4" name="Freeform 71"/>
            <p:cNvSpPr/>
            <p:nvPr userDrawn="1"/>
          </p:nvSpPr>
          <p:spPr bwMode="auto">
            <a:xfrm>
              <a:off x="2587625" y="5640388"/>
              <a:ext cx="57150" cy="57150"/>
            </a:xfrm>
            <a:custGeom>
              <a:avLst/>
              <a:gdLst>
                <a:gd name="T0" fmla="*/ 21 w 23"/>
                <a:gd name="T1" fmla="*/ 12 h 23"/>
                <a:gd name="T2" fmla="*/ 19 w 23"/>
                <a:gd name="T3" fmla="*/ 12 h 23"/>
                <a:gd name="T4" fmla="*/ 11 w 23"/>
                <a:gd name="T5" fmla="*/ 19 h 23"/>
                <a:gd name="T6" fmla="*/ 4 w 23"/>
                <a:gd name="T7" fmla="*/ 12 h 23"/>
                <a:gd name="T8" fmla="*/ 11 w 23"/>
                <a:gd name="T9" fmla="*/ 4 h 23"/>
                <a:gd name="T10" fmla="*/ 19 w 23"/>
                <a:gd name="T11" fmla="*/ 12 h 23"/>
                <a:gd name="T12" fmla="*/ 21 w 23"/>
                <a:gd name="T13" fmla="*/ 12 h 23"/>
                <a:gd name="T14" fmla="*/ 23 w 23"/>
                <a:gd name="T15" fmla="*/ 12 h 23"/>
                <a:gd name="T16" fmla="*/ 11 w 23"/>
                <a:gd name="T17" fmla="*/ 0 h 23"/>
                <a:gd name="T18" fmla="*/ 0 w 23"/>
                <a:gd name="T19" fmla="*/ 12 h 23"/>
                <a:gd name="T20" fmla="*/ 11 w 23"/>
                <a:gd name="T21" fmla="*/ 23 h 23"/>
                <a:gd name="T22" fmla="*/ 23 w 23"/>
                <a:gd name="T23" fmla="*/ 12 h 23"/>
                <a:gd name="T24" fmla="*/ 21 w 23"/>
                <a:gd name="T2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21" y="12"/>
                  </a:moveTo>
                  <a:cubicBezTo>
                    <a:pt x="19" y="12"/>
                    <a:pt x="19" y="12"/>
                    <a:pt x="19" y="12"/>
                  </a:cubicBezTo>
                  <a:cubicBezTo>
                    <a:pt x="19" y="16"/>
                    <a:pt x="16" y="19"/>
                    <a:pt x="11" y="19"/>
                  </a:cubicBezTo>
                  <a:cubicBezTo>
                    <a:pt x="7" y="19"/>
                    <a:pt x="4" y="16"/>
                    <a:pt x="4" y="12"/>
                  </a:cubicBezTo>
                  <a:cubicBezTo>
                    <a:pt x="4" y="8"/>
                    <a:pt x="7" y="4"/>
                    <a:pt x="11" y="4"/>
                  </a:cubicBezTo>
                  <a:cubicBezTo>
                    <a:pt x="16" y="4"/>
                    <a:pt x="19" y="8"/>
                    <a:pt x="19" y="12"/>
                  </a:cubicBezTo>
                  <a:cubicBezTo>
                    <a:pt x="21" y="12"/>
                    <a:pt x="21" y="12"/>
                    <a:pt x="21" y="12"/>
                  </a:cubicBezTo>
                  <a:cubicBezTo>
                    <a:pt x="23" y="12"/>
                    <a:pt x="23" y="12"/>
                    <a:pt x="23" y="12"/>
                  </a:cubicBezTo>
                  <a:cubicBezTo>
                    <a:pt x="23" y="6"/>
                    <a:pt x="18" y="0"/>
                    <a:pt x="11" y="0"/>
                  </a:cubicBezTo>
                  <a:cubicBezTo>
                    <a:pt x="5" y="0"/>
                    <a:pt x="0" y="6"/>
                    <a:pt x="0" y="12"/>
                  </a:cubicBezTo>
                  <a:cubicBezTo>
                    <a:pt x="0" y="18"/>
                    <a:pt x="5" y="23"/>
                    <a:pt x="11" y="23"/>
                  </a:cubicBezTo>
                  <a:cubicBezTo>
                    <a:pt x="18" y="23"/>
                    <a:pt x="23" y="18"/>
                    <a:pt x="23" y="12"/>
                  </a:cubicBezTo>
                  <a:lnTo>
                    <a:pt x="21" y="12"/>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5" name="Freeform 73"/>
            <p:cNvSpPr>
              <a:spLocks noEditPoints="1"/>
            </p:cNvSpPr>
            <p:nvPr userDrawn="1"/>
          </p:nvSpPr>
          <p:spPr bwMode="auto">
            <a:xfrm>
              <a:off x="1127125" y="2981325"/>
              <a:ext cx="573088" cy="573088"/>
            </a:xfrm>
            <a:custGeom>
              <a:avLst/>
              <a:gdLst>
                <a:gd name="T0" fmla="*/ 224 w 231"/>
                <a:gd name="T1" fmla="*/ 77 h 231"/>
                <a:gd name="T2" fmla="*/ 212 w 231"/>
                <a:gd name="T3" fmla="*/ 53 h 231"/>
                <a:gd name="T4" fmla="*/ 195 w 231"/>
                <a:gd name="T5" fmla="*/ 32 h 231"/>
                <a:gd name="T6" fmla="*/ 176 w 231"/>
                <a:gd name="T7" fmla="*/ 49 h 231"/>
                <a:gd name="T8" fmla="*/ 157 w 231"/>
                <a:gd name="T9" fmla="*/ 35 h 231"/>
                <a:gd name="T10" fmla="*/ 165 w 231"/>
                <a:gd name="T11" fmla="*/ 12 h 231"/>
                <a:gd name="T12" fmla="*/ 113 w 231"/>
                <a:gd name="T13" fmla="*/ 1 h 231"/>
                <a:gd name="T14" fmla="*/ 111 w 231"/>
                <a:gd name="T15" fmla="*/ 25 h 231"/>
                <a:gd name="T16" fmla="*/ 87 w 231"/>
                <a:gd name="T17" fmla="*/ 29 h 231"/>
                <a:gd name="T18" fmla="*/ 77 w 231"/>
                <a:gd name="T19" fmla="*/ 7 h 231"/>
                <a:gd name="T20" fmla="*/ 53 w 231"/>
                <a:gd name="T21" fmla="*/ 19 h 231"/>
                <a:gd name="T22" fmla="*/ 32 w 231"/>
                <a:gd name="T23" fmla="*/ 36 h 231"/>
                <a:gd name="T24" fmla="*/ 48 w 231"/>
                <a:gd name="T25" fmla="*/ 54 h 231"/>
                <a:gd name="T26" fmla="*/ 35 w 231"/>
                <a:gd name="T27" fmla="*/ 74 h 231"/>
                <a:gd name="T28" fmla="*/ 12 w 231"/>
                <a:gd name="T29" fmla="*/ 66 h 231"/>
                <a:gd name="T30" fmla="*/ 0 w 231"/>
                <a:gd name="T31" fmla="*/ 118 h 231"/>
                <a:gd name="T32" fmla="*/ 25 w 231"/>
                <a:gd name="T33" fmla="*/ 120 h 231"/>
                <a:gd name="T34" fmla="*/ 29 w 231"/>
                <a:gd name="T35" fmla="*/ 144 h 231"/>
                <a:gd name="T36" fmla="*/ 7 w 231"/>
                <a:gd name="T37" fmla="*/ 154 h 231"/>
                <a:gd name="T38" fmla="*/ 19 w 231"/>
                <a:gd name="T39" fmla="*/ 178 h 231"/>
                <a:gd name="T40" fmla="*/ 36 w 231"/>
                <a:gd name="T41" fmla="*/ 199 h 231"/>
                <a:gd name="T42" fmla="*/ 54 w 231"/>
                <a:gd name="T43" fmla="*/ 183 h 231"/>
                <a:gd name="T44" fmla="*/ 74 w 231"/>
                <a:gd name="T45" fmla="*/ 196 h 231"/>
                <a:gd name="T46" fmla="*/ 66 w 231"/>
                <a:gd name="T47" fmla="*/ 219 h 231"/>
                <a:gd name="T48" fmla="*/ 118 w 231"/>
                <a:gd name="T49" fmla="*/ 231 h 231"/>
                <a:gd name="T50" fmla="*/ 120 w 231"/>
                <a:gd name="T51" fmla="*/ 206 h 231"/>
                <a:gd name="T52" fmla="*/ 143 w 231"/>
                <a:gd name="T53" fmla="*/ 202 h 231"/>
                <a:gd name="T54" fmla="*/ 154 w 231"/>
                <a:gd name="T55" fmla="*/ 224 h 231"/>
                <a:gd name="T56" fmla="*/ 178 w 231"/>
                <a:gd name="T57" fmla="*/ 212 h 231"/>
                <a:gd name="T58" fmla="*/ 199 w 231"/>
                <a:gd name="T59" fmla="*/ 195 h 231"/>
                <a:gd name="T60" fmla="*/ 182 w 231"/>
                <a:gd name="T61" fmla="*/ 177 h 231"/>
                <a:gd name="T62" fmla="*/ 196 w 231"/>
                <a:gd name="T63" fmla="*/ 157 h 231"/>
                <a:gd name="T64" fmla="*/ 219 w 231"/>
                <a:gd name="T65" fmla="*/ 165 h 231"/>
                <a:gd name="T66" fmla="*/ 230 w 231"/>
                <a:gd name="T67" fmla="*/ 113 h 231"/>
                <a:gd name="T68" fmla="*/ 206 w 231"/>
                <a:gd name="T69" fmla="*/ 111 h 231"/>
                <a:gd name="T70" fmla="*/ 202 w 231"/>
                <a:gd name="T71" fmla="*/ 88 h 231"/>
                <a:gd name="T72" fmla="*/ 224 w 231"/>
                <a:gd name="T73" fmla="*/ 77 h 231"/>
                <a:gd name="T74" fmla="*/ 145 w 231"/>
                <a:gd name="T75" fmla="*/ 162 h 231"/>
                <a:gd name="T76" fmla="*/ 69 w 231"/>
                <a:gd name="T77" fmla="*/ 146 h 231"/>
                <a:gd name="T78" fmla="*/ 85 w 231"/>
                <a:gd name="T79" fmla="*/ 69 h 231"/>
                <a:gd name="T80" fmla="*/ 162 w 231"/>
                <a:gd name="T81" fmla="*/ 86 h 231"/>
                <a:gd name="T82" fmla="*/ 145 w 231"/>
                <a:gd name="T83" fmla="*/ 162 h 231"/>
                <a:gd name="T84" fmla="*/ 137 w 231"/>
                <a:gd name="T85" fmla="*/ 150 h 231"/>
                <a:gd name="T86" fmla="*/ 81 w 231"/>
                <a:gd name="T87" fmla="*/ 138 h 231"/>
                <a:gd name="T88" fmla="*/ 93 w 231"/>
                <a:gd name="T89" fmla="*/ 81 h 231"/>
                <a:gd name="T90" fmla="*/ 150 w 231"/>
                <a:gd name="T91" fmla="*/ 94 h 231"/>
                <a:gd name="T92" fmla="*/ 137 w 231"/>
                <a:gd name="T93" fmla="*/ 15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1" h="231">
                  <a:moveTo>
                    <a:pt x="224" y="77"/>
                  </a:moveTo>
                  <a:cubicBezTo>
                    <a:pt x="221" y="69"/>
                    <a:pt x="217" y="61"/>
                    <a:pt x="212" y="53"/>
                  </a:cubicBezTo>
                  <a:cubicBezTo>
                    <a:pt x="207" y="45"/>
                    <a:pt x="201" y="39"/>
                    <a:pt x="195" y="32"/>
                  </a:cubicBezTo>
                  <a:cubicBezTo>
                    <a:pt x="176" y="49"/>
                    <a:pt x="176" y="49"/>
                    <a:pt x="176" y="49"/>
                  </a:cubicBezTo>
                  <a:cubicBezTo>
                    <a:pt x="170" y="43"/>
                    <a:pt x="164" y="38"/>
                    <a:pt x="157" y="35"/>
                  </a:cubicBezTo>
                  <a:cubicBezTo>
                    <a:pt x="165" y="12"/>
                    <a:pt x="165" y="12"/>
                    <a:pt x="165" y="12"/>
                  </a:cubicBezTo>
                  <a:cubicBezTo>
                    <a:pt x="149" y="4"/>
                    <a:pt x="131" y="0"/>
                    <a:pt x="113" y="1"/>
                  </a:cubicBezTo>
                  <a:cubicBezTo>
                    <a:pt x="111" y="25"/>
                    <a:pt x="111" y="25"/>
                    <a:pt x="111" y="25"/>
                  </a:cubicBezTo>
                  <a:cubicBezTo>
                    <a:pt x="103" y="25"/>
                    <a:pt x="95" y="27"/>
                    <a:pt x="87" y="29"/>
                  </a:cubicBezTo>
                  <a:cubicBezTo>
                    <a:pt x="77" y="7"/>
                    <a:pt x="77" y="7"/>
                    <a:pt x="77" y="7"/>
                  </a:cubicBezTo>
                  <a:cubicBezTo>
                    <a:pt x="69" y="10"/>
                    <a:pt x="61" y="14"/>
                    <a:pt x="53" y="19"/>
                  </a:cubicBezTo>
                  <a:cubicBezTo>
                    <a:pt x="45" y="24"/>
                    <a:pt x="38" y="30"/>
                    <a:pt x="32" y="36"/>
                  </a:cubicBezTo>
                  <a:cubicBezTo>
                    <a:pt x="48" y="54"/>
                    <a:pt x="48" y="54"/>
                    <a:pt x="48" y="54"/>
                  </a:cubicBezTo>
                  <a:cubicBezTo>
                    <a:pt x="43" y="61"/>
                    <a:pt x="38" y="67"/>
                    <a:pt x="35" y="74"/>
                  </a:cubicBezTo>
                  <a:cubicBezTo>
                    <a:pt x="12" y="66"/>
                    <a:pt x="12" y="66"/>
                    <a:pt x="12" y="66"/>
                  </a:cubicBezTo>
                  <a:cubicBezTo>
                    <a:pt x="4" y="82"/>
                    <a:pt x="0" y="100"/>
                    <a:pt x="0" y="118"/>
                  </a:cubicBezTo>
                  <a:cubicBezTo>
                    <a:pt x="25" y="120"/>
                    <a:pt x="25" y="120"/>
                    <a:pt x="25" y="120"/>
                  </a:cubicBezTo>
                  <a:cubicBezTo>
                    <a:pt x="25" y="128"/>
                    <a:pt x="27" y="136"/>
                    <a:pt x="29" y="144"/>
                  </a:cubicBezTo>
                  <a:cubicBezTo>
                    <a:pt x="7" y="154"/>
                    <a:pt x="7" y="154"/>
                    <a:pt x="7" y="154"/>
                  </a:cubicBezTo>
                  <a:cubicBezTo>
                    <a:pt x="10" y="162"/>
                    <a:pt x="14" y="170"/>
                    <a:pt x="19" y="178"/>
                  </a:cubicBezTo>
                  <a:cubicBezTo>
                    <a:pt x="24" y="186"/>
                    <a:pt x="30" y="193"/>
                    <a:pt x="36" y="199"/>
                  </a:cubicBezTo>
                  <a:cubicBezTo>
                    <a:pt x="54" y="183"/>
                    <a:pt x="54" y="183"/>
                    <a:pt x="54" y="183"/>
                  </a:cubicBezTo>
                  <a:cubicBezTo>
                    <a:pt x="60" y="188"/>
                    <a:pt x="67" y="193"/>
                    <a:pt x="74" y="196"/>
                  </a:cubicBezTo>
                  <a:cubicBezTo>
                    <a:pt x="66" y="219"/>
                    <a:pt x="66" y="219"/>
                    <a:pt x="66" y="219"/>
                  </a:cubicBezTo>
                  <a:cubicBezTo>
                    <a:pt x="82" y="227"/>
                    <a:pt x="100" y="231"/>
                    <a:pt x="118" y="231"/>
                  </a:cubicBezTo>
                  <a:cubicBezTo>
                    <a:pt x="120" y="206"/>
                    <a:pt x="120" y="206"/>
                    <a:pt x="120" y="206"/>
                  </a:cubicBezTo>
                  <a:cubicBezTo>
                    <a:pt x="128" y="206"/>
                    <a:pt x="136" y="204"/>
                    <a:pt x="143" y="202"/>
                  </a:cubicBezTo>
                  <a:cubicBezTo>
                    <a:pt x="154" y="224"/>
                    <a:pt x="154" y="224"/>
                    <a:pt x="154" y="224"/>
                  </a:cubicBezTo>
                  <a:cubicBezTo>
                    <a:pt x="162" y="221"/>
                    <a:pt x="170" y="217"/>
                    <a:pt x="178" y="212"/>
                  </a:cubicBezTo>
                  <a:cubicBezTo>
                    <a:pt x="185" y="207"/>
                    <a:pt x="192" y="201"/>
                    <a:pt x="199" y="195"/>
                  </a:cubicBezTo>
                  <a:cubicBezTo>
                    <a:pt x="182" y="177"/>
                    <a:pt x="182" y="177"/>
                    <a:pt x="182" y="177"/>
                  </a:cubicBezTo>
                  <a:cubicBezTo>
                    <a:pt x="188" y="171"/>
                    <a:pt x="193" y="164"/>
                    <a:pt x="196" y="157"/>
                  </a:cubicBezTo>
                  <a:cubicBezTo>
                    <a:pt x="219" y="165"/>
                    <a:pt x="219" y="165"/>
                    <a:pt x="219" y="165"/>
                  </a:cubicBezTo>
                  <a:cubicBezTo>
                    <a:pt x="227" y="149"/>
                    <a:pt x="231" y="131"/>
                    <a:pt x="230" y="113"/>
                  </a:cubicBezTo>
                  <a:cubicBezTo>
                    <a:pt x="206" y="111"/>
                    <a:pt x="206" y="111"/>
                    <a:pt x="206" y="111"/>
                  </a:cubicBezTo>
                  <a:cubicBezTo>
                    <a:pt x="206" y="103"/>
                    <a:pt x="204" y="95"/>
                    <a:pt x="202" y="88"/>
                  </a:cubicBezTo>
                  <a:lnTo>
                    <a:pt x="224" y="77"/>
                  </a:lnTo>
                  <a:close/>
                  <a:moveTo>
                    <a:pt x="145" y="162"/>
                  </a:moveTo>
                  <a:cubicBezTo>
                    <a:pt x="120" y="179"/>
                    <a:pt x="85" y="171"/>
                    <a:pt x="69" y="146"/>
                  </a:cubicBezTo>
                  <a:cubicBezTo>
                    <a:pt x="52" y="120"/>
                    <a:pt x="60" y="86"/>
                    <a:pt x="85" y="69"/>
                  </a:cubicBezTo>
                  <a:cubicBezTo>
                    <a:pt x="111" y="52"/>
                    <a:pt x="145" y="60"/>
                    <a:pt x="162" y="86"/>
                  </a:cubicBezTo>
                  <a:cubicBezTo>
                    <a:pt x="179" y="111"/>
                    <a:pt x="171" y="146"/>
                    <a:pt x="145" y="162"/>
                  </a:cubicBezTo>
                  <a:close/>
                  <a:moveTo>
                    <a:pt x="137" y="150"/>
                  </a:moveTo>
                  <a:cubicBezTo>
                    <a:pt x="119" y="162"/>
                    <a:pt x="93" y="156"/>
                    <a:pt x="81" y="138"/>
                  </a:cubicBezTo>
                  <a:cubicBezTo>
                    <a:pt x="69" y="119"/>
                    <a:pt x="75" y="94"/>
                    <a:pt x="93" y="81"/>
                  </a:cubicBezTo>
                  <a:cubicBezTo>
                    <a:pt x="112" y="69"/>
                    <a:pt x="137" y="75"/>
                    <a:pt x="150" y="94"/>
                  </a:cubicBezTo>
                  <a:cubicBezTo>
                    <a:pt x="162" y="112"/>
                    <a:pt x="156" y="138"/>
                    <a:pt x="137" y="150"/>
                  </a:cubicBezTo>
                  <a:close/>
                </a:path>
              </a:pathLst>
            </a:custGeom>
            <a:solidFill>
              <a:srgbClr val="D9E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6" name="Freeform 74"/>
            <p:cNvSpPr>
              <a:spLocks noEditPoints="1"/>
            </p:cNvSpPr>
            <p:nvPr userDrawn="1"/>
          </p:nvSpPr>
          <p:spPr bwMode="auto">
            <a:xfrm>
              <a:off x="4545013" y="5413375"/>
              <a:ext cx="446088" cy="447675"/>
            </a:xfrm>
            <a:custGeom>
              <a:avLst/>
              <a:gdLst>
                <a:gd name="T0" fmla="*/ 179 w 180"/>
                <a:gd name="T1" fmla="*/ 102 h 181"/>
                <a:gd name="T2" fmla="*/ 179 w 180"/>
                <a:gd name="T3" fmla="*/ 81 h 181"/>
                <a:gd name="T4" fmla="*/ 175 w 180"/>
                <a:gd name="T5" fmla="*/ 60 h 181"/>
                <a:gd name="T6" fmla="*/ 156 w 180"/>
                <a:gd name="T7" fmla="*/ 65 h 181"/>
                <a:gd name="T8" fmla="*/ 147 w 180"/>
                <a:gd name="T9" fmla="*/ 48 h 181"/>
                <a:gd name="T10" fmla="*/ 161 w 180"/>
                <a:gd name="T11" fmla="*/ 35 h 181"/>
                <a:gd name="T12" fmla="*/ 129 w 180"/>
                <a:gd name="T13" fmla="*/ 9 h 181"/>
                <a:gd name="T14" fmla="*/ 119 w 180"/>
                <a:gd name="T15" fmla="*/ 26 h 181"/>
                <a:gd name="T16" fmla="*/ 101 w 180"/>
                <a:gd name="T17" fmla="*/ 20 h 181"/>
                <a:gd name="T18" fmla="*/ 101 w 180"/>
                <a:gd name="T19" fmla="*/ 1 h 181"/>
                <a:gd name="T20" fmla="*/ 80 w 180"/>
                <a:gd name="T21" fmla="*/ 1 h 181"/>
                <a:gd name="T22" fmla="*/ 60 w 180"/>
                <a:gd name="T23" fmla="*/ 6 h 181"/>
                <a:gd name="T24" fmla="*/ 65 w 180"/>
                <a:gd name="T25" fmla="*/ 24 h 181"/>
                <a:gd name="T26" fmla="*/ 48 w 180"/>
                <a:gd name="T27" fmla="*/ 33 h 181"/>
                <a:gd name="T28" fmla="*/ 35 w 180"/>
                <a:gd name="T29" fmla="*/ 19 h 181"/>
                <a:gd name="T30" fmla="*/ 9 w 180"/>
                <a:gd name="T31" fmla="*/ 52 h 181"/>
                <a:gd name="T32" fmla="*/ 25 w 180"/>
                <a:gd name="T33" fmla="*/ 61 h 181"/>
                <a:gd name="T34" fmla="*/ 20 w 180"/>
                <a:gd name="T35" fmla="*/ 80 h 181"/>
                <a:gd name="T36" fmla="*/ 1 w 180"/>
                <a:gd name="T37" fmla="*/ 79 h 181"/>
                <a:gd name="T38" fmla="*/ 0 w 180"/>
                <a:gd name="T39" fmla="*/ 100 h 181"/>
                <a:gd name="T40" fmla="*/ 5 w 180"/>
                <a:gd name="T41" fmla="*/ 120 h 181"/>
                <a:gd name="T42" fmla="*/ 24 w 180"/>
                <a:gd name="T43" fmla="*/ 116 h 181"/>
                <a:gd name="T44" fmla="*/ 33 w 180"/>
                <a:gd name="T45" fmla="*/ 132 h 181"/>
                <a:gd name="T46" fmla="*/ 19 w 180"/>
                <a:gd name="T47" fmla="*/ 145 h 181"/>
                <a:gd name="T48" fmla="*/ 51 w 180"/>
                <a:gd name="T49" fmla="*/ 172 h 181"/>
                <a:gd name="T50" fmla="*/ 61 w 180"/>
                <a:gd name="T51" fmla="*/ 155 h 181"/>
                <a:gd name="T52" fmla="*/ 79 w 180"/>
                <a:gd name="T53" fmla="*/ 160 h 181"/>
                <a:gd name="T54" fmla="*/ 78 w 180"/>
                <a:gd name="T55" fmla="*/ 180 h 181"/>
                <a:gd name="T56" fmla="*/ 99 w 180"/>
                <a:gd name="T57" fmla="*/ 180 h 181"/>
                <a:gd name="T58" fmla="*/ 120 w 180"/>
                <a:gd name="T59" fmla="*/ 175 h 181"/>
                <a:gd name="T60" fmla="*/ 115 w 180"/>
                <a:gd name="T61" fmla="*/ 157 h 181"/>
                <a:gd name="T62" fmla="*/ 132 w 180"/>
                <a:gd name="T63" fmla="*/ 148 h 181"/>
                <a:gd name="T64" fmla="*/ 145 w 180"/>
                <a:gd name="T65" fmla="*/ 162 h 181"/>
                <a:gd name="T66" fmla="*/ 171 w 180"/>
                <a:gd name="T67" fmla="*/ 129 h 181"/>
                <a:gd name="T68" fmla="*/ 155 w 180"/>
                <a:gd name="T69" fmla="*/ 119 h 181"/>
                <a:gd name="T70" fmla="*/ 160 w 180"/>
                <a:gd name="T71" fmla="*/ 101 h 181"/>
                <a:gd name="T72" fmla="*/ 179 w 180"/>
                <a:gd name="T73" fmla="*/ 102 h 181"/>
                <a:gd name="T74" fmla="*/ 94 w 180"/>
                <a:gd name="T75" fmla="*/ 133 h 181"/>
                <a:gd name="T76" fmla="*/ 47 w 180"/>
                <a:gd name="T77" fmla="*/ 95 h 181"/>
                <a:gd name="T78" fmla="*/ 85 w 180"/>
                <a:gd name="T79" fmla="*/ 47 h 181"/>
                <a:gd name="T80" fmla="*/ 133 w 180"/>
                <a:gd name="T81" fmla="*/ 86 h 181"/>
                <a:gd name="T82" fmla="*/ 94 w 180"/>
                <a:gd name="T83" fmla="*/ 133 h 181"/>
                <a:gd name="T84" fmla="*/ 93 w 180"/>
                <a:gd name="T85" fmla="*/ 122 h 181"/>
                <a:gd name="T86" fmla="*/ 58 w 180"/>
                <a:gd name="T87" fmla="*/ 94 h 181"/>
                <a:gd name="T88" fmla="*/ 87 w 180"/>
                <a:gd name="T89" fmla="*/ 59 h 181"/>
                <a:gd name="T90" fmla="*/ 121 w 180"/>
                <a:gd name="T91" fmla="*/ 87 h 181"/>
                <a:gd name="T92" fmla="*/ 93 w 180"/>
                <a:gd name="T93" fmla="*/ 12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0" h="181">
                  <a:moveTo>
                    <a:pt x="179" y="102"/>
                  </a:moveTo>
                  <a:cubicBezTo>
                    <a:pt x="180" y="95"/>
                    <a:pt x="180" y="88"/>
                    <a:pt x="179" y="81"/>
                  </a:cubicBezTo>
                  <a:cubicBezTo>
                    <a:pt x="179" y="74"/>
                    <a:pt x="177" y="67"/>
                    <a:pt x="175" y="60"/>
                  </a:cubicBezTo>
                  <a:cubicBezTo>
                    <a:pt x="156" y="65"/>
                    <a:pt x="156" y="65"/>
                    <a:pt x="156" y="65"/>
                  </a:cubicBezTo>
                  <a:cubicBezTo>
                    <a:pt x="154" y="59"/>
                    <a:pt x="151" y="54"/>
                    <a:pt x="147" y="48"/>
                  </a:cubicBezTo>
                  <a:cubicBezTo>
                    <a:pt x="161" y="35"/>
                    <a:pt x="161" y="35"/>
                    <a:pt x="161" y="35"/>
                  </a:cubicBezTo>
                  <a:cubicBezTo>
                    <a:pt x="152" y="24"/>
                    <a:pt x="141" y="15"/>
                    <a:pt x="129" y="9"/>
                  </a:cubicBezTo>
                  <a:cubicBezTo>
                    <a:pt x="119" y="26"/>
                    <a:pt x="119" y="26"/>
                    <a:pt x="119" y="26"/>
                  </a:cubicBezTo>
                  <a:cubicBezTo>
                    <a:pt x="113" y="23"/>
                    <a:pt x="107" y="21"/>
                    <a:pt x="101" y="20"/>
                  </a:cubicBezTo>
                  <a:cubicBezTo>
                    <a:pt x="101" y="1"/>
                    <a:pt x="101" y="1"/>
                    <a:pt x="101" y="1"/>
                  </a:cubicBezTo>
                  <a:cubicBezTo>
                    <a:pt x="95" y="0"/>
                    <a:pt x="88" y="0"/>
                    <a:pt x="80" y="1"/>
                  </a:cubicBezTo>
                  <a:cubicBezTo>
                    <a:pt x="73" y="2"/>
                    <a:pt x="66" y="3"/>
                    <a:pt x="60" y="6"/>
                  </a:cubicBezTo>
                  <a:cubicBezTo>
                    <a:pt x="65" y="24"/>
                    <a:pt x="65" y="24"/>
                    <a:pt x="65" y="24"/>
                  </a:cubicBezTo>
                  <a:cubicBezTo>
                    <a:pt x="59" y="26"/>
                    <a:pt x="53" y="30"/>
                    <a:pt x="48" y="33"/>
                  </a:cubicBezTo>
                  <a:cubicBezTo>
                    <a:pt x="35" y="19"/>
                    <a:pt x="35" y="19"/>
                    <a:pt x="35" y="19"/>
                  </a:cubicBezTo>
                  <a:cubicBezTo>
                    <a:pt x="24" y="28"/>
                    <a:pt x="15" y="39"/>
                    <a:pt x="9" y="52"/>
                  </a:cubicBezTo>
                  <a:cubicBezTo>
                    <a:pt x="25" y="61"/>
                    <a:pt x="25" y="61"/>
                    <a:pt x="25" y="61"/>
                  </a:cubicBezTo>
                  <a:cubicBezTo>
                    <a:pt x="23" y="67"/>
                    <a:pt x="21" y="73"/>
                    <a:pt x="20" y="80"/>
                  </a:cubicBezTo>
                  <a:cubicBezTo>
                    <a:pt x="1" y="79"/>
                    <a:pt x="1" y="79"/>
                    <a:pt x="1" y="79"/>
                  </a:cubicBezTo>
                  <a:cubicBezTo>
                    <a:pt x="0" y="86"/>
                    <a:pt x="0" y="93"/>
                    <a:pt x="0" y="100"/>
                  </a:cubicBezTo>
                  <a:cubicBezTo>
                    <a:pt x="1" y="107"/>
                    <a:pt x="3" y="114"/>
                    <a:pt x="5" y="120"/>
                  </a:cubicBezTo>
                  <a:cubicBezTo>
                    <a:pt x="24" y="116"/>
                    <a:pt x="24" y="116"/>
                    <a:pt x="24" y="116"/>
                  </a:cubicBezTo>
                  <a:cubicBezTo>
                    <a:pt x="26" y="122"/>
                    <a:pt x="29" y="127"/>
                    <a:pt x="33" y="132"/>
                  </a:cubicBezTo>
                  <a:cubicBezTo>
                    <a:pt x="19" y="145"/>
                    <a:pt x="19" y="145"/>
                    <a:pt x="19" y="145"/>
                  </a:cubicBezTo>
                  <a:cubicBezTo>
                    <a:pt x="27" y="156"/>
                    <a:pt x="38" y="165"/>
                    <a:pt x="51" y="172"/>
                  </a:cubicBezTo>
                  <a:cubicBezTo>
                    <a:pt x="61" y="155"/>
                    <a:pt x="61" y="155"/>
                    <a:pt x="61" y="155"/>
                  </a:cubicBezTo>
                  <a:cubicBezTo>
                    <a:pt x="67" y="158"/>
                    <a:pt x="73" y="159"/>
                    <a:pt x="79" y="160"/>
                  </a:cubicBezTo>
                  <a:cubicBezTo>
                    <a:pt x="78" y="180"/>
                    <a:pt x="78" y="180"/>
                    <a:pt x="78" y="180"/>
                  </a:cubicBezTo>
                  <a:cubicBezTo>
                    <a:pt x="85" y="180"/>
                    <a:pt x="92" y="181"/>
                    <a:pt x="99" y="180"/>
                  </a:cubicBezTo>
                  <a:cubicBezTo>
                    <a:pt x="107" y="179"/>
                    <a:pt x="113" y="177"/>
                    <a:pt x="120" y="175"/>
                  </a:cubicBezTo>
                  <a:cubicBezTo>
                    <a:pt x="115" y="157"/>
                    <a:pt x="115" y="157"/>
                    <a:pt x="115" y="157"/>
                  </a:cubicBezTo>
                  <a:cubicBezTo>
                    <a:pt x="121" y="154"/>
                    <a:pt x="127" y="151"/>
                    <a:pt x="132" y="148"/>
                  </a:cubicBezTo>
                  <a:cubicBezTo>
                    <a:pt x="145" y="162"/>
                    <a:pt x="145" y="162"/>
                    <a:pt x="145" y="162"/>
                  </a:cubicBezTo>
                  <a:cubicBezTo>
                    <a:pt x="156" y="153"/>
                    <a:pt x="165" y="142"/>
                    <a:pt x="171" y="129"/>
                  </a:cubicBezTo>
                  <a:cubicBezTo>
                    <a:pt x="155" y="119"/>
                    <a:pt x="155" y="119"/>
                    <a:pt x="155" y="119"/>
                  </a:cubicBezTo>
                  <a:cubicBezTo>
                    <a:pt x="157" y="114"/>
                    <a:pt x="159" y="108"/>
                    <a:pt x="160" y="101"/>
                  </a:cubicBezTo>
                  <a:lnTo>
                    <a:pt x="179" y="102"/>
                  </a:lnTo>
                  <a:close/>
                  <a:moveTo>
                    <a:pt x="94" y="133"/>
                  </a:moveTo>
                  <a:cubicBezTo>
                    <a:pt x="71" y="136"/>
                    <a:pt x="49" y="119"/>
                    <a:pt x="47" y="95"/>
                  </a:cubicBezTo>
                  <a:cubicBezTo>
                    <a:pt x="44" y="71"/>
                    <a:pt x="62" y="50"/>
                    <a:pt x="85" y="47"/>
                  </a:cubicBezTo>
                  <a:cubicBezTo>
                    <a:pt x="109" y="45"/>
                    <a:pt x="130" y="62"/>
                    <a:pt x="133" y="86"/>
                  </a:cubicBezTo>
                  <a:cubicBezTo>
                    <a:pt x="136" y="110"/>
                    <a:pt x="118" y="131"/>
                    <a:pt x="94" y="133"/>
                  </a:cubicBezTo>
                  <a:close/>
                  <a:moveTo>
                    <a:pt x="93" y="122"/>
                  </a:moveTo>
                  <a:cubicBezTo>
                    <a:pt x="76" y="124"/>
                    <a:pt x="60" y="111"/>
                    <a:pt x="58" y="94"/>
                  </a:cubicBezTo>
                  <a:cubicBezTo>
                    <a:pt x="56" y="76"/>
                    <a:pt x="69" y="61"/>
                    <a:pt x="87" y="59"/>
                  </a:cubicBezTo>
                  <a:cubicBezTo>
                    <a:pt x="104" y="57"/>
                    <a:pt x="120" y="70"/>
                    <a:pt x="121" y="87"/>
                  </a:cubicBezTo>
                  <a:cubicBezTo>
                    <a:pt x="123" y="104"/>
                    <a:pt x="111" y="120"/>
                    <a:pt x="93" y="122"/>
                  </a:cubicBezTo>
                  <a:close/>
                </a:path>
              </a:pathLst>
            </a:custGeom>
            <a:solidFill>
              <a:srgbClr val="D9E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7" name="Freeform 75"/>
            <p:cNvSpPr/>
            <p:nvPr userDrawn="1"/>
          </p:nvSpPr>
          <p:spPr bwMode="auto">
            <a:xfrm>
              <a:off x="3068638" y="5322888"/>
              <a:ext cx="1436688" cy="695325"/>
            </a:xfrm>
            <a:custGeom>
              <a:avLst/>
              <a:gdLst>
                <a:gd name="T0" fmla="*/ 510 w 579"/>
                <a:gd name="T1" fmla="*/ 0 h 280"/>
                <a:gd name="T2" fmla="*/ 69 w 579"/>
                <a:gd name="T3" fmla="*/ 0 h 280"/>
                <a:gd name="T4" fmla="*/ 0 w 579"/>
                <a:gd name="T5" fmla="*/ 280 h 280"/>
                <a:gd name="T6" fmla="*/ 579 w 579"/>
                <a:gd name="T7" fmla="*/ 280 h 280"/>
                <a:gd name="T8" fmla="*/ 510 w 579"/>
                <a:gd name="T9" fmla="*/ 0 h 280"/>
              </a:gdLst>
              <a:ahLst/>
              <a:cxnLst>
                <a:cxn ang="0">
                  <a:pos x="T0" y="T1"/>
                </a:cxn>
                <a:cxn ang="0">
                  <a:pos x="T2" y="T3"/>
                </a:cxn>
                <a:cxn ang="0">
                  <a:pos x="T4" y="T5"/>
                </a:cxn>
                <a:cxn ang="0">
                  <a:pos x="T6" y="T7"/>
                </a:cxn>
                <a:cxn ang="0">
                  <a:pos x="T8" y="T9"/>
                </a:cxn>
              </a:cxnLst>
              <a:rect l="0" t="0" r="r" b="b"/>
              <a:pathLst>
                <a:path w="579" h="280">
                  <a:moveTo>
                    <a:pt x="510" y="0"/>
                  </a:moveTo>
                  <a:cubicBezTo>
                    <a:pt x="69" y="0"/>
                    <a:pt x="69" y="0"/>
                    <a:pt x="69" y="0"/>
                  </a:cubicBezTo>
                  <a:cubicBezTo>
                    <a:pt x="69" y="0"/>
                    <a:pt x="88" y="280"/>
                    <a:pt x="0" y="280"/>
                  </a:cubicBezTo>
                  <a:cubicBezTo>
                    <a:pt x="28" y="280"/>
                    <a:pt x="551" y="280"/>
                    <a:pt x="579" y="280"/>
                  </a:cubicBezTo>
                  <a:cubicBezTo>
                    <a:pt x="492" y="280"/>
                    <a:pt x="510" y="0"/>
                    <a:pt x="510" y="0"/>
                  </a:cubicBezTo>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8" name="Freeform 76"/>
            <p:cNvSpPr/>
            <p:nvPr userDrawn="1"/>
          </p:nvSpPr>
          <p:spPr bwMode="auto">
            <a:xfrm>
              <a:off x="3227388" y="5532438"/>
              <a:ext cx="17463" cy="207963"/>
            </a:xfrm>
            <a:custGeom>
              <a:avLst/>
              <a:gdLst>
                <a:gd name="T0" fmla="*/ 7 w 7"/>
                <a:gd name="T1" fmla="*/ 0 h 84"/>
                <a:gd name="T2" fmla="*/ 7 w 7"/>
                <a:gd name="T3" fmla="*/ 0 h 84"/>
                <a:gd name="T4" fmla="*/ 0 w 7"/>
                <a:gd name="T5" fmla="*/ 84 h 84"/>
                <a:gd name="T6" fmla="*/ 0 w 7"/>
                <a:gd name="T7" fmla="*/ 84 h 84"/>
                <a:gd name="T8" fmla="*/ 7 w 7"/>
                <a:gd name="T9" fmla="*/ 0 h 84"/>
              </a:gdLst>
              <a:ahLst/>
              <a:cxnLst>
                <a:cxn ang="0">
                  <a:pos x="T0" y="T1"/>
                </a:cxn>
                <a:cxn ang="0">
                  <a:pos x="T2" y="T3"/>
                </a:cxn>
                <a:cxn ang="0">
                  <a:pos x="T4" y="T5"/>
                </a:cxn>
                <a:cxn ang="0">
                  <a:pos x="T6" y="T7"/>
                </a:cxn>
                <a:cxn ang="0">
                  <a:pos x="T8" y="T9"/>
                </a:cxn>
              </a:cxnLst>
              <a:rect l="0" t="0" r="r" b="b"/>
              <a:pathLst>
                <a:path w="7" h="84">
                  <a:moveTo>
                    <a:pt x="7" y="0"/>
                  </a:moveTo>
                  <a:cubicBezTo>
                    <a:pt x="7" y="0"/>
                    <a:pt x="7" y="0"/>
                    <a:pt x="7" y="0"/>
                  </a:cubicBezTo>
                  <a:cubicBezTo>
                    <a:pt x="6" y="27"/>
                    <a:pt x="4" y="56"/>
                    <a:pt x="0" y="84"/>
                  </a:cubicBezTo>
                  <a:cubicBezTo>
                    <a:pt x="0" y="84"/>
                    <a:pt x="0" y="84"/>
                    <a:pt x="0" y="84"/>
                  </a:cubicBezTo>
                  <a:cubicBezTo>
                    <a:pt x="4" y="56"/>
                    <a:pt x="6" y="27"/>
                    <a:pt x="7" y="0"/>
                  </a:cubicBezTo>
                </a:path>
              </a:pathLst>
            </a:custGeom>
            <a:solidFill>
              <a:srgbClr val="9BBAF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9" name="Freeform 77"/>
            <p:cNvSpPr/>
            <p:nvPr userDrawn="1"/>
          </p:nvSpPr>
          <p:spPr bwMode="auto">
            <a:xfrm>
              <a:off x="3227388" y="5532438"/>
              <a:ext cx="1031875" cy="207963"/>
            </a:xfrm>
            <a:custGeom>
              <a:avLst/>
              <a:gdLst>
                <a:gd name="T0" fmla="*/ 416 w 416"/>
                <a:gd name="T1" fmla="*/ 0 h 84"/>
                <a:gd name="T2" fmla="*/ 7 w 416"/>
                <a:gd name="T3" fmla="*/ 0 h 84"/>
                <a:gd name="T4" fmla="*/ 0 w 416"/>
                <a:gd name="T5" fmla="*/ 84 h 84"/>
                <a:gd name="T6" fmla="*/ 416 w 416"/>
                <a:gd name="T7" fmla="*/ 0 h 84"/>
              </a:gdLst>
              <a:ahLst/>
              <a:cxnLst>
                <a:cxn ang="0">
                  <a:pos x="T0" y="T1"/>
                </a:cxn>
                <a:cxn ang="0">
                  <a:pos x="T2" y="T3"/>
                </a:cxn>
                <a:cxn ang="0">
                  <a:pos x="T4" y="T5"/>
                </a:cxn>
                <a:cxn ang="0">
                  <a:pos x="T6" y="T7"/>
                </a:cxn>
              </a:cxnLst>
              <a:rect l="0" t="0" r="r" b="b"/>
              <a:pathLst>
                <a:path w="416" h="84">
                  <a:moveTo>
                    <a:pt x="416" y="0"/>
                  </a:moveTo>
                  <a:cubicBezTo>
                    <a:pt x="7" y="0"/>
                    <a:pt x="7" y="0"/>
                    <a:pt x="7" y="0"/>
                  </a:cubicBezTo>
                  <a:cubicBezTo>
                    <a:pt x="6" y="27"/>
                    <a:pt x="4" y="56"/>
                    <a:pt x="0" y="84"/>
                  </a:cubicBezTo>
                  <a:cubicBezTo>
                    <a:pt x="416" y="0"/>
                    <a:pt x="416" y="0"/>
                    <a:pt x="416" y="0"/>
                  </a:cubicBezTo>
                </a:path>
              </a:pathLst>
            </a:custGeom>
            <a:solidFill>
              <a:srgbClr val="6DA3F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0" name="Freeform 78"/>
            <p:cNvSpPr/>
            <p:nvPr userDrawn="1"/>
          </p:nvSpPr>
          <p:spPr bwMode="auto">
            <a:xfrm>
              <a:off x="1593850" y="2654300"/>
              <a:ext cx="4386263" cy="2878138"/>
            </a:xfrm>
            <a:custGeom>
              <a:avLst/>
              <a:gdLst>
                <a:gd name="T0" fmla="*/ 1709 w 1769"/>
                <a:gd name="T1" fmla="*/ 1161 h 1161"/>
                <a:gd name="T2" fmla="*/ 60 w 1769"/>
                <a:gd name="T3" fmla="*/ 1161 h 1161"/>
                <a:gd name="T4" fmla="*/ 0 w 1769"/>
                <a:gd name="T5" fmla="*/ 1101 h 1161"/>
                <a:gd name="T6" fmla="*/ 0 w 1769"/>
                <a:gd name="T7" fmla="*/ 61 h 1161"/>
                <a:gd name="T8" fmla="*/ 60 w 1769"/>
                <a:gd name="T9" fmla="*/ 0 h 1161"/>
                <a:gd name="T10" fmla="*/ 1709 w 1769"/>
                <a:gd name="T11" fmla="*/ 0 h 1161"/>
                <a:gd name="T12" fmla="*/ 1769 w 1769"/>
                <a:gd name="T13" fmla="*/ 61 h 1161"/>
                <a:gd name="T14" fmla="*/ 1769 w 1769"/>
                <a:gd name="T15" fmla="*/ 1101 h 1161"/>
                <a:gd name="T16" fmla="*/ 1709 w 1769"/>
                <a:gd name="T17" fmla="*/ 1161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9" h="1161">
                  <a:moveTo>
                    <a:pt x="1709" y="1161"/>
                  </a:moveTo>
                  <a:cubicBezTo>
                    <a:pt x="60" y="1161"/>
                    <a:pt x="60" y="1161"/>
                    <a:pt x="60" y="1161"/>
                  </a:cubicBezTo>
                  <a:cubicBezTo>
                    <a:pt x="27" y="1161"/>
                    <a:pt x="0" y="1134"/>
                    <a:pt x="0" y="1101"/>
                  </a:cubicBezTo>
                  <a:cubicBezTo>
                    <a:pt x="0" y="61"/>
                    <a:pt x="0" y="61"/>
                    <a:pt x="0" y="61"/>
                  </a:cubicBezTo>
                  <a:cubicBezTo>
                    <a:pt x="0" y="27"/>
                    <a:pt x="27" y="0"/>
                    <a:pt x="60" y="0"/>
                  </a:cubicBezTo>
                  <a:cubicBezTo>
                    <a:pt x="1709" y="0"/>
                    <a:pt x="1709" y="0"/>
                    <a:pt x="1709" y="0"/>
                  </a:cubicBezTo>
                  <a:cubicBezTo>
                    <a:pt x="1742" y="0"/>
                    <a:pt x="1769" y="27"/>
                    <a:pt x="1769" y="61"/>
                  </a:cubicBezTo>
                  <a:cubicBezTo>
                    <a:pt x="1769" y="1101"/>
                    <a:pt x="1769" y="1101"/>
                    <a:pt x="1769" y="1101"/>
                  </a:cubicBezTo>
                  <a:cubicBezTo>
                    <a:pt x="1769" y="1134"/>
                    <a:pt x="1742" y="1161"/>
                    <a:pt x="1709" y="1161"/>
                  </a:cubicBezTo>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1" name="Freeform 79"/>
            <p:cNvSpPr/>
            <p:nvPr userDrawn="1"/>
          </p:nvSpPr>
          <p:spPr bwMode="auto">
            <a:xfrm>
              <a:off x="1717675" y="2759075"/>
              <a:ext cx="4141788" cy="2671763"/>
            </a:xfrm>
            <a:custGeom>
              <a:avLst/>
              <a:gdLst>
                <a:gd name="T0" fmla="*/ 1643 w 1670"/>
                <a:gd name="T1" fmla="*/ 1078 h 1078"/>
                <a:gd name="T2" fmla="*/ 27 w 1670"/>
                <a:gd name="T3" fmla="*/ 1078 h 1078"/>
                <a:gd name="T4" fmla="*/ 0 w 1670"/>
                <a:gd name="T5" fmla="*/ 1051 h 1078"/>
                <a:gd name="T6" fmla="*/ 0 w 1670"/>
                <a:gd name="T7" fmla="*/ 26 h 1078"/>
                <a:gd name="T8" fmla="*/ 27 w 1670"/>
                <a:gd name="T9" fmla="*/ 0 h 1078"/>
                <a:gd name="T10" fmla="*/ 1643 w 1670"/>
                <a:gd name="T11" fmla="*/ 0 h 1078"/>
                <a:gd name="T12" fmla="*/ 1670 w 1670"/>
                <a:gd name="T13" fmla="*/ 26 h 1078"/>
                <a:gd name="T14" fmla="*/ 1670 w 1670"/>
                <a:gd name="T15" fmla="*/ 1051 h 1078"/>
                <a:gd name="T16" fmla="*/ 1643 w 1670"/>
                <a:gd name="T17" fmla="*/ 1078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0" h="1078">
                  <a:moveTo>
                    <a:pt x="1643" y="1078"/>
                  </a:moveTo>
                  <a:cubicBezTo>
                    <a:pt x="27" y="1078"/>
                    <a:pt x="27" y="1078"/>
                    <a:pt x="27" y="1078"/>
                  </a:cubicBezTo>
                  <a:cubicBezTo>
                    <a:pt x="12" y="1078"/>
                    <a:pt x="0" y="1066"/>
                    <a:pt x="0" y="1051"/>
                  </a:cubicBezTo>
                  <a:cubicBezTo>
                    <a:pt x="0" y="26"/>
                    <a:pt x="0" y="26"/>
                    <a:pt x="0" y="26"/>
                  </a:cubicBezTo>
                  <a:cubicBezTo>
                    <a:pt x="0" y="11"/>
                    <a:pt x="12" y="0"/>
                    <a:pt x="27" y="0"/>
                  </a:cubicBezTo>
                  <a:cubicBezTo>
                    <a:pt x="1643" y="0"/>
                    <a:pt x="1643" y="0"/>
                    <a:pt x="1643" y="0"/>
                  </a:cubicBezTo>
                  <a:cubicBezTo>
                    <a:pt x="1658" y="0"/>
                    <a:pt x="1670" y="11"/>
                    <a:pt x="1670" y="26"/>
                  </a:cubicBezTo>
                  <a:cubicBezTo>
                    <a:pt x="1670" y="1051"/>
                    <a:pt x="1670" y="1051"/>
                    <a:pt x="1670" y="1051"/>
                  </a:cubicBezTo>
                  <a:cubicBezTo>
                    <a:pt x="1670" y="1066"/>
                    <a:pt x="1658" y="1078"/>
                    <a:pt x="1643" y="1078"/>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2" name="Freeform 80"/>
            <p:cNvSpPr/>
            <p:nvPr userDrawn="1"/>
          </p:nvSpPr>
          <p:spPr bwMode="auto">
            <a:xfrm>
              <a:off x="1712913" y="2754313"/>
              <a:ext cx="4151313" cy="2681288"/>
            </a:xfrm>
            <a:custGeom>
              <a:avLst/>
              <a:gdLst>
                <a:gd name="T0" fmla="*/ 1645 w 1674"/>
                <a:gd name="T1" fmla="*/ 1080 h 1082"/>
                <a:gd name="T2" fmla="*/ 1645 w 1674"/>
                <a:gd name="T3" fmla="*/ 1078 h 1082"/>
                <a:gd name="T4" fmla="*/ 29 w 1674"/>
                <a:gd name="T5" fmla="*/ 1078 h 1082"/>
                <a:gd name="T6" fmla="*/ 11 w 1674"/>
                <a:gd name="T7" fmla="*/ 1071 h 1082"/>
                <a:gd name="T8" fmla="*/ 4 w 1674"/>
                <a:gd name="T9" fmla="*/ 1053 h 1082"/>
                <a:gd name="T10" fmla="*/ 4 w 1674"/>
                <a:gd name="T11" fmla="*/ 28 h 1082"/>
                <a:gd name="T12" fmla="*/ 11 w 1674"/>
                <a:gd name="T13" fmla="*/ 11 h 1082"/>
                <a:gd name="T14" fmla="*/ 29 w 1674"/>
                <a:gd name="T15" fmla="*/ 4 h 1082"/>
                <a:gd name="T16" fmla="*/ 1645 w 1674"/>
                <a:gd name="T17" fmla="*/ 4 h 1082"/>
                <a:gd name="T18" fmla="*/ 1662 w 1674"/>
                <a:gd name="T19" fmla="*/ 11 h 1082"/>
                <a:gd name="T20" fmla="*/ 1670 w 1674"/>
                <a:gd name="T21" fmla="*/ 28 h 1082"/>
                <a:gd name="T22" fmla="*/ 1670 w 1674"/>
                <a:gd name="T23" fmla="*/ 1053 h 1082"/>
                <a:gd name="T24" fmla="*/ 1662 w 1674"/>
                <a:gd name="T25" fmla="*/ 1071 h 1082"/>
                <a:gd name="T26" fmla="*/ 1645 w 1674"/>
                <a:gd name="T27" fmla="*/ 1078 h 1082"/>
                <a:gd name="T28" fmla="*/ 1645 w 1674"/>
                <a:gd name="T29" fmla="*/ 1080 h 1082"/>
                <a:gd name="T30" fmla="*/ 1645 w 1674"/>
                <a:gd name="T31" fmla="*/ 1082 h 1082"/>
                <a:gd name="T32" fmla="*/ 1674 w 1674"/>
                <a:gd name="T33" fmla="*/ 1053 h 1082"/>
                <a:gd name="T34" fmla="*/ 1674 w 1674"/>
                <a:gd name="T35" fmla="*/ 28 h 1082"/>
                <a:gd name="T36" fmla="*/ 1645 w 1674"/>
                <a:gd name="T37" fmla="*/ 0 h 1082"/>
                <a:gd name="T38" fmla="*/ 29 w 1674"/>
                <a:gd name="T39" fmla="*/ 0 h 1082"/>
                <a:gd name="T40" fmla="*/ 0 w 1674"/>
                <a:gd name="T41" fmla="*/ 28 h 1082"/>
                <a:gd name="T42" fmla="*/ 0 w 1674"/>
                <a:gd name="T43" fmla="*/ 1053 h 1082"/>
                <a:gd name="T44" fmla="*/ 29 w 1674"/>
                <a:gd name="T45" fmla="*/ 1082 h 1082"/>
                <a:gd name="T46" fmla="*/ 1645 w 1674"/>
                <a:gd name="T47" fmla="*/ 1082 h 1082"/>
                <a:gd name="T48" fmla="*/ 1645 w 1674"/>
                <a:gd name="T49" fmla="*/ 1080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4" h="1082">
                  <a:moveTo>
                    <a:pt x="1645" y="1080"/>
                  </a:moveTo>
                  <a:cubicBezTo>
                    <a:pt x="1645" y="1078"/>
                    <a:pt x="1645" y="1078"/>
                    <a:pt x="1645" y="1078"/>
                  </a:cubicBezTo>
                  <a:cubicBezTo>
                    <a:pt x="29" y="1078"/>
                    <a:pt x="29" y="1078"/>
                    <a:pt x="29" y="1078"/>
                  </a:cubicBezTo>
                  <a:cubicBezTo>
                    <a:pt x="22" y="1078"/>
                    <a:pt x="16" y="1075"/>
                    <a:pt x="11" y="1071"/>
                  </a:cubicBezTo>
                  <a:cubicBezTo>
                    <a:pt x="7" y="1066"/>
                    <a:pt x="4" y="1060"/>
                    <a:pt x="4" y="1053"/>
                  </a:cubicBezTo>
                  <a:cubicBezTo>
                    <a:pt x="4" y="28"/>
                    <a:pt x="4" y="28"/>
                    <a:pt x="4" y="28"/>
                  </a:cubicBezTo>
                  <a:cubicBezTo>
                    <a:pt x="4" y="21"/>
                    <a:pt x="7" y="15"/>
                    <a:pt x="11" y="11"/>
                  </a:cubicBezTo>
                  <a:cubicBezTo>
                    <a:pt x="16" y="6"/>
                    <a:pt x="22" y="4"/>
                    <a:pt x="29" y="4"/>
                  </a:cubicBezTo>
                  <a:cubicBezTo>
                    <a:pt x="1645" y="4"/>
                    <a:pt x="1645" y="4"/>
                    <a:pt x="1645" y="4"/>
                  </a:cubicBezTo>
                  <a:cubicBezTo>
                    <a:pt x="1652" y="4"/>
                    <a:pt x="1658" y="6"/>
                    <a:pt x="1662" y="11"/>
                  </a:cubicBezTo>
                  <a:cubicBezTo>
                    <a:pt x="1667" y="15"/>
                    <a:pt x="1670" y="21"/>
                    <a:pt x="1670" y="28"/>
                  </a:cubicBezTo>
                  <a:cubicBezTo>
                    <a:pt x="1670" y="1053"/>
                    <a:pt x="1670" y="1053"/>
                    <a:pt x="1670" y="1053"/>
                  </a:cubicBezTo>
                  <a:cubicBezTo>
                    <a:pt x="1670" y="1060"/>
                    <a:pt x="1667" y="1066"/>
                    <a:pt x="1662" y="1071"/>
                  </a:cubicBezTo>
                  <a:cubicBezTo>
                    <a:pt x="1658" y="1075"/>
                    <a:pt x="1652" y="1078"/>
                    <a:pt x="1645" y="1078"/>
                  </a:cubicBezTo>
                  <a:cubicBezTo>
                    <a:pt x="1645" y="1080"/>
                    <a:pt x="1645" y="1080"/>
                    <a:pt x="1645" y="1080"/>
                  </a:cubicBezTo>
                  <a:cubicBezTo>
                    <a:pt x="1645" y="1082"/>
                    <a:pt x="1645" y="1082"/>
                    <a:pt x="1645" y="1082"/>
                  </a:cubicBezTo>
                  <a:cubicBezTo>
                    <a:pt x="1661" y="1082"/>
                    <a:pt x="1674" y="1069"/>
                    <a:pt x="1674" y="1053"/>
                  </a:cubicBezTo>
                  <a:cubicBezTo>
                    <a:pt x="1674" y="28"/>
                    <a:pt x="1674" y="28"/>
                    <a:pt x="1674" y="28"/>
                  </a:cubicBezTo>
                  <a:cubicBezTo>
                    <a:pt x="1674" y="12"/>
                    <a:pt x="1661" y="0"/>
                    <a:pt x="1645" y="0"/>
                  </a:cubicBezTo>
                  <a:cubicBezTo>
                    <a:pt x="29" y="0"/>
                    <a:pt x="29" y="0"/>
                    <a:pt x="29" y="0"/>
                  </a:cubicBezTo>
                  <a:cubicBezTo>
                    <a:pt x="13" y="0"/>
                    <a:pt x="0" y="12"/>
                    <a:pt x="0" y="28"/>
                  </a:cubicBezTo>
                  <a:cubicBezTo>
                    <a:pt x="0" y="1053"/>
                    <a:pt x="0" y="1053"/>
                    <a:pt x="0" y="1053"/>
                  </a:cubicBezTo>
                  <a:cubicBezTo>
                    <a:pt x="0" y="1069"/>
                    <a:pt x="13" y="1082"/>
                    <a:pt x="29" y="1082"/>
                  </a:cubicBezTo>
                  <a:cubicBezTo>
                    <a:pt x="1645" y="1082"/>
                    <a:pt x="1645" y="1082"/>
                    <a:pt x="1645" y="1082"/>
                  </a:cubicBezTo>
                  <a:cubicBezTo>
                    <a:pt x="1645" y="1080"/>
                    <a:pt x="1645" y="1080"/>
                    <a:pt x="1645" y="1080"/>
                  </a:cubicBezTo>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3" name="Freeform 81"/>
            <p:cNvSpPr>
              <a:spLocks noEditPoints="1"/>
            </p:cNvSpPr>
            <p:nvPr userDrawn="1"/>
          </p:nvSpPr>
          <p:spPr bwMode="auto">
            <a:xfrm>
              <a:off x="1955800" y="3421063"/>
              <a:ext cx="482600" cy="663575"/>
            </a:xfrm>
            <a:custGeom>
              <a:avLst/>
              <a:gdLst>
                <a:gd name="T0" fmla="*/ 195 w 195"/>
                <a:gd name="T1" fmla="*/ 264 h 268"/>
                <a:gd name="T2" fmla="*/ 37 w 195"/>
                <a:gd name="T3" fmla="*/ 264 h 268"/>
                <a:gd name="T4" fmla="*/ 37 w 195"/>
                <a:gd name="T5" fmla="*/ 268 h 268"/>
                <a:gd name="T6" fmla="*/ 195 w 195"/>
                <a:gd name="T7" fmla="*/ 268 h 268"/>
                <a:gd name="T8" fmla="*/ 195 w 195"/>
                <a:gd name="T9" fmla="*/ 264 h 268"/>
                <a:gd name="T10" fmla="*/ 195 w 195"/>
                <a:gd name="T11" fmla="*/ 0 h 268"/>
                <a:gd name="T12" fmla="*/ 27 w 195"/>
                <a:gd name="T13" fmla="*/ 0 h 268"/>
                <a:gd name="T14" fmla="*/ 0 w 195"/>
                <a:gd name="T15" fmla="*/ 27 h 268"/>
                <a:gd name="T16" fmla="*/ 0 w 195"/>
                <a:gd name="T17" fmla="*/ 241 h 268"/>
                <a:gd name="T18" fmla="*/ 2 w 195"/>
                <a:gd name="T19" fmla="*/ 252 h 268"/>
                <a:gd name="T20" fmla="*/ 6 w 195"/>
                <a:gd name="T21" fmla="*/ 251 h 268"/>
                <a:gd name="T22" fmla="*/ 4 w 195"/>
                <a:gd name="T23" fmla="*/ 241 h 268"/>
                <a:gd name="T24" fmla="*/ 4 w 195"/>
                <a:gd name="T25" fmla="*/ 27 h 268"/>
                <a:gd name="T26" fmla="*/ 11 w 195"/>
                <a:gd name="T27" fmla="*/ 11 h 268"/>
                <a:gd name="T28" fmla="*/ 27 w 195"/>
                <a:gd name="T29" fmla="*/ 4 h 268"/>
                <a:gd name="T30" fmla="*/ 195 w 195"/>
                <a:gd name="T31" fmla="*/ 4 h 268"/>
                <a:gd name="T32" fmla="*/ 195 w 195"/>
                <a:gd name="T3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268">
                  <a:moveTo>
                    <a:pt x="195" y="264"/>
                  </a:moveTo>
                  <a:cubicBezTo>
                    <a:pt x="37" y="264"/>
                    <a:pt x="37" y="264"/>
                    <a:pt x="37" y="264"/>
                  </a:cubicBezTo>
                  <a:cubicBezTo>
                    <a:pt x="37" y="266"/>
                    <a:pt x="37" y="267"/>
                    <a:pt x="37" y="268"/>
                  </a:cubicBezTo>
                  <a:cubicBezTo>
                    <a:pt x="195" y="268"/>
                    <a:pt x="195" y="268"/>
                    <a:pt x="195" y="268"/>
                  </a:cubicBezTo>
                  <a:cubicBezTo>
                    <a:pt x="195" y="264"/>
                    <a:pt x="195" y="264"/>
                    <a:pt x="195" y="264"/>
                  </a:cubicBezTo>
                  <a:moveTo>
                    <a:pt x="195" y="0"/>
                  </a:moveTo>
                  <a:cubicBezTo>
                    <a:pt x="27" y="0"/>
                    <a:pt x="27" y="0"/>
                    <a:pt x="27" y="0"/>
                  </a:cubicBezTo>
                  <a:cubicBezTo>
                    <a:pt x="12" y="0"/>
                    <a:pt x="0" y="12"/>
                    <a:pt x="0" y="27"/>
                  </a:cubicBezTo>
                  <a:cubicBezTo>
                    <a:pt x="0" y="241"/>
                    <a:pt x="0" y="241"/>
                    <a:pt x="0" y="241"/>
                  </a:cubicBezTo>
                  <a:cubicBezTo>
                    <a:pt x="0" y="245"/>
                    <a:pt x="1" y="249"/>
                    <a:pt x="2" y="252"/>
                  </a:cubicBezTo>
                  <a:cubicBezTo>
                    <a:pt x="6" y="251"/>
                    <a:pt x="6" y="251"/>
                    <a:pt x="6" y="251"/>
                  </a:cubicBezTo>
                  <a:cubicBezTo>
                    <a:pt x="5" y="248"/>
                    <a:pt x="4" y="245"/>
                    <a:pt x="4" y="241"/>
                  </a:cubicBezTo>
                  <a:cubicBezTo>
                    <a:pt x="4" y="27"/>
                    <a:pt x="4" y="27"/>
                    <a:pt x="4" y="27"/>
                  </a:cubicBezTo>
                  <a:cubicBezTo>
                    <a:pt x="4" y="21"/>
                    <a:pt x="6" y="15"/>
                    <a:pt x="11" y="11"/>
                  </a:cubicBezTo>
                  <a:cubicBezTo>
                    <a:pt x="15" y="7"/>
                    <a:pt x="21" y="4"/>
                    <a:pt x="27" y="4"/>
                  </a:cubicBezTo>
                  <a:cubicBezTo>
                    <a:pt x="195" y="4"/>
                    <a:pt x="195" y="4"/>
                    <a:pt x="195" y="4"/>
                  </a:cubicBezTo>
                  <a:cubicBezTo>
                    <a:pt x="195" y="0"/>
                    <a:pt x="195" y="0"/>
                    <a:pt x="195"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4" name="Freeform 82"/>
            <p:cNvSpPr>
              <a:spLocks noEditPoints="1"/>
            </p:cNvSpPr>
            <p:nvPr userDrawn="1"/>
          </p:nvSpPr>
          <p:spPr bwMode="auto">
            <a:xfrm>
              <a:off x="2066925" y="3608388"/>
              <a:ext cx="325438" cy="315913"/>
            </a:xfrm>
            <a:custGeom>
              <a:avLst/>
              <a:gdLst>
                <a:gd name="T0" fmla="*/ 5 w 131"/>
                <a:gd name="T1" fmla="*/ 123 h 127"/>
                <a:gd name="T2" fmla="*/ 65 w 131"/>
                <a:gd name="T3" fmla="*/ 6 h 127"/>
                <a:gd name="T4" fmla="*/ 126 w 131"/>
                <a:gd name="T5" fmla="*/ 123 h 127"/>
                <a:gd name="T6" fmla="*/ 5 w 131"/>
                <a:gd name="T7" fmla="*/ 123 h 127"/>
                <a:gd name="T8" fmla="*/ 64 w 131"/>
                <a:gd name="T9" fmla="*/ 3 h 127"/>
                <a:gd name="T10" fmla="*/ 65 w 131"/>
                <a:gd name="T11" fmla="*/ 2 h 127"/>
                <a:gd name="T12" fmla="*/ 64 w 131"/>
                <a:gd name="T13" fmla="*/ 3 h 127"/>
                <a:gd name="T14" fmla="*/ 65 w 131"/>
                <a:gd name="T15" fmla="*/ 0 h 127"/>
                <a:gd name="T16" fmla="*/ 64 w 131"/>
                <a:gd name="T17" fmla="*/ 1 h 127"/>
                <a:gd name="T18" fmla="*/ 64 w 131"/>
                <a:gd name="T19" fmla="*/ 1 h 127"/>
                <a:gd name="T20" fmla="*/ 0 w 131"/>
                <a:gd name="T21" fmla="*/ 124 h 127"/>
                <a:gd name="T22" fmla="*/ 0 w 131"/>
                <a:gd name="T23" fmla="*/ 126 h 127"/>
                <a:gd name="T24" fmla="*/ 2 w 131"/>
                <a:gd name="T25" fmla="*/ 127 h 127"/>
                <a:gd name="T26" fmla="*/ 129 w 131"/>
                <a:gd name="T27" fmla="*/ 127 h 127"/>
                <a:gd name="T28" fmla="*/ 131 w 131"/>
                <a:gd name="T29" fmla="*/ 126 h 127"/>
                <a:gd name="T30" fmla="*/ 131 w 131"/>
                <a:gd name="T31" fmla="*/ 124 h 127"/>
                <a:gd name="T32" fmla="*/ 67 w 131"/>
                <a:gd name="T33" fmla="*/ 1 h 127"/>
                <a:gd name="T34" fmla="*/ 65 w 131"/>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127">
                  <a:moveTo>
                    <a:pt x="5" y="123"/>
                  </a:moveTo>
                  <a:cubicBezTo>
                    <a:pt x="65" y="6"/>
                    <a:pt x="65" y="6"/>
                    <a:pt x="65" y="6"/>
                  </a:cubicBezTo>
                  <a:cubicBezTo>
                    <a:pt x="126" y="123"/>
                    <a:pt x="126" y="123"/>
                    <a:pt x="126" y="123"/>
                  </a:cubicBezTo>
                  <a:cubicBezTo>
                    <a:pt x="5" y="123"/>
                    <a:pt x="5" y="123"/>
                    <a:pt x="5" y="123"/>
                  </a:cubicBezTo>
                  <a:moveTo>
                    <a:pt x="64" y="3"/>
                  </a:moveTo>
                  <a:cubicBezTo>
                    <a:pt x="65" y="2"/>
                    <a:pt x="65" y="2"/>
                    <a:pt x="65" y="2"/>
                  </a:cubicBezTo>
                  <a:cubicBezTo>
                    <a:pt x="64" y="3"/>
                    <a:pt x="64" y="3"/>
                    <a:pt x="64" y="3"/>
                  </a:cubicBezTo>
                  <a:moveTo>
                    <a:pt x="65" y="0"/>
                  </a:moveTo>
                  <a:cubicBezTo>
                    <a:pt x="65" y="0"/>
                    <a:pt x="64" y="0"/>
                    <a:pt x="64" y="1"/>
                  </a:cubicBezTo>
                  <a:cubicBezTo>
                    <a:pt x="64" y="1"/>
                    <a:pt x="64" y="1"/>
                    <a:pt x="64" y="1"/>
                  </a:cubicBezTo>
                  <a:cubicBezTo>
                    <a:pt x="0" y="124"/>
                    <a:pt x="0" y="124"/>
                    <a:pt x="0" y="124"/>
                  </a:cubicBezTo>
                  <a:cubicBezTo>
                    <a:pt x="0" y="125"/>
                    <a:pt x="0" y="126"/>
                    <a:pt x="0" y="126"/>
                  </a:cubicBezTo>
                  <a:cubicBezTo>
                    <a:pt x="0" y="127"/>
                    <a:pt x="1" y="127"/>
                    <a:pt x="2" y="127"/>
                  </a:cubicBezTo>
                  <a:cubicBezTo>
                    <a:pt x="129" y="127"/>
                    <a:pt x="129" y="127"/>
                    <a:pt x="129" y="127"/>
                  </a:cubicBezTo>
                  <a:cubicBezTo>
                    <a:pt x="130" y="127"/>
                    <a:pt x="131" y="127"/>
                    <a:pt x="131" y="126"/>
                  </a:cubicBezTo>
                  <a:cubicBezTo>
                    <a:pt x="131" y="126"/>
                    <a:pt x="131" y="125"/>
                    <a:pt x="131" y="124"/>
                  </a:cubicBezTo>
                  <a:cubicBezTo>
                    <a:pt x="67" y="1"/>
                    <a:pt x="67" y="1"/>
                    <a:pt x="67" y="1"/>
                  </a:cubicBezTo>
                  <a:cubicBezTo>
                    <a:pt x="67" y="0"/>
                    <a:pt x="66" y="0"/>
                    <a:pt x="65"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5" name="Freeform 83"/>
            <p:cNvSpPr>
              <a:spLocks noEditPoints="1"/>
            </p:cNvSpPr>
            <p:nvPr userDrawn="1"/>
          </p:nvSpPr>
          <p:spPr bwMode="auto">
            <a:xfrm>
              <a:off x="2354263" y="3708400"/>
              <a:ext cx="84138" cy="215900"/>
            </a:xfrm>
            <a:custGeom>
              <a:avLst/>
              <a:gdLst>
                <a:gd name="T0" fmla="*/ 16 w 34"/>
                <a:gd name="T1" fmla="*/ 3 h 87"/>
                <a:gd name="T2" fmla="*/ 18 w 34"/>
                <a:gd name="T3" fmla="*/ 2 h 87"/>
                <a:gd name="T4" fmla="*/ 16 w 34"/>
                <a:gd name="T5" fmla="*/ 3 h 87"/>
                <a:gd name="T6" fmla="*/ 18 w 34"/>
                <a:gd name="T7" fmla="*/ 0 h 87"/>
                <a:gd name="T8" fmla="*/ 16 w 34"/>
                <a:gd name="T9" fmla="*/ 1 h 87"/>
                <a:gd name="T10" fmla="*/ 16 w 34"/>
                <a:gd name="T11" fmla="*/ 1 h 87"/>
                <a:gd name="T12" fmla="*/ 1 w 34"/>
                <a:gd name="T13" fmla="*/ 31 h 87"/>
                <a:gd name="T14" fmla="*/ 1 w 34"/>
                <a:gd name="T15" fmla="*/ 33 h 87"/>
                <a:gd name="T16" fmla="*/ 28 w 34"/>
                <a:gd name="T17" fmla="*/ 86 h 87"/>
                <a:gd name="T18" fmla="*/ 30 w 34"/>
                <a:gd name="T19" fmla="*/ 87 h 87"/>
                <a:gd name="T20" fmla="*/ 34 w 34"/>
                <a:gd name="T21" fmla="*/ 87 h 87"/>
                <a:gd name="T22" fmla="*/ 34 w 34"/>
                <a:gd name="T23" fmla="*/ 83 h 87"/>
                <a:gd name="T24" fmla="*/ 31 w 34"/>
                <a:gd name="T25" fmla="*/ 83 h 87"/>
                <a:gd name="T26" fmla="*/ 5 w 34"/>
                <a:gd name="T27" fmla="*/ 32 h 87"/>
                <a:gd name="T28" fmla="*/ 18 w 34"/>
                <a:gd name="T29" fmla="*/ 7 h 87"/>
                <a:gd name="T30" fmla="*/ 34 w 34"/>
                <a:gd name="T31" fmla="*/ 38 h 87"/>
                <a:gd name="T32" fmla="*/ 34 w 34"/>
                <a:gd name="T33" fmla="*/ 29 h 87"/>
                <a:gd name="T34" fmla="*/ 19 w 34"/>
                <a:gd name="T35" fmla="*/ 1 h 87"/>
                <a:gd name="T36" fmla="*/ 18 w 34"/>
                <a:gd name="T3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87">
                  <a:moveTo>
                    <a:pt x="16" y="3"/>
                  </a:moveTo>
                  <a:cubicBezTo>
                    <a:pt x="18" y="2"/>
                    <a:pt x="18" y="2"/>
                    <a:pt x="18" y="2"/>
                  </a:cubicBezTo>
                  <a:cubicBezTo>
                    <a:pt x="16" y="3"/>
                    <a:pt x="16" y="3"/>
                    <a:pt x="16" y="3"/>
                  </a:cubicBezTo>
                  <a:moveTo>
                    <a:pt x="18" y="0"/>
                  </a:moveTo>
                  <a:cubicBezTo>
                    <a:pt x="17" y="0"/>
                    <a:pt x="16" y="1"/>
                    <a:pt x="16" y="1"/>
                  </a:cubicBezTo>
                  <a:cubicBezTo>
                    <a:pt x="16" y="1"/>
                    <a:pt x="16" y="1"/>
                    <a:pt x="16" y="1"/>
                  </a:cubicBezTo>
                  <a:cubicBezTo>
                    <a:pt x="1" y="31"/>
                    <a:pt x="1" y="31"/>
                    <a:pt x="1" y="31"/>
                  </a:cubicBezTo>
                  <a:cubicBezTo>
                    <a:pt x="0" y="32"/>
                    <a:pt x="0" y="32"/>
                    <a:pt x="1" y="33"/>
                  </a:cubicBezTo>
                  <a:cubicBezTo>
                    <a:pt x="28" y="86"/>
                    <a:pt x="28" y="86"/>
                    <a:pt x="28" y="86"/>
                  </a:cubicBezTo>
                  <a:cubicBezTo>
                    <a:pt x="28" y="87"/>
                    <a:pt x="29" y="87"/>
                    <a:pt x="30" y="87"/>
                  </a:cubicBezTo>
                  <a:cubicBezTo>
                    <a:pt x="34" y="87"/>
                    <a:pt x="34" y="87"/>
                    <a:pt x="34" y="87"/>
                  </a:cubicBezTo>
                  <a:cubicBezTo>
                    <a:pt x="34" y="83"/>
                    <a:pt x="34" y="83"/>
                    <a:pt x="34" y="83"/>
                  </a:cubicBezTo>
                  <a:cubicBezTo>
                    <a:pt x="31" y="83"/>
                    <a:pt x="31" y="83"/>
                    <a:pt x="31" y="83"/>
                  </a:cubicBezTo>
                  <a:cubicBezTo>
                    <a:pt x="5" y="32"/>
                    <a:pt x="5" y="32"/>
                    <a:pt x="5" y="32"/>
                  </a:cubicBezTo>
                  <a:cubicBezTo>
                    <a:pt x="18" y="7"/>
                    <a:pt x="18" y="7"/>
                    <a:pt x="18" y="7"/>
                  </a:cubicBezTo>
                  <a:cubicBezTo>
                    <a:pt x="34" y="38"/>
                    <a:pt x="34" y="38"/>
                    <a:pt x="34" y="38"/>
                  </a:cubicBezTo>
                  <a:cubicBezTo>
                    <a:pt x="34" y="29"/>
                    <a:pt x="34" y="29"/>
                    <a:pt x="34" y="29"/>
                  </a:cubicBezTo>
                  <a:cubicBezTo>
                    <a:pt x="19" y="1"/>
                    <a:pt x="19" y="1"/>
                    <a:pt x="19" y="1"/>
                  </a:cubicBezTo>
                  <a:cubicBezTo>
                    <a:pt x="19" y="1"/>
                    <a:pt x="18" y="0"/>
                    <a:pt x="18"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6" name="Freeform 84"/>
            <p:cNvSpPr/>
            <p:nvPr userDrawn="1"/>
          </p:nvSpPr>
          <p:spPr bwMode="auto">
            <a:xfrm>
              <a:off x="2411413" y="3621088"/>
              <a:ext cx="26988" cy="71438"/>
            </a:xfrm>
            <a:custGeom>
              <a:avLst/>
              <a:gdLst>
                <a:gd name="T0" fmla="*/ 11 w 11"/>
                <a:gd name="T1" fmla="*/ 0 h 29"/>
                <a:gd name="T2" fmla="*/ 0 w 11"/>
                <a:gd name="T3" fmla="*/ 14 h 29"/>
                <a:gd name="T4" fmla="*/ 11 w 11"/>
                <a:gd name="T5" fmla="*/ 29 h 29"/>
                <a:gd name="T6" fmla="*/ 11 w 11"/>
                <a:gd name="T7" fmla="*/ 25 h 29"/>
                <a:gd name="T8" fmla="*/ 4 w 11"/>
                <a:gd name="T9" fmla="*/ 14 h 29"/>
                <a:gd name="T10" fmla="*/ 11 w 11"/>
                <a:gd name="T11" fmla="*/ 4 h 29"/>
                <a:gd name="T12" fmla="*/ 11 w 1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1" h="29">
                  <a:moveTo>
                    <a:pt x="11" y="0"/>
                  </a:moveTo>
                  <a:cubicBezTo>
                    <a:pt x="5" y="2"/>
                    <a:pt x="0" y="7"/>
                    <a:pt x="0" y="14"/>
                  </a:cubicBezTo>
                  <a:cubicBezTo>
                    <a:pt x="0" y="21"/>
                    <a:pt x="5" y="27"/>
                    <a:pt x="11" y="29"/>
                  </a:cubicBezTo>
                  <a:cubicBezTo>
                    <a:pt x="11" y="25"/>
                    <a:pt x="11" y="25"/>
                    <a:pt x="11" y="25"/>
                  </a:cubicBezTo>
                  <a:cubicBezTo>
                    <a:pt x="7" y="23"/>
                    <a:pt x="4" y="19"/>
                    <a:pt x="4" y="14"/>
                  </a:cubicBezTo>
                  <a:cubicBezTo>
                    <a:pt x="4" y="10"/>
                    <a:pt x="7" y="6"/>
                    <a:pt x="11" y="4"/>
                  </a:cubicBezTo>
                  <a:cubicBezTo>
                    <a:pt x="11" y="0"/>
                    <a:pt x="11" y="0"/>
                    <a:pt x="11"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7" name="Freeform 85"/>
            <p:cNvSpPr/>
            <p:nvPr userDrawn="1"/>
          </p:nvSpPr>
          <p:spPr bwMode="auto">
            <a:xfrm>
              <a:off x="5146675" y="3421063"/>
              <a:ext cx="484188" cy="663575"/>
            </a:xfrm>
            <a:custGeom>
              <a:avLst/>
              <a:gdLst>
                <a:gd name="T0" fmla="*/ 168 w 195"/>
                <a:gd name="T1" fmla="*/ 0 h 268"/>
                <a:gd name="T2" fmla="*/ 0 w 195"/>
                <a:gd name="T3" fmla="*/ 0 h 268"/>
                <a:gd name="T4" fmla="*/ 0 w 195"/>
                <a:gd name="T5" fmla="*/ 4 h 268"/>
                <a:gd name="T6" fmla="*/ 168 w 195"/>
                <a:gd name="T7" fmla="*/ 4 h 268"/>
                <a:gd name="T8" fmla="*/ 184 w 195"/>
                <a:gd name="T9" fmla="*/ 11 h 268"/>
                <a:gd name="T10" fmla="*/ 191 w 195"/>
                <a:gd name="T11" fmla="*/ 27 h 268"/>
                <a:gd name="T12" fmla="*/ 191 w 195"/>
                <a:gd name="T13" fmla="*/ 241 h 268"/>
                <a:gd name="T14" fmla="*/ 184 w 195"/>
                <a:gd name="T15" fmla="*/ 258 h 268"/>
                <a:gd name="T16" fmla="*/ 168 w 195"/>
                <a:gd name="T17" fmla="*/ 264 h 268"/>
                <a:gd name="T18" fmla="*/ 168 w 195"/>
                <a:gd name="T19" fmla="*/ 264 h 268"/>
                <a:gd name="T20" fmla="*/ 0 w 195"/>
                <a:gd name="T21" fmla="*/ 264 h 268"/>
                <a:gd name="T22" fmla="*/ 0 w 195"/>
                <a:gd name="T23" fmla="*/ 268 h 268"/>
                <a:gd name="T24" fmla="*/ 168 w 195"/>
                <a:gd name="T25" fmla="*/ 268 h 268"/>
                <a:gd name="T26" fmla="*/ 195 w 195"/>
                <a:gd name="T27" fmla="*/ 241 h 268"/>
                <a:gd name="T28" fmla="*/ 195 w 195"/>
                <a:gd name="T29" fmla="*/ 27 h 268"/>
                <a:gd name="T30" fmla="*/ 168 w 195"/>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5" h="268">
                  <a:moveTo>
                    <a:pt x="168" y="0"/>
                  </a:moveTo>
                  <a:cubicBezTo>
                    <a:pt x="0" y="0"/>
                    <a:pt x="0" y="0"/>
                    <a:pt x="0" y="0"/>
                  </a:cubicBezTo>
                  <a:cubicBezTo>
                    <a:pt x="0" y="4"/>
                    <a:pt x="0" y="4"/>
                    <a:pt x="0" y="4"/>
                  </a:cubicBezTo>
                  <a:cubicBezTo>
                    <a:pt x="168" y="4"/>
                    <a:pt x="168" y="4"/>
                    <a:pt x="168" y="4"/>
                  </a:cubicBezTo>
                  <a:cubicBezTo>
                    <a:pt x="174" y="4"/>
                    <a:pt x="180" y="7"/>
                    <a:pt x="184" y="11"/>
                  </a:cubicBezTo>
                  <a:cubicBezTo>
                    <a:pt x="189" y="15"/>
                    <a:pt x="191" y="21"/>
                    <a:pt x="191" y="27"/>
                  </a:cubicBezTo>
                  <a:cubicBezTo>
                    <a:pt x="191" y="241"/>
                    <a:pt x="191" y="241"/>
                    <a:pt x="191" y="241"/>
                  </a:cubicBezTo>
                  <a:cubicBezTo>
                    <a:pt x="191" y="248"/>
                    <a:pt x="189" y="254"/>
                    <a:pt x="184" y="258"/>
                  </a:cubicBezTo>
                  <a:cubicBezTo>
                    <a:pt x="180" y="262"/>
                    <a:pt x="174" y="264"/>
                    <a:pt x="168" y="264"/>
                  </a:cubicBezTo>
                  <a:cubicBezTo>
                    <a:pt x="168" y="264"/>
                    <a:pt x="168" y="264"/>
                    <a:pt x="168" y="264"/>
                  </a:cubicBezTo>
                  <a:cubicBezTo>
                    <a:pt x="0" y="264"/>
                    <a:pt x="0" y="264"/>
                    <a:pt x="0" y="264"/>
                  </a:cubicBezTo>
                  <a:cubicBezTo>
                    <a:pt x="0" y="268"/>
                    <a:pt x="0" y="268"/>
                    <a:pt x="0" y="268"/>
                  </a:cubicBezTo>
                  <a:cubicBezTo>
                    <a:pt x="168" y="268"/>
                    <a:pt x="168" y="268"/>
                    <a:pt x="168" y="268"/>
                  </a:cubicBezTo>
                  <a:cubicBezTo>
                    <a:pt x="183" y="268"/>
                    <a:pt x="195" y="256"/>
                    <a:pt x="195" y="241"/>
                  </a:cubicBezTo>
                  <a:cubicBezTo>
                    <a:pt x="195" y="27"/>
                    <a:pt x="195" y="27"/>
                    <a:pt x="195" y="27"/>
                  </a:cubicBezTo>
                  <a:cubicBezTo>
                    <a:pt x="195" y="12"/>
                    <a:pt x="183" y="0"/>
                    <a:pt x="168"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8" name="Freeform 86"/>
            <p:cNvSpPr>
              <a:spLocks noEditPoints="1"/>
            </p:cNvSpPr>
            <p:nvPr userDrawn="1"/>
          </p:nvSpPr>
          <p:spPr bwMode="auto">
            <a:xfrm>
              <a:off x="5146675" y="3608388"/>
              <a:ext cx="255588" cy="315913"/>
            </a:xfrm>
            <a:custGeom>
              <a:avLst/>
              <a:gdLst>
                <a:gd name="T0" fmla="*/ 36 w 103"/>
                <a:gd name="T1" fmla="*/ 3 h 127"/>
                <a:gd name="T2" fmla="*/ 37 w 103"/>
                <a:gd name="T3" fmla="*/ 2 h 127"/>
                <a:gd name="T4" fmla="*/ 36 w 103"/>
                <a:gd name="T5" fmla="*/ 3 h 127"/>
                <a:gd name="T6" fmla="*/ 37 w 103"/>
                <a:gd name="T7" fmla="*/ 0 h 127"/>
                <a:gd name="T8" fmla="*/ 36 w 103"/>
                <a:gd name="T9" fmla="*/ 1 h 127"/>
                <a:gd name="T10" fmla="*/ 36 w 103"/>
                <a:gd name="T11" fmla="*/ 1 h 127"/>
                <a:gd name="T12" fmla="*/ 0 w 103"/>
                <a:gd name="T13" fmla="*/ 69 h 127"/>
                <a:gd name="T14" fmla="*/ 0 w 103"/>
                <a:gd name="T15" fmla="*/ 78 h 127"/>
                <a:gd name="T16" fmla="*/ 37 w 103"/>
                <a:gd name="T17" fmla="*/ 6 h 127"/>
                <a:gd name="T18" fmla="*/ 98 w 103"/>
                <a:gd name="T19" fmla="*/ 123 h 127"/>
                <a:gd name="T20" fmla="*/ 0 w 103"/>
                <a:gd name="T21" fmla="*/ 123 h 127"/>
                <a:gd name="T22" fmla="*/ 0 w 103"/>
                <a:gd name="T23" fmla="*/ 127 h 127"/>
                <a:gd name="T24" fmla="*/ 101 w 103"/>
                <a:gd name="T25" fmla="*/ 127 h 127"/>
                <a:gd name="T26" fmla="*/ 103 w 103"/>
                <a:gd name="T27" fmla="*/ 126 h 127"/>
                <a:gd name="T28" fmla="*/ 103 w 103"/>
                <a:gd name="T29" fmla="*/ 124 h 127"/>
                <a:gd name="T30" fmla="*/ 39 w 103"/>
                <a:gd name="T31" fmla="*/ 1 h 127"/>
                <a:gd name="T32" fmla="*/ 37 w 103"/>
                <a:gd name="T33"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27">
                  <a:moveTo>
                    <a:pt x="36" y="3"/>
                  </a:moveTo>
                  <a:cubicBezTo>
                    <a:pt x="37" y="2"/>
                    <a:pt x="37" y="2"/>
                    <a:pt x="37" y="2"/>
                  </a:cubicBezTo>
                  <a:cubicBezTo>
                    <a:pt x="36" y="3"/>
                    <a:pt x="36" y="3"/>
                    <a:pt x="36" y="3"/>
                  </a:cubicBezTo>
                  <a:moveTo>
                    <a:pt x="37" y="0"/>
                  </a:moveTo>
                  <a:cubicBezTo>
                    <a:pt x="37" y="0"/>
                    <a:pt x="36" y="0"/>
                    <a:pt x="36" y="1"/>
                  </a:cubicBezTo>
                  <a:cubicBezTo>
                    <a:pt x="36" y="1"/>
                    <a:pt x="36" y="1"/>
                    <a:pt x="36" y="1"/>
                  </a:cubicBezTo>
                  <a:cubicBezTo>
                    <a:pt x="0" y="69"/>
                    <a:pt x="0" y="69"/>
                    <a:pt x="0" y="69"/>
                  </a:cubicBezTo>
                  <a:cubicBezTo>
                    <a:pt x="0" y="78"/>
                    <a:pt x="0" y="78"/>
                    <a:pt x="0" y="78"/>
                  </a:cubicBezTo>
                  <a:cubicBezTo>
                    <a:pt x="37" y="6"/>
                    <a:pt x="37" y="6"/>
                    <a:pt x="37" y="6"/>
                  </a:cubicBezTo>
                  <a:cubicBezTo>
                    <a:pt x="98" y="123"/>
                    <a:pt x="98" y="123"/>
                    <a:pt x="98" y="123"/>
                  </a:cubicBezTo>
                  <a:cubicBezTo>
                    <a:pt x="0" y="123"/>
                    <a:pt x="0" y="123"/>
                    <a:pt x="0" y="123"/>
                  </a:cubicBezTo>
                  <a:cubicBezTo>
                    <a:pt x="0" y="127"/>
                    <a:pt x="0" y="127"/>
                    <a:pt x="0" y="127"/>
                  </a:cubicBezTo>
                  <a:cubicBezTo>
                    <a:pt x="101" y="127"/>
                    <a:pt x="101" y="127"/>
                    <a:pt x="101" y="127"/>
                  </a:cubicBezTo>
                  <a:cubicBezTo>
                    <a:pt x="102" y="127"/>
                    <a:pt x="103" y="127"/>
                    <a:pt x="103" y="126"/>
                  </a:cubicBezTo>
                  <a:cubicBezTo>
                    <a:pt x="103" y="126"/>
                    <a:pt x="103" y="125"/>
                    <a:pt x="103" y="124"/>
                  </a:cubicBezTo>
                  <a:cubicBezTo>
                    <a:pt x="39" y="1"/>
                    <a:pt x="39" y="1"/>
                    <a:pt x="39" y="1"/>
                  </a:cubicBezTo>
                  <a:cubicBezTo>
                    <a:pt x="39" y="0"/>
                    <a:pt x="38" y="0"/>
                    <a:pt x="37"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9" name="Freeform 87"/>
            <p:cNvSpPr>
              <a:spLocks noEditPoints="1"/>
            </p:cNvSpPr>
            <p:nvPr userDrawn="1"/>
          </p:nvSpPr>
          <p:spPr bwMode="auto">
            <a:xfrm>
              <a:off x="5365750" y="3708400"/>
              <a:ext cx="153988" cy="215900"/>
            </a:xfrm>
            <a:custGeom>
              <a:avLst/>
              <a:gdLst>
                <a:gd name="T0" fmla="*/ 31 w 62"/>
                <a:gd name="T1" fmla="*/ 83 h 87"/>
                <a:gd name="T2" fmla="*/ 4 w 62"/>
                <a:gd name="T3" fmla="*/ 32 h 87"/>
                <a:gd name="T4" fmla="*/ 17 w 62"/>
                <a:gd name="T5" fmla="*/ 7 h 87"/>
                <a:gd name="T6" fmla="*/ 57 w 62"/>
                <a:gd name="T7" fmla="*/ 83 h 87"/>
                <a:gd name="T8" fmla="*/ 31 w 62"/>
                <a:gd name="T9" fmla="*/ 83 h 87"/>
                <a:gd name="T10" fmla="*/ 16 w 62"/>
                <a:gd name="T11" fmla="*/ 3 h 87"/>
                <a:gd name="T12" fmla="*/ 17 w 62"/>
                <a:gd name="T13" fmla="*/ 2 h 87"/>
                <a:gd name="T14" fmla="*/ 16 w 62"/>
                <a:gd name="T15" fmla="*/ 3 h 87"/>
                <a:gd name="T16" fmla="*/ 17 w 62"/>
                <a:gd name="T17" fmla="*/ 0 h 87"/>
                <a:gd name="T18" fmla="*/ 16 w 62"/>
                <a:gd name="T19" fmla="*/ 1 h 87"/>
                <a:gd name="T20" fmla="*/ 16 w 62"/>
                <a:gd name="T21" fmla="*/ 1 h 87"/>
                <a:gd name="T22" fmla="*/ 0 w 62"/>
                <a:gd name="T23" fmla="*/ 31 h 87"/>
                <a:gd name="T24" fmla="*/ 0 w 62"/>
                <a:gd name="T25" fmla="*/ 33 h 87"/>
                <a:gd name="T26" fmla="*/ 28 w 62"/>
                <a:gd name="T27" fmla="*/ 86 h 87"/>
                <a:gd name="T28" fmla="*/ 30 w 62"/>
                <a:gd name="T29" fmla="*/ 87 h 87"/>
                <a:gd name="T30" fmla="*/ 60 w 62"/>
                <a:gd name="T31" fmla="*/ 87 h 87"/>
                <a:gd name="T32" fmla="*/ 62 w 62"/>
                <a:gd name="T33" fmla="*/ 86 h 87"/>
                <a:gd name="T34" fmla="*/ 62 w 62"/>
                <a:gd name="T35" fmla="*/ 84 h 87"/>
                <a:gd name="T36" fmla="*/ 19 w 62"/>
                <a:gd name="T37" fmla="*/ 1 h 87"/>
                <a:gd name="T38" fmla="*/ 17 w 62"/>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87">
                  <a:moveTo>
                    <a:pt x="31" y="83"/>
                  </a:moveTo>
                  <a:cubicBezTo>
                    <a:pt x="4" y="32"/>
                    <a:pt x="4" y="32"/>
                    <a:pt x="4" y="32"/>
                  </a:cubicBezTo>
                  <a:cubicBezTo>
                    <a:pt x="17" y="7"/>
                    <a:pt x="17" y="7"/>
                    <a:pt x="17" y="7"/>
                  </a:cubicBezTo>
                  <a:cubicBezTo>
                    <a:pt x="57" y="83"/>
                    <a:pt x="57" y="83"/>
                    <a:pt x="57" y="83"/>
                  </a:cubicBezTo>
                  <a:cubicBezTo>
                    <a:pt x="31" y="83"/>
                    <a:pt x="31" y="83"/>
                    <a:pt x="31" y="83"/>
                  </a:cubicBezTo>
                  <a:moveTo>
                    <a:pt x="16" y="3"/>
                  </a:moveTo>
                  <a:cubicBezTo>
                    <a:pt x="17" y="2"/>
                    <a:pt x="17" y="2"/>
                    <a:pt x="17" y="2"/>
                  </a:cubicBezTo>
                  <a:cubicBezTo>
                    <a:pt x="16" y="3"/>
                    <a:pt x="16" y="3"/>
                    <a:pt x="16" y="3"/>
                  </a:cubicBezTo>
                  <a:moveTo>
                    <a:pt x="17" y="0"/>
                  </a:move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30" y="87"/>
                  </a:cubicBezTo>
                  <a:cubicBezTo>
                    <a:pt x="60" y="87"/>
                    <a:pt x="60" y="87"/>
                    <a:pt x="60" y="87"/>
                  </a:cubicBezTo>
                  <a:cubicBezTo>
                    <a:pt x="61" y="87"/>
                    <a:pt x="62" y="87"/>
                    <a:pt x="62" y="86"/>
                  </a:cubicBezTo>
                  <a:cubicBezTo>
                    <a:pt x="62" y="86"/>
                    <a:pt x="62" y="85"/>
                    <a:pt x="62" y="84"/>
                  </a:cubicBezTo>
                  <a:cubicBezTo>
                    <a:pt x="19" y="1"/>
                    <a:pt x="19" y="1"/>
                    <a:pt x="19" y="1"/>
                  </a:cubicBezTo>
                  <a:cubicBezTo>
                    <a:pt x="19" y="1"/>
                    <a:pt x="18" y="0"/>
                    <a:pt x="17"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0" name="Freeform 88"/>
            <p:cNvSpPr>
              <a:spLocks noEditPoints="1"/>
            </p:cNvSpPr>
            <p:nvPr userDrawn="1"/>
          </p:nvSpPr>
          <p:spPr bwMode="auto">
            <a:xfrm>
              <a:off x="5422900" y="3619500"/>
              <a:ext cx="76200" cy="76200"/>
            </a:xfrm>
            <a:custGeom>
              <a:avLst/>
              <a:gdLst>
                <a:gd name="T0" fmla="*/ 31 w 31"/>
                <a:gd name="T1" fmla="*/ 15 h 31"/>
                <a:gd name="T2" fmla="*/ 31 w 31"/>
                <a:gd name="T3" fmla="*/ 15 h 31"/>
                <a:gd name="T4" fmla="*/ 31 w 31"/>
                <a:gd name="T5" fmla="*/ 15 h 31"/>
                <a:gd name="T6" fmla="*/ 15 w 31"/>
                <a:gd name="T7" fmla="*/ 0 h 31"/>
                <a:gd name="T8" fmla="*/ 0 w 31"/>
                <a:gd name="T9" fmla="*/ 15 h 31"/>
                <a:gd name="T10" fmla="*/ 15 w 31"/>
                <a:gd name="T11" fmla="*/ 31 h 31"/>
                <a:gd name="T12" fmla="*/ 31 w 31"/>
                <a:gd name="T13" fmla="*/ 15 h 31"/>
                <a:gd name="T14" fmla="*/ 29 w 31"/>
                <a:gd name="T15" fmla="*/ 15 h 31"/>
                <a:gd name="T16" fmla="*/ 27 w 31"/>
                <a:gd name="T17" fmla="*/ 15 h 31"/>
                <a:gd name="T18" fmla="*/ 15 w 31"/>
                <a:gd name="T19" fmla="*/ 27 h 31"/>
                <a:gd name="T20" fmla="*/ 4 w 31"/>
                <a:gd name="T21" fmla="*/ 15 h 31"/>
                <a:gd name="T22" fmla="*/ 15 w 31"/>
                <a:gd name="T23" fmla="*/ 4 h 31"/>
                <a:gd name="T24" fmla="*/ 27 w 31"/>
                <a:gd name="T25" fmla="*/ 15 h 31"/>
                <a:gd name="T26" fmla="*/ 29 w 31"/>
                <a:gd name="T27" fmla="*/ 15 h 31"/>
                <a:gd name="T28" fmla="*/ 31 w 31"/>
                <a:gd name="T29" fmla="*/ 15 h 31"/>
                <a:gd name="T30" fmla="*/ 31 w 31"/>
                <a:gd name="T31" fmla="*/ 15 h 31"/>
                <a:gd name="T32" fmla="*/ 15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5" y="0"/>
                  </a:moveTo>
                  <a:cubicBezTo>
                    <a:pt x="7" y="0"/>
                    <a:pt x="0" y="7"/>
                    <a:pt x="0" y="15"/>
                  </a:cubicBezTo>
                  <a:cubicBezTo>
                    <a:pt x="0" y="24"/>
                    <a:pt x="7" y="31"/>
                    <a:pt x="15" y="31"/>
                  </a:cubicBezTo>
                  <a:cubicBezTo>
                    <a:pt x="24" y="31"/>
                    <a:pt x="31" y="24"/>
                    <a:pt x="31" y="15"/>
                  </a:cubicBezTo>
                  <a:cubicBezTo>
                    <a:pt x="29" y="15"/>
                    <a:pt x="29" y="15"/>
                    <a:pt x="29" y="15"/>
                  </a:cubicBezTo>
                  <a:cubicBezTo>
                    <a:pt x="27" y="15"/>
                    <a:pt x="27" y="15"/>
                    <a:pt x="27" y="15"/>
                  </a:cubicBezTo>
                  <a:cubicBezTo>
                    <a:pt x="27" y="22"/>
                    <a:pt x="22" y="27"/>
                    <a:pt x="15" y="27"/>
                  </a:cubicBezTo>
                  <a:cubicBezTo>
                    <a:pt x="9" y="27"/>
                    <a:pt x="4" y="22"/>
                    <a:pt x="4" y="15"/>
                  </a:cubicBezTo>
                  <a:cubicBezTo>
                    <a:pt x="4" y="9"/>
                    <a:pt x="9" y="4"/>
                    <a:pt x="15"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5"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1" name="Freeform 89"/>
            <p:cNvSpPr>
              <a:spLocks noEditPoints="1"/>
            </p:cNvSpPr>
            <p:nvPr userDrawn="1"/>
          </p:nvSpPr>
          <p:spPr bwMode="auto">
            <a:xfrm>
              <a:off x="1955800" y="4267200"/>
              <a:ext cx="482600" cy="665163"/>
            </a:xfrm>
            <a:custGeom>
              <a:avLst/>
              <a:gdLst>
                <a:gd name="T0" fmla="*/ 0 w 195"/>
                <a:gd name="T1" fmla="*/ 108 h 268"/>
                <a:gd name="T2" fmla="*/ 0 w 195"/>
                <a:gd name="T3" fmla="*/ 241 h 268"/>
                <a:gd name="T4" fmla="*/ 27 w 195"/>
                <a:gd name="T5" fmla="*/ 268 h 268"/>
                <a:gd name="T6" fmla="*/ 195 w 195"/>
                <a:gd name="T7" fmla="*/ 268 h 268"/>
                <a:gd name="T8" fmla="*/ 195 w 195"/>
                <a:gd name="T9" fmla="*/ 264 h 268"/>
                <a:gd name="T10" fmla="*/ 27 w 195"/>
                <a:gd name="T11" fmla="*/ 264 h 268"/>
                <a:gd name="T12" fmla="*/ 11 w 195"/>
                <a:gd name="T13" fmla="*/ 258 h 268"/>
                <a:gd name="T14" fmla="*/ 4 w 195"/>
                <a:gd name="T15" fmla="*/ 241 h 268"/>
                <a:gd name="T16" fmla="*/ 4 w 195"/>
                <a:gd name="T17" fmla="*/ 111 h 268"/>
                <a:gd name="T18" fmla="*/ 0 w 195"/>
                <a:gd name="T19" fmla="*/ 108 h 268"/>
                <a:gd name="T20" fmla="*/ 195 w 195"/>
                <a:gd name="T21" fmla="*/ 0 h 268"/>
                <a:gd name="T22" fmla="*/ 57 w 195"/>
                <a:gd name="T23" fmla="*/ 0 h 268"/>
                <a:gd name="T24" fmla="*/ 59 w 195"/>
                <a:gd name="T25" fmla="*/ 4 h 268"/>
                <a:gd name="T26" fmla="*/ 195 w 195"/>
                <a:gd name="T27" fmla="*/ 4 h 268"/>
                <a:gd name="T28" fmla="*/ 195 w 195"/>
                <a:gd name="T2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268">
                  <a:moveTo>
                    <a:pt x="0" y="108"/>
                  </a:moveTo>
                  <a:cubicBezTo>
                    <a:pt x="0" y="241"/>
                    <a:pt x="0" y="241"/>
                    <a:pt x="0" y="241"/>
                  </a:cubicBezTo>
                  <a:cubicBezTo>
                    <a:pt x="0" y="256"/>
                    <a:pt x="12" y="268"/>
                    <a:pt x="27" y="268"/>
                  </a:cubicBezTo>
                  <a:cubicBezTo>
                    <a:pt x="195" y="268"/>
                    <a:pt x="195" y="268"/>
                    <a:pt x="195" y="268"/>
                  </a:cubicBezTo>
                  <a:cubicBezTo>
                    <a:pt x="195" y="264"/>
                    <a:pt x="195" y="264"/>
                    <a:pt x="195" y="264"/>
                  </a:cubicBezTo>
                  <a:cubicBezTo>
                    <a:pt x="27" y="264"/>
                    <a:pt x="27" y="264"/>
                    <a:pt x="27" y="264"/>
                  </a:cubicBezTo>
                  <a:cubicBezTo>
                    <a:pt x="21" y="264"/>
                    <a:pt x="15" y="262"/>
                    <a:pt x="11" y="258"/>
                  </a:cubicBezTo>
                  <a:cubicBezTo>
                    <a:pt x="6" y="253"/>
                    <a:pt x="4" y="248"/>
                    <a:pt x="4" y="241"/>
                  </a:cubicBezTo>
                  <a:cubicBezTo>
                    <a:pt x="4" y="111"/>
                    <a:pt x="4" y="111"/>
                    <a:pt x="4" y="111"/>
                  </a:cubicBezTo>
                  <a:cubicBezTo>
                    <a:pt x="2" y="110"/>
                    <a:pt x="1" y="109"/>
                    <a:pt x="0" y="108"/>
                  </a:cubicBezTo>
                  <a:moveTo>
                    <a:pt x="195" y="0"/>
                  </a:moveTo>
                  <a:cubicBezTo>
                    <a:pt x="57" y="0"/>
                    <a:pt x="57" y="0"/>
                    <a:pt x="57" y="0"/>
                  </a:cubicBezTo>
                  <a:cubicBezTo>
                    <a:pt x="58" y="1"/>
                    <a:pt x="59" y="3"/>
                    <a:pt x="59" y="4"/>
                  </a:cubicBezTo>
                  <a:cubicBezTo>
                    <a:pt x="195" y="4"/>
                    <a:pt x="195" y="4"/>
                    <a:pt x="195" y="4"/>
                  </a:cubicBezTo>
                  <a:cubicBezTo>
                    <a:pt x="195" y="0"/>
                    <a:pt x="195" y="0"/>
                    <a:pt x="195"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2" name="Freeform 90"/>
            <p:cNvSpPr/>
            <p:nvPr userDrawn="1"/>
          </p:nvSpPr>
          <p:spPr bwMode="auto">
            <a:xfrm>
              <a:off x="2066925" y="4583113"/>
              <a:ext cx="325438" cy="187325"/>
            </a:xfrm>
            <a:custGeom>
              <a:avLst/>
              <a:gdLst>
                <a:gd name="T0" fmla="*/ 94 w 131"/>
                <a:gd name="T1" fmla="*/ 0 h 76"/>
                <a:gd name="T2" fmla="*/ 89 w 131"/>
                <a:gd name="T3" fmla="*/ 1 h 76"/>
                <a:gd name="T4" fmla="*/ 126 w 131"/>
                <a:gd name="T5" fmla="*/ 72 h 76"/>
                <a:gd name="T6" fmla="*/ 5 w 131"/>
                <a:gd name="T7" fmla="*/ 72 h 76"/>
                <a:gd name="T8" fmla="*/ 39 w 131"/>
                <a:gd name="T9" fmla="*/ 7 h 76"/>
                <a:gd name="T10" fmla="*/ 34 w 131"/>
                <a:gd name="T11" fmla="*/ 7 h 76"/>
                <a:gd name="T12" fmla="*/ 34 w 131"/>
                <a:gd name="T13" fmla="*/ 7 h 76"/>
                <a:gd name="T14" fmla="*/ 0 w 131"/>
                <a:gd name="T15" fmla="*/ 73 h 76"/>
                <a:gd name="T16" fmla="*/ 0 w 131"/>
                <a:gd name="T17" fmla="*/ 75 h 76"/>
                <a:gd name="T18" fmla="*/ 2 w 131"/>
                <a:gd name="T19" fmla="*/ 76 h 76"/>
                <a:gd name="T20" fmla="*/ 129 w 131"/>
                <a:gd name="T21" fmla="*/ 76 h 76"/>
                <a:gd name="T22" fmla="*/ 131 w 131"/>
                <a:gd name="T23" fmla="*/ 75 h 76"/>
                <a:gd name="T24" fmla="*/ 131 w 131"/>
                <a:gd name="T25" fmla="*/ 73 h 76"/>
                <a:gd name="T26" fmla="*/ 94 w 131"/>
                <a:gd name="T2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76">
                  <a:moveTo>
                    <a:pt x="94" y="0"/>
                  </a:moveTo>
                  <a:cubicBezTo>
                    <a:pt x="92" y="1"/>
                    <a:pt x="91" y="1"/>
                    <a:pt x="89" y="1"/>
                  </a:cubicBezTo>
                  <a:cubicBezTo>
                    <a:pt x="126" y="72"/>
                    <a:pt x="126" y="72"/>
                    <a:pt x="126" y="72"/>
                  </a:cubicBezTo>
                  <a:cubicBezTo>
                    <a:pt x="5" y="72"/>
                    <a:pt x="5" y="72"/>
                    <a:pt x="5" y="72"/>
                  </a:cubicBezTo>
                  <a:cubicBezTo>
                    <a:pt x="39" y="7"/>
                    <a:pt x="39" y="7"/>
                    <a:pt x="39" y="7"/>
                  </a:cubicBezTo>
                  <a:cubicBezTo>
                    <a:pt x="37" y="7"/>
                    <a:pt x="36" y="7"/>
                    <a:pt x="34" y="7"/>
                  </a:cubicBezTo>
                  <a:cubicBezTo>
                    <a:pt x="34" y="7"/>
                    <a:pt x="34" y="7"/>
                    <a:pt x="34" y="7"/>
                  </a:cubicBezTo>
                  <a:cubicBezTo>
                    <a:pt x="0" y="73"/>
                    <a:pt x="0" y="73"/>
                    <a:pt x="0" y="73"/>
                  </a:cubicBezTo>
                  <a:cubicBezTo>
                    <a:pt x="0" y="74"/>
                    <a:pt x="0" y="75"/>
                    <a:pt x="0" y="75"/>
                  </a:cubicBezTo>
                  <a:cubicBezTo>
                    <a:pt x="0" y="76"/>
                    <a:pt x="1" y="76"/>
                    <a:pt x="2" y="76"/>
                  </a:cubicBezTo>
                  <a:cubicBezTo>
                    <a:pt x="129" y="76"/>
                    <a:pt x="129" y="76"/>
                    <a:pt x="129" y="76"/>
                  </a:cubicBezTo>
                  <a:cubicBezTo>
                    <a:pt x="130" y="76"/>
                    <a:pt x="131" y="76"/>
                    <a:pt x="131" y="75"/>
                  </a:cubicBezTo>
                  <a:cubicBezTo>
                    <a:pt x="131" y="75"/>
                    <a:pt x="131" y="74"/>
                    <a:pt x="131" y="73"/>
                  </a:cubicBezTo>
                  <a:cubicBezTo>
                    <a:pt x="94" y="0"/>
                    <a:pt x="94" y="0"/>
                    <a:pt x="94"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3" name="Freeform 91"/>
            <p:cNvSpPr>
              <a:spLocks noEditPoints="1"/>
            </p:cNvSpPr>
            <p:nvPr userDrawn="1"/>
          </p:nvSpPr>
          <p:spPr bwMode="auto">
            <a:xfrm>
              <a:off x="2354263" y="4557713"/>
              <a:ext cx="84138" cy="212725"/>
            </a:xfrm>
            <a:custGeom>
              <a:avLst/>
              <a:gdLst>
                <a:gd name="T0" fmla="*/ 16 w 34"/>
                <a:gd name="T1" fmla="*/ 2 h 86"/>
                <a:gd name="T2" fmla="*/ 18 w 34"/>
                <a:gd name="T3" fmla="*/ 1 h 86"/>
                <a:gd name="T4" fmla="*/ 16 w 34"/>
                <a:gd name="T5" fmla="*/ 2 h 86"/>
                <a:gd name="T6" fmla="*/ 19 w 34"/>
                <a:gd name="T7" fmla="*/ 0 h 86"/>
                <a:gd name="T8" fmla="*/ 16 w 34"/>
                <a:gd name="T9" fmla="*/ 1 h 86"/>
                <a:gd name="T10" fmla="*/ 1 w 34"/>
                <a:gd name="T11" fmla="*/ 30 h 86"/>
                <a:gd name="T12" fmla="*/ 1 w 34"/>
                <a:gd name="T13" fmla="*/ 32 h 86"/>
                <a:gd name="T14" fmla="*/ 28 w 34"/>
                <a:gd name="T15" fmla="*/ 85 h 86"/>
                <a:gd name="T16" fmla="*/ 30 w 34"/>
                <a:gd name="T17" fmla="*/ 86 h 86"/>
                <a:gd name="T18" fmla="*/ 34 w 34"/>
                <a:gd name="T19" fmla="*/ 86 h 86"/>
                <a:gd name="T20" fmla="*/ 34 w 34"/>
                <a:gd name="T21" fmla="*/ 82 h 86"/>
                <a:gd name="T22" fmla="*/ 31 w 34"/>
                <a:gd name="T23" fmla="*/ 82 h 86"/>
                <a:gd name="T24" fmla="*/ 5 w 34"/>
                <a:gd name="T25" fmla="*/ 31 h 86"/>
                <a:gd name="T26" fmla="*/ 18 w 34"/>
                <a:gd name="T27" fmla="*/ 6 h 86"/>
                <a:gd name="T28" fmla="*/ 34 w 34"/>
                <a:gd name="T29" fmla="*/ 37 h 86"/>
                <a:gd name="T30" fmla="*/ 34 w 34"/>
                <a:gd name="T31" fmla="*/ 28 h 86"/>
                <a:gd name="T32" fmla="*/ 19 w 34"/>
                <a:gd name="T33" fmla="*/ 0 h 86"/>
                <a:gd name="T34" fmla="*/ 19 w 34"/>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86">
                  <a:moveTo>
                    <a:pt x="16" y="2"/>
                  </a:moveTo>
                  <a:cubicBezTo>
                    <a:pt x="18" y="1"/>
                    <a:pt x="18" y="1"/>
                    <a:pt x="18" y="1"/>
                  </a:cubicBezTo>
                  <a:cubicBezTo>
                    <a:pt x="16" y="2"/>
                    <a:pt x="16" y="2"/>
                    <a:pt x="16" y="2"/>
                  </a:cubicBezTo>
                  <a:moveTo>
                    <a:pt x="19" y="0"/>
                  </a:moveTo>
                  <a:cubicBezTo>
                    <a:pt x="18" y="0"/>
                    <a:pt x="17" y="1"/>
                    <a:pt x="16" y="1"/>
                  </a:cubicBezTo>
                  <a:cubicBezTo>
                    <a:pt x="1" y="30"/>
                    <a:pt x="1" y="30"/>
                    <a:pt x="1" y="30"/>
                  </a:cubicBezTo>
                  <a:cubicBezTo>
                    <a:pt x="0" y="31"/>
                    <a:pt x="0" y="31"/>
                    <a:pt x="1" y="32"/>
                  </a:cubicBezTo>
                  <a:cubicBezTo>
                    <a:pt x="28" y="85"/>
                    <a:pt x="28" y="85"/>
                    <a:pt x="28" y="85"/>
                  </a:cubicBezTo>
                  <a:cubicBezTo>
                    <a:pt x="28" y="86"/>
                    <a:pt x="29" y="86"/>
                    <a:pt x="30" y="86"/>
                  </a:cubicBezTo>
                  <a:cubicBezTo>
                    <a:pt x="34" y="86"/>
                    <a:pt x="34" y="86"/>
                    <a:pt x="34" y="86"/>
                  </a:cubicBezTo>
                  <a:cubicBezTo>
                    <a:pt x="34" y="82"/>
                    <a:pt x="34" y="82"/>
                    <a:pt x="34" y="82"/>
                  </a:cubicBezTo>
                  <a:cubicBezTo>
                    <a:pt x="31" y="82"/>
                    <a:pt x="31" y="82"/>
                    <a:pt x="31" y="82"/>
                  </a:cubicBezTo>
                  <a:cubicBezTo>
                    <a:pt x="5" y="31"/>
                    <a:pt x="5" y="31"/>
                    <a:pt x="5" y="31"/>
                  </a:cubicBezTo>
                  <a:cubicBezTo>
                    <a:pt x="18" y="6"/>
                    <a:pt x="18" y="6"/>
                    <a:pt x="18" y="6"/>
                  </a:cubicBezTo>
                  <a:cubicBezTo>
                    <a:pt x="34" y="37"/>
                    <a:pt x="34" y="37"/>
                    <a:pt x="34" y="37"/>
                  </a:cubicBezTo>
                  <a:cubicBezTo>
                    <a:pt x="34" y="28"/>
                    <a:pt x="34" y="28"/>
                    <a:pt x="34" y="28"/>
                  </a:cubicBezTo>
                  <a:cubicBezTo>
                    <a:pt x="19" y="0"/>
                    <a:pt x="19" y="0"/>
                    <a:pt x="19" y="0"/>
                  </a:cubicBezTo>
                  <a:cubicBezTo>
                    <a:pt x="19" y="0"/>
                    <a:pt x="19" y="0"/>
                    <a:pt x="19"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4" name="Freeform 92"/>
            <p:cNvSpPr>
              <a:spLocks noEditPoints="1"/>
            </p:cNvSpPr>
            <p:nvPr userDrawn="1"/>
          </p:nvSpPr>
          <p:spPr bwMode="auto">
            <a:xfrm>
              <a:off x="5146675" y="4267200"/>
              <a:ext cx="484188" cy="665163"/>
            </a:xfrm>
            <a:custGeom>
              <a:avLst/>
              <a:gdLst>
                <a:gd name="T0" fmla="*/ 195 w 195"/>
                <a:gd name="T1" fmla="*/ 53 h 268"/>
                <a:gd name="T2" fmla="*/ 191 w 195"/>
                <a:gd name="T3" fmla="*/ 55 h 268"/>
                <a:gd name="T4" fmla="*/ 191 w 195"/>
                <a:gd name="T5" fmla="*/ 241 h 268"/>
                <a:gd name="T6" fmla="*/ 184 w 195"/>
                <a:gd name="T7" fmla="*/ 258 h 268"/>
                <a:gd name="T8" fmla="*/ 168 w 195"/>
                <a:gd name="T9" fmla="*/ 264 h 268"/>
                <a:gd name="T10" fmla="*/ 168 w 195"/>
                <a:gd name="T11" fmla="*/ 264 h 268"/>
                <a:gd name="T12" fmla="*/ 135 w 195"/>
                <a:gd name="T13" fmla="*/ 264 h 268"/>
                <a:gd name="T14" fmla="*/ 134 w 195"/>
                <a:gd name="T15" fmla="*/ 268 h 268"/>
                <a:gd name="T16" fmla="*/ 168 w 195"/>
                <a:gd name="T17" fmla="*/ 268 h 268"/>
                <a:gd name="T18" fmla="*/ 195 w 195"/>
                <a:gd name="T19" fmla="*/ 241 h 268"/>
                <a:gd name="T20" fmla="*/ 195 w 195"/>
                <a:gd name="T21" fmla="*/ 53 h 268"/>
                <a:gd name="T22" fmla="*/ 68 w 195"/>
                <a:gd name="T23" fmla="*/ 0 h 268"/>
                <a:gd name="T24" fmla="*/ 0 w 195"/>
                <a:gd name="T25" fmla="*/ 0 h 268"/>
                <a:gd name="T26" fmla="*/ 0 w 195"/>
                <a:gd name="T27" fmla="*/ 4 h 268"/>
                <a:gd name="T28" fmla="*/ 54 w 195"/>
                <a:gd name="T29" fmla="*/ 4 h 268"/>
                <a:gd name="T30" fmla="*/ 68 w 195"/>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5" h="268">
                  <a:moveTo>
                    <a:pt x="195" y="53"/>
                  </a:moveTo>
                  <a:cubicBezTo>
                    <a:pt x="194" y="54"/>
                    <a:pt x="192" y="55"/>
                    <a:pt x="191" y="55"/>
                  </a:cubicBezTo>
                  <a:cubicBezTo>
                    <a:pt x="191" y="241"/>
                    <a:pt x="191" y="241"/>
                    <a:pt x="191" y="241"/>
                  </a:cubicBezTo>
                  <a:cubicBezTo>
                    <a:pt x="191" y="248"/>
                    <a:pt x="189" y="253"/>
                    <a:pt x="184" y="258"/>
                  </a:cubicBezTo>
                  <a:cubicBezTo>
                    <a:pt x="180" y="262"/>
                    <a:pt x="174" y="264"/>
                    <a:pt x="168" y="264"/>
                  </a:cubicBezTo>
                  <a:cubicBezTo>
                    <a:pt x="168" y="264"/>
                    <a:pt x="168" y="264"/>
                    <a:pt x="168" y="264"/>
                  </a:cubicBezTo>
                  <a:cubicBezTo>
                    <a:pt x="135" y="264"/>
                    <a:pt x="135" y="264"/>
                    <a:pt x="135" y="264"/>
                  </a:cubicBezTo>
                  <a:cubicBezTo>
                    <a:pt x="135" y="266"/>
                    <a:pt x="135" y="267"/>
                    <a:pt x="134" y="268"/>
                  </a:cubicBezTo>
                  <a:cubicBezTo>
                    <a:pt x="168" y="268"/>
                    <a:pt x="168" y="268"/>
                    <a:pt x="168" y="268"/>
                  </a:cubicBezTo>
                  <a:cubicBezTo>
                    <a:pt x="183" y="268"/>
                    <a:pt x="195" y="256"/>
                    <a:pt x="195" y="241"/>
                  </a:cubicBezTo>
                  <a:cubicBezTo>
                    <a:pt x="195" y="53"/>
                    <a:pt x="195" y="53"/>
                    <a:pt x="195" y="53"/>
                  </a:cubicBezTo>
                  <a:moveTo>
                    <a:pt x="68" y="0"/>
                  </a:moveTo>
                  <a:cubicBezTo>
                    <a:pt x="0" y="0"/>
                    <a:pt x="0" y="0"/>
                    <a:pt x="0" y="0"/>
                  </a:cubicBezTo>
                  <a:cubicBezTo>
                    <a:pt x="0" y="4"/>
                    <a:pt x="0" y="4"/>
                    <a:pt x="0" y="4"/>
                  </a:cubicBezTo>
                  <a:cubicBezTo>
                    <a:pt x="54" y="4"/>
                    <a:pt x="54" y="4"/>
                    <a:pt x="54" y="4"/>
                  </a:cubicBezTo>
                  <a:cubicBezTo>
                    <a:pt x="59" y="3"/>
                    <a:pt x="63" y="1"/>
                    <a:pt x="68"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5" name="Freeform 93"/>
            <p:cNvSpPr/>
            <p:nvPr userDrawn="1"/>
          </p:nvSpPr>
          <p:spPr bwMode="auto">
            <a:xfrm>
              <a:off x="5492750" y="4711700"/>
              <a:ext cx="26988" cy="58738"/>
            </a:xfrm>
            <a:custGeom>
              <a:avLst/>
              <a:gdLst>
                <a:gd name="T0" fmla="*/ 0 w 11"/>
                <a:gd name="T1" fmla="*/ 0 h 24"/>
                <a:gd name="T2" fmla="*/ 2 w 11"/>
                <a:gd name="T3" fmla="*/ 12 h 24"/>
                <a:gd name="T4" fmla="*/ 6 w 11"/>
                <a:gd name="T5" fmla="*/ 20 h 24"/>
                <a:gd name="T6" fmla="*/ 3 w 11"/>
                <a:gd name="T7" fmla="*/ 20 h 24"/>
                <a:gd name="T8" fmla="*/ 3 w 11"/>
                <a:gd name="T9" fmla="*/ 24 h 24"/>
                <a:gd name="T10" fmla="*/ 9 w 11"/>
                <a:gd name="T11" fmla="*/ 24 h 24"/>
                <a:gd name="T12" fmla="*/ 11 w 11"/>
                <a:gd name="T13" fmla="*/ 23 h 24"/>
                <a:gd name="T14" fmla="*/ 11 w 11"/>
                <a:gd name="T15" fmla="*/ 21 h 24"/>
                <a:gd name="T16" fmla="*/ 0 w 1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4">
                  <a:moveTo>
                    <a:pt x="0" y="0"/>
                  </a:moveTo>
                  <a:cubicBezTo>
                    <a:pt x="1" y="4"/>
                    <a:pt x="2" y="8"/>
                    <a:pt x="2" y="12"/>
                  </a:cubicBezTo>
                  <a:cubicBezTo>
                    <a:pt x="6" y="20"/>
                    <a:pt x="6" y="20"/>
                    <a:pt x="6" y="20"/>
                  </a:cubicBezTo>
                  <a:cubicBezTo>
                    <a:pt x="3" y="20"/>
                    <a:pt x="3" y="20"/>
                    <a:pt x="3" y="20"/>
                  </a:cubicBezTo>
                  <a:cubicBezTo>
                    <a:pt x="3" y="21"/>
                    <a:pt x="3" y="23"/>
                    <a:pt x="3" y="24"/>
                  </a:cubicBezTo>
                  <a:cubicBezTo>
                    <a:pt x="9" y="24"/>
                    <a:pt x="9" y="24"/>
                    <a:pt x="9" y="24"/>
                  </a:cubicBezTo>
                  <a:cubicBezTo>
                    <a:pt x="10" y="24"/>
                    <a:pt x="11" y="24"/>
                    <a:pt x="11" y="23"/>
                  </a:cubicBezTo>
                  <a:cubicBezTo>
                    <a:pt x="11" y="23"/>
                    <a:pt x="11" y="22"/>
                    <a:pt x="11" y="21"/>
                  </a:cubicBezTo>
                  <a:cubicBezTo>
                    <a:pt x="0" y="0"/>
                    <a:pt x="0" y="0"/>
                    <a:pt x="0"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6" name="Freeform 94"/>
            <p:cNvSpPr>
              <a:spLocks noEditPoints="1"/>
            </p:cNvSpPr>
            <p:nvPr userDrawn="1"/>
          </p:nvSpPr>
          <p:spPr bwMode="auto">
            <a:xfrm>
              <a:off x="5422900" y="4465638"/>
              <a:ext cx="76200" cy="77788"/>
            </a:xfrm>
            <a:custGeom>
              <a:avLst/>
              <a:gdLst>
                <a:gd name="T0" fmla="*/ 31 w 31"/>
                <a:gd name="T1" fmla="*/ 15 h 31"/>
                <a:gd name="T2" fmla="*/ 31 w 31"/>
                <a:gd name="T3" fmla="*/ 15 h 31"/>
                <a:gd name="T4" fmla="*/ 31 w 31"/>
                <a:gd name="T5" fmla="*/ 15 h 31"/>
                <a:gd name="T6" fmla="*/ 15 w 31"/>
                <a:gd name="T7" fmla="*/ 0 h 31"/>
                <a:gd name="T8" fmla="*/ 0 w 31"/>
                <a:gd name="T9" fmla="*/ 15 h 31"/>
                <a:gd name="T10" fmla="*/ 15 w 31"/>
                <a:gd name="T11" fmla="*/ 31 h 31"/>
                <a:gd name="T12" fmla="*/ 31 w 31"/>
                <a:gd name="T13" fmla="*/ 15 h 31"/>
                <a:gd name="T14" fmla="*/ 29 w 31"/>
                <a:gd name="T15" fmla="*/ 15 h 31"/>
                <a:gd name="T16" fmla="*/ 27 w 31"/>
                <a:gd name="T17" fmla="*/ 15 h 31"/>
                <a:gd name="T18" fmla="*/ 15 w 31"/>
                <a:gd name="T19" fmla="*/ 27 h 31"/>
                <a:gd name="T20" fmla="*/ 4 w 31"/>
                <a:gd name="T21" fmla="*/ 15 h 31"/>
                <a:gd name="T22" fmla="*/ 15 w 31"/>
                <a:gd name="T23" fmla="*/ 4 h 31"/>
                <a:gd name="T24" fmla="*/ 27 w 31"/>
                <a:gd name="T25" fmla="*/ 15 h 31"/>
                <a:gd name="T26" fmla="*/ 29 w 31"/>
                <a:gd name="T27" fmla="*/ 15 h 31"/>
                <a:gd name="T28" fmla="*/ 31 w 31"/>
                <a:gd name="T29" fmla="*/ 15 h 31"/>
                <a:gd name="T30" fmla="*/ 31 w 31"/>
                <a:gd name="T31" fmla="*/ 15 h 31"/>
                <a:gd name="T32" fmla="*/ 15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5" y="0"/>
                  </a:moveTo>
                  <a:cubicBezTo>
                    <a:pt x="7" y="0"/>
                    <a:pt x="0" y="7"/>
                    <a:pt x="0" y="15"/>
                  </a:cubicBezTo>
                  <a:cubicBezTo>
                    <a:pt x="0" y="24"/>
                    <a:pt x="7" y="31"/>
                    <a:pt x="15" y="31"/>
                  </a:cubicBezTo>
                  <a:cubicBezTo>
                    <a:pt x="24" y="31"/>
                    <a:pt x="31" y="24"/>
                    <a:pt x="31" y="15"/>
                  </a:cubicBezTo>
                  <a:cubicBezTo>
                    <a:pt x="29" y="15"/>
                    <a:pt x="29" y="15"/>
                    <a:pt x="29" y="15"/>
                  </a:cubicBezTo>
                  <a:cubicBezTo>
                    <a:pt x="27" y="15"/>
                    <a:pt x="27" y="15"/>
                    <a:pt x="27" y="15"/>
                  </a:cubicBezTo>
                  <a:cubicBezTo>
                    <a:pt x="27" y="21"/>
                    <a:pt x="22" y="26"/>
                    <a:pt x="15" y="27"/>
                  </a:cubicBezTo>
                  <a:cubicBezTo>
                    <a:pt x="9" y="26"/>
                    <a:pt x="4" y="21"/>
                    <a:pt x="4" y="15"/>
                  </a:cubicBezTo>
                  <a:cubicBezTo>
                    <a:pt x="4" y="9"/>
                    <a:pt x="9" y="4"/>
                    <a:pt x="15"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5"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7" name="Freeform 95"/>
            <p:cNvSpPr/>
            <p:nvPr userDrawn="1"/>
          </p:nvSpPr>
          <p:spPr bwMode="auto">
            <a:xfrm>
              <a:off x="2914650" y="5137150"/>
              <a:ext cx="1755775" cy="95250"/>
            </a:xfrm>
            <a:custGeom>
              <a:avLst/>
              <a:gdLst>
                <a:gd name="T0" fmla="*/ 19 w 708"/>
                <a:gd name="T1" fmla="*/ 38 h 38"/>
                <a:gd name="T2" fmla="*/ 0 w 708"/>
                <a:gd name="T3" fmla="*/ 19 h 38"/>
                <a:gd name="T4" fmla="*/ 19 w 708"/>
                <a:gd name="T5" fmla="*/ 0 h 38"/>
                <a:gd name="T6" fmla="*/ 689 w 708"/>
                <a:gd name="T7" fmla="*/ 0 h 38"/>
                <a:gd name="T8" fmla="*/ 708 w 708"/>
                <a:gd name="T9" fmla="*/ 19 h 38"/>
                <a:gd name="T10" fmla="*/ 689 w 708"/>
                <a:gd name="T11" fmla="*/ 38 h 38"/>
                <a:gd name="T12" fmla="*/ 19 w 708"/>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708" h="38">
                  <a:moveTo>
                    <a:pt x="19" y="38"/>
                  </a:moveTo>
                  <a:cubicBezTo>
                    <a:pt x="9" y="38"/>
                    <a:pt x="0" y="30"/>
                    <a:pt x="0" y="19"/>
                  </a:cubicBezTo>
                  <a:cubicBezTo>
                    <a:pt x="0" y="8"/>
                    <a:pt x="9" y="0"/>
                    <a:pt x="19" y="0"/>
                  </a:cubicBezTo>
                  <a:cubicBezTo>
                    <a:pt x="689" y="0"/>
                    <a:pt x="689" y="0"/>
                    <a:pt x="689" y="0"/>
                  </a:cubicBezTo>
                  <a:cubicBezTo>
                    <a:pt x="699" y="0"/>
                    <a:pt x="708" y="8"/>
                    <a:pt x="708" y="19"/>
                  </a:cubicBezTo>
                  <a:cubicBezTo>
                    <a:pt x="708" y="30"/>
                    <a:pt x="699" y="38"/>
                    <a:pt x="689" y="38"/>
                  </a:cubicBezTo>
                  <a:lnTo>
                    <a:pt x="19" y="3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8" name="Freeform 96"/>
            <p:cNvSpPr>
              <a:spLocks noEditPoints="1"/>
            </p:cNvSpPr>
            <p:nvPr userDrawn="1"/>
          </p:nvSpPr>
          <p:spPr bwMode="auto">
            <a:xfrm>
              <a:off x="2909888" y="5132388"/>
              <a:ext cx="1766888" cy="104775"/>
            </a:xfrm>
            <a:custGeom>
              <a:avLst/>
              <a:gdLst>
                <a:gd name="T0" fmla="*/ 691 w 712"/>
                <a:gd name="T1" fmla="*/ 4 h 42"/>
                <a:gd name="T2" fmla="*/ 708 w 712"/>
                <a:gd name="T3" fmla="*/ 21 h 42"/>
                <a:gd name="T4" fmla="*/ 691 w 712"/>
                <a:gd name="T5" fmla="*/ 38 h 42"/>
                <a:gd name="T6" fmla="*/ 21 w 712"/>
                <a:gd name="T7" fmla="*/ 38 h 42"/>
                <a:gd name="T8" fmla="*/ 4 w 712"/>
                <a:gd name="T9" fmla="*/ 21 h 42"/>
                <a:gd name="T10" fmla="*/ 21 w 712"/>
                <a:gd name="T11" fmla="*/ 4 h 42"/>
                <a:gd name="T12" fmla="*/ 691 w 712"/>
                <a:gd name="T13" fmla="*/ 4 h 42"/>
                <a:gd name="T14" fmla="*/ 691 w 712"/>
                <a:gd name="T15" fmla="*/ 0 h 42"/>
                <a:gd name="T16" fmla="*/ 21 w 712"/>
                <a:gd name="T17" fmla="*/ 0 h 42"/>
                <a:gd name="T18" fmla="*/ 0 w 712"/>
                <a:gd name="T19" fmla="*/ 21 h 42"/>
                <a:gd name="T20" fmla="*/ 21 w 712"/>
                <a:gd name="T21" fmla="*/ 42 h 42"/>
                <a:gd name="T22" fmla="*/ 691 w 712"/>
                <a:gd name="T23" fmla="*/ 42 h 42"/>
                <a:gd name="T24" fmla="*/ 712 w 712"/>
                <a:gd name="T25" fmla="*/ 21 h 42"/>
                <a:gd name="T26" fmla="*/ 691 w 712"/>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2" h="42">
                  <a:moveTo>
                    <a:pt x="691" y="4"/>
                  </a:moveTo>
                  <a:cubicBezTo>
                    <a:pt x="700" y="4"/>
                    <a:pt x="708" y="12"/>
                    <a:pt x="708" y="21"/>
                  </a:cubicBezTo>
                  <a:cubicBezTo>
                    <a:pt x="708" y="31"/>
                    <a:pt x="700" y="38"/>
                    <a:pt x="691" y="38"/>
                  </a:cubicBezTo>
                  <a:cubicBezTo>
                    <a:pt x="21" y="38"/>
                    <a:pt x="21" y="38"/>
                    <a:pt x="21" y="38"/>
                  </a:cubicBezTo>
                  <a:cubicBezTo>
                    <a:pt x="12" y="38"/>
                    <a:pt x="4" y="31"/>
                    <a:pt x="4" y="21"/>
                  </a:cubicBezTo>
                  <a:cubicBezTo>
                    <a:pt x="4" y="12"/>
                    <a:pt x="12" y="4"/>
                    <a:pt x="21" y="4"/>
                  </a:cubicBezTo>
                  <a:cubicBezTo>
                    <a:pt x="691" y="4"/>
                    <a:pt x="691" y="4"/>
                    <a:pt x="691" y="4"/>
                  </a:cubicBezTo>
                  <a:moveTo>
                    <a:pt x="691" y="0"/>
                  </a:moveTo>
                  <a:cubicBezTo>
                    <a:pt x="21" y="0"/>
                    <a:pt x="21" y="0"/>
                    <a:pt x="21" y="0"/>
                  </a:cubicBezTo>
                  <a:cubicBezTo>
                    <a:pt x="10" y="0"/>
                    <a:pt x="0" y="9"/>
                    <a:pt x="0" y="21"/>
                  </a:cubicBezTo>
                  <a:cubicBezTo>
                    <a:pt x="0" y="33"/>
                    <a:pt x="10" y="42"/>
                    <a:pt x="21" y="42"/>
                  </a:cubicBezTo>
                  <a:cubicBezTo>
                    <a:pt x="691" y="42"/>
                    <a:pt x="691" y="42"/>
                    <a:pt x="691" y="42"/>
                  </a:cubicBezTo>
                  <a:cubicBezTo>
                    <a:pt x="702" y="42"/>
                    <a:pt x="712" y="33"/>
                    <a:pt x="712" y="21"/>
                  </a:cubicBezTo>
                  <a:cubicBezTo>
                    <a:pt x="712" y="9"/>
                    <a:pt x="702" y="0"/>
                    <a:pt x="691" y="0"/>
                  </a:cubicBez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9" name="Freeform 97"/>
            <p:cNvSpPr/>
            <p:nvPr userDrawn="1"/>
          </p:nvSpPr>
          <p:spPr bwMode="auto">
            <a:xfrm>
              <a:off x="2919413" y="5141913"/>
              <a:ext cx="1211263" cy="85725"/>
            </a:xfrm>
            <a:custGeom>
              <a:avLst/>
              <a:gdLst>
                <a:gd name="T0" fmla="*/ 488 w 488"/>
                <a:gd name="T1" fmla="*/ 0 h 34"/>
                <a:gd name="T2" fmla="*/ 17 w 488"/>
                <a:gd name="T3" fmla="*/ 0 h 34"/>
                <a:gd name="T4" fmla="*/ 0 w 488"/>
                <a:gd name="T5" fmla="*/ 17 h 34"/>
                <a:gd name="T6" fmla="*/ 17 w 488"/>
                <a:gd name="T7" fmla="*/ 34 h 34"/>
                <a:gd name="T8" fmla="*/ 488 w 488"/>
                <a:gd name="T9" fmla="*/ 34 h 34"/>
                <a:gd name="T10" fmla="*/ 488 w 488"/>
                <a:gd name="T11" fmla="*/ 0 h 34"/>
              </a:gdLst>
              <a:ahLst/>
              <a:cxnLst>
                <a:cxn ang="0">
                  <a:pos x="T0" y="T1"/>
                </a:cxn>
                <a:cxn ang="0">
                  <a:pos x="T2" y="T3"/>
                </a:cxn>
                <a:cxn ang="0">
                  <a:pos x="T4" y="T5"/>
                </a:cxn>
                <a:cxn ang="0">
                  <a:pos x="T6" y="T7"/>
                </a:cxn>
                <a:cxn ang="0">
                  <a:pos x="T8" y="T9"/>
                </a:cxn>
                <a:cxn ang="0">
                  <a:pos x="T10" y="T11"/>
                </a:cxn>
              </a:cxnLst>
              <a:rect l="0" t="0" r="r" b="b"/>
              <a:pathLst>
                <a:path w="488" h="34">
                  <a:moveTo>
                    <a:pt x="488" y="0"/>
                  </a:moveTo>
                  <a:cubicBezTo>
                    <a:pt x="17" y="0"/>
                    <a:pt x="17" y="0"/>
                    <a:pt x="17" y="0"/>
                  </a:cubicBezTo>
                  <a:cubicBezTo>
                    <a:pt x="8" y="0"/>
                    <a:pt x="0" y="8"/>
                    <a:pt x="0" y="17"/>
                  </a:cubicBezTo>
                  <a:cubicBezTo>
                    <a:pt x="0" y="27"/>
                    <a:pt x="8" y="34"/>
                    <a:pt x="17" y="34"/>
                  </a:cubicBezTo>
                  <a:cubicBezTo>
                    <a:pt x="488" y="34"/>
                    <a:pt x="488" y="34"/>
                    <a:pt x="488" y="34"/>
                  </a:cubicBezTo>
                  <a:lnTo>
                    <a:pt x="488" y="0"/>
                  </a:lnTo>
                  <a:close/>
                </a:path>
              </a:pathLst>
            </a:custGeom>
            <a:solidFill>
              <a:srgbClr val="295CC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0" name="Rectangle 111"/>
            <p:cNvSpPr>
              <a:spLocks noChangeArrowheads="1"/>
            </p:cNvSpPr>
            <p:nvPr userDrawn="1"/>
          </p:nvSpPr>
          <p:spPr bwMode="auto">
            <a:xfrm>
              <a:off x="1717675" y="3081338"/>
              <a:ext cx="4141788" cy="9525"/>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61" name="Rectangle 112"/>
            <p:cNvSpPr>
              <a:spLocks noChangeArrowheads="1"/>
            </p:cNvSpPr>
            <p:nvPr userDrawn="1"/>
          </p:nvSpPr>
          <p:spPr bwMode="auto">
            <a:xfrm>
              <a:off x="1717675" y="3081338"/>
              <a:ext cx="4141788" cy="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62" name="Rectangle 113"/>
            <p:cNvSpPr>
              <a:spLocks noChangeArrowheads="1"/>
            </p:cNvSpPr>
            <p:nvPr userDrawn="1"/>
          </p:nvSpPr>
          <p:spPr bwMode="auto">
            <a:xfrm>
              <a:off x="2436813" y="2847975"/>
              <a:ext cx="2995613" cy="141288"/>
            </a:xfrm>
            <a:prstGeom prst="rect">
              <a:avLst/>
            </a:prstGeom>
            <a:solidFill>
              <a:srgbClr val="CADE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63" name="Freeform 114"/>
            <p:cNvSpPr/>
            <p:nvPr userDrawn="1"/>
          </p:nvSpPr>
          <p:spPr bwMode="auto">
            <a:xfrm>
              <a:off x="1838325" y="2879725"/>
              <a:ext cx="87313" cy="84138"/>
            </a:xfrm>
            <a:custGeom>
              <a:avLst/>
              <a:gdLst>
                <a:gd name="T0" fmla="*/ 33 w 35"/>
                <a:gd name="T1" fmla="*/ 17 h 34"/>
                <a:gd name="T2" fmla="*/ 31 w 35"/>
                <a:gd name="T3" fmla="*/ 17 h 34"/>
                <a:gd name="T4" fmla="*/ 18 w 35"/>
                <a:gd name="T5" fmla="*/ 30 h 34"/>
                <a:gd name="T6" fmla="*/ 4 w 35"/>
                <a:gd name="T7" fmla="*/ 17 h 34"/>
                <a:gd name="T8" fmla="*/ 18 w 35"/>
                <a:gd name="T9" fmla="*/ 4 h 34"/>
                <a:gd name="T10" fmla="*/ 31 w 35"/>
                <a:gd name="T11" fmla="*/ 17 h 34"/>
                <a:gd name="T12" fmla="*/ 33 w 35"/>
                <a:gd name="T13" fmla="*/ 17 h 34"/>
                <a:gd name="T14" fmla="*/ 35 w 35"/>
                <a:gd name="T15" fmla="*/ 17 h 34"/>
                <a:gd name="T16" fmla="*/ 18 w 35"/>
                <a:gd name="T17" fmla="*/ 0 h 34"/>
                <a:gd name="T18" fmla="*/ 0 w 35"/>
                <a:gd name="T19" fmla="*/ 17 h 34"/>
                <a:gd name="T20" fmla="*/ 18 w 35"/>
                <a:gd name="T21" fmla="*/ 34 h 34"/>
                <a:gd name="T22" fmla="*/ 35 w 35"/>
                <a:gd name="T23" fmla="*/ 17 h 34"/>
                <a:gd name="T24" fmla="*/ 33 w 35"/>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4">
                  <a:moveTo>
                    <a:pt x="33" y="17"/>
                  </a:moveTo>
                  <a:cubicBezTo>
                    <a:pt x="31" y="17"/>
                    <a:pt x="31" y="17"/>
                    <a:pt x="31" y="17"/>
                  </a:cubicBezTo>
                  <a:cubicBezTo>
                    <a:pt x="31" y="24"/>
                    <a:pt x="25" y="30"/>
                    <a:pt x="18" y="30"/>
                  </a:cubicBezTo>
                  <a:cubicBezTo>
                    <a:pt x="10" y="30"/>
                    <a:pt x="4" y="24"/>
                    <a:pt x="4" y="17"/>
                  </a:cubicBezTo>
                  <a:cubicBezTo>
                    <a:pt x="4" y="10"/>
                    <a:pt x="10" y="4"/>
                    <a:pt x="18" y="4"/>
                  </a:cubicBezTo>
                  <a:cubicBezTo>
                    <a:pt x="25" y="4"/>
                    <a:pt x="31" y="10"/>
                    <a:pt x="31" y="17"/>
                  </a:cubicBezTo>
                  <a:cubicBezTo>
                    <a:pt x="33" y="17"/>
                    <a:pt x="33" y="17"/>
                    <a:pt x="33" y="17"/>
                  </a:cubicBezTo>
                  <a:cubicBezTo>
                    <a:pt x="35" y="17"/>
                    <a:pt x="35" y="17"/>
                    <a:pt x="35" y="17"/>
                  </a:cubicBezTo>
                  <a:cubicBezTo>
                    <a:pt x="35" y="8"/>
                    <a:pt x="27" y="0"/>
                    <a:pt x="18" y="0"/>
                  </a:cubicBezTo>
                  <a:cubicBezTo>
                    <a:pt x="8" y="0"/>
                    <a:pt x="0" y="8"/>
                    <a:pt x="0" y="17"/>
                  </a:cubicBezTo>
                  <a:cubicBezTo>
                    <a:pt x="0" y="27"/>
                    <a:pt x="8" y="34"/>
                    <a:pt x="18" y="34"/>
                  </a:cubicBezTo>
                  <a:cubicBezTo>
                    <a:pt x="27" y="34"/>
                    <a:pt x="35" y="27"/>
                    <a:pt x="35" y="17"/>
                  </a:cubicBezTo>
                  <a:lnTo>
                    <a:pt x="33" y="17"/>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4" name="Freeform 115"/>
            <p:cNvSpPr/>
            <p:nvPr userDrawn="1"/>
          </p:nvSpPr>
          <p:spPr bwMode="auto">
            <a:xfrm>
              <a:off x="2017713" y="2879725"/>
              <a:ext cx="84138" cy="84138"/>
            </a:xfrm>
            <a:custGeom>
              <a:avLst/>
              <a:gdLst>
                <a:gd name="T0" fmla="*/ 32 w 34"/>
                <a:gd name="T1" fmla="*/ 17 h 34"/>
                <a:gd name="T2" fmla="*/ 30 w 34"/>
                <a:gd name="T3" fmla="*/ 17 h 34"/>
                <a:gd name="T4" fmla="*/ 17 w 34"/>
                <a:gd name="T5" fmla="*/ 30 h 34"/>
                <a:gd name="T6" fmla="*/ 4 w 34"/>
                <a:gd name="T7" fmla="*/ 17 h 34"/>
                <a:gd name="T8" fmla="*/ 17 w 34"/>
                <a:gd name="T9" fmla="*/ 4 h 34"/>
                <a:gd name="T10" fmla="*/ 30 w 34"/>
                <a:gd name="T11" fmla="*/ 17 h 34"/>
                <a:gd name="T12" fmla="*/ 32 w 34"/>
                <a:gd name="T13" fmla="*/ 17 h 34"/>
                <a:gd name="T14" fmla="*/ 34 w 34"/>
                <a:gd name="T15" fmla="*/ 17 h 34"/>
                <a:gd name="T16" fmla="*/ 17 w 34"/>
                <a:gd name="T17" fmla="*/ 0 h 34"/>
                <a:gd name="T18" fmla="*/ 0 w 34"/>
                <a:gd name="T19" fmla="*/ 17 h 34"/>
                <a:gd name="T20" fmla="*/ 17 w 34"/>
                <a:gd name="T21" fmla="*/ 34 h 34"/>
                <a:gd name="T22" fmla="*/ 34 w 34"/>
                <a:gd name="T23" fmla="*/ 17 h 34"/>
                <a:gd name="T24" fmla="*/ 32 w 34"/>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4">
                  <a:moveTo>
                    <a:pt x="32" y="17"/>
                  </a:moveTo>
                  <a:cubicBezTo>
                    <a:pt x="30" y="17"/>
                    <a:pt x="30" y="17"/>
                    <a:pt x="30" y="17"/>
                  </a:cubicBezTo>
                  <a:cubicBezTo>
                    <a:pt x="30" y="24"/>
                    <a:pt x="24" y="30"/>
                    <a:pt x="17" y="30"/>
                  </a:cubicBezTo>
                  <a:cubicBezTo>
                    <a:pt x="9" y="30"/>
                    <a:pt x="4" y="24"/>
                    <a:pt x="4" y="17"/>
                  </a:cubicBezTo>
                  <a:cubicBezTo>
                    <a:pt x="4" y="10"/>
                    <a:pt x="9" y="4"/>
                    <a:pt x="17" y="4"/>
                  </a:cubicBezTo>
                  <a:cubicBezTo>
                    <a:pt x="24" y="4"/>
                    <a:pt x="30" y="10"/>
                    <a:pt x="30" y="17"/>
                  </a:cubicBezTo>
                  <a:cubicBezTo>
                    <a:pt x="32" y="17"/>
                    <a:pt x="32" y="17"/>
                    <a:pt x="32" y="17"/>
                  </a:cubicBezTo>
                  <a:cubicBezTo>
                    <a:pt x="34" y="17"/>
                    <a:pt x="34" y="17"/>
                    <a:pt x="34" y="17"/>
                  </a:cubicBezTo>
                  <a:cubicBezTo>
                    <a:pt x="34" y="8"/>
                    <a:pt x="26" y="0"/>
                    <a:pt x="17" y="0"/>
                  </a:cubicBezTo>
                  <a:cubicBezTo>
                    <a:pt x="7" y="0"/>
                    <a:pt x="0" y="8"/>
                    <a:pt x="0" y="17"/>
                  </a:cubicBezTo>
                  <a:cubicBezTo>
                    <a:pt x="0" y="27"/>
                    <a:pt x="7" y="34"/>
                    <a:pt x="17" y="34"/>
                  </a:cubicBezTo>
                  <a:cubicBezTo>
                    <a:pt x="26" y="34"/>
                    <a:pt x="34" y="27"/>
                    <a:pt x="34" y="17"/>
                  </a:cubicBezTo>
                  <a:lnTo>
                    <a:pt x="32" y="17"/>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5" name="Freeform 116"/>
            <p:cNvSpPr/>
            <p:nvPr userDrawn="1"/>
          </p:nvSpPr>
          <p:spPr bwMode="auto">
            <a:xfrm>
              <a:off x="2193925" y="2879725"/>
              <a:ext cx="84138" cy="84138"/>
            </a:xfrm>
            <a:custGeom>
              <a:avLst/>
              <a:gdLst>
                <a:gd name="T0" fmla="*/ 32 w 34"/>
                <a:gd name="T1" fmla="*/ 17 h 34"/>
                <a:gd name="T2" fmla="*/ 30 w 34"/>
                <a:gd name="T3" fmla="*/ 17 h 34"/>
                <a:gd name="T4" fmla="*/ 17 w 34"/>
                <a:gd name="T5" fmla="*/ 30 h 34"/>
                <a:gd name="T6" fmla="*/ 4 w 34"/>
                <a:gd name="T7" fmla="*/ 17 h 34"/>
                <a:gd name="T8" fmla="*/ 17 w 34"/>
                <a:gd name="T9" fmla="*/ 4 h 34"/>
                <a:gd name="T10" fmla="*/ 30 w 34"/>
                <a:gd name="T11" fmla="*/ 17 h 34"/>
                <a:gd name="T12" fmla="*/ 32 w 34"/>
                <a:gd name="T13" fmla="*/ 17 h 34"/>
                <a:gd name="T14" fmla="*/ 34 w 34"/>
                <a:gd name="T15" fmla="*/ 17 h 34"/>
                <a:gd name="T16" fmla="*/ 17 w 34"/>
                <a:gd name="T17" fmla="*/ 0 h 34"/>
                <a:gd name="T18" fmla="*/ 0 w 34"/>
                <a:gd name="T19" fmla="*/ 17 h 34"/>
                <a:gd name="T20" fmla="*/ 17 w 34"/>
                <a:gd name="T21" fmla="*/ 34 h 34"/>
                <a:gd name="T22" fmla="*/ 34 w 34"/>
                <a:gd name="T23" fmla="*/ 17 h 34"/>
                <a:gd name="T24" fmla="*/ 32 w 34"/>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4">
                  <a:moveTo>
                    <a:pt x="32" y="17"/>
                  </a:moveTo>
                  <a:cubicBezTo>
                    <a:pt x="30" y="17"/>
                    <a:pt x="30" y="17"/>
                    <a:pt x="30" y="17"/>
                  </a:cubicBezTo>
                  <a:cubicBezTo>
                    <a:pt x="30" y="24"/>
                    <a:pt x="24" y="30"/>
                    <a:pt x="17" y="30"/>
                  </a:cubicBezTo>
                  <a:cubicBezTo>
                    <a:pt x="10" y="30"/>
                    <a:pt x="4" y="24"/>
                    <a:pt x="4" y="17"/>
                  </a:cubicBezTo>
                  <a:cubicBezTo>
                    <a:pt x="4" y="10"/>
                    <a:pt x="10" y="4"/>
                    <a:pt x="17" y="4"/>
                  </a:cubicBezTo>
                  <a:cubicBezTo>
                    <a:pt x="24" y="4"/>
                    <a:pt x="30" y="10"/>
                    <a:pt x="30" y="17"/>
                  </a:cubicBezTo>
                  <a:cubicBezTo>
                    <a:pt x="32" y="17"/>
                    <a:pt x="32" y="17"/>
                    <a:pt x="32" y="17"/>
                  </a:cubicBezTo>
                  <a:cubicBezTo>
                    <a:pt x="34" y="17"/>
                    <a:pt x="34" y="17"/>
                    <a:pt x="34" y="17"/>
                  </a:cubicBezTo>
                  <a:cubicBezTo>
                    <a:pt x="34" y="8"/>
                    <a:pt x="26" y="0"/>
                    <a:pt x="17" y="0"/>
                  </a:cubicBezTo>
                  <a:cubicBezTo>
                    <a:pt x="7" y="0"/>
                    <a:pt x="0" y="8"/>
                    <a:pt x="0" y="17"/>
                  </a:cubicBezTo>
                  <a:cubicBezTo>
                    <a:pt x="0" y="27"/>
                    <a:pt x="7" y="34"/>
                    <a:pt x="17" y="34"/>
                  </a:cubicBezTo>
                  <a:cubicBezTo>
                    <a:pt x="26" y="34"/>
                    <a:pt x="34" y="27"/>
                    <a:pt x="34" y="17"/>
                  </a:cubicBezTo>
                  <a:lnTo>
                    <a:pt x="32" y="17"/>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6" name="Rectangle 117"/>
            <p:cNvSpPr>
              <a:spLocks noChangeArrowheads="1"/>
            </p:cNvSpPr>
            <p:nvPr userDrawn="1"/>
          </p:nvSpPr>
          <p:spPr bwMode="auto">
            <a:xfrm>
              <a:off x="2874963" y="5997575"/>
              <a:ext cx="1825625" cy="101600"/>
            </a:xfrm>
            <a:prstGeom prst="rect">
              <a:avLst/>
            </a:prstGeom>
            <a:solidFill>
              <a:srgbClr val="B3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67" name="Rectangle 118"/>
            <p:cNvSpPr>
              <a:spLocks noChangeArrowheads="1"/>
            </p:cNvSpPr>
            <p:nvPr userDrawn="1"/>
          </p:nvSpPr>
          <p:spPr bwMode="auto">
            <a:xfrm>
              <a:off x="5146675" y="3217863"/>
              <a:ext cx="68263" cy="9525"/>
            </a:xfrm>
            <a:prstGeom prst="rect">
              <a:avLst/>
            </a:prstGeom>
            <a:solidFill>
              <a:srgbClr val="E8F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68" name="Rectangle 119"/>
            <p:cNvSpPr>
              <a:spLocks noChangeArrowheads="1"/>
            </p:cNvSpPr>
            <p:nvPr userDrawn="1"/>
          </p:nvSpPr>
          <p:spPr bwMode="auto">
            <a:xfrm>
              <a:off x="5146675" y="3217863"/>
              <a:ext cx="68263" cy="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69" name="Rectangle 120"/>
            <p:cNvSpPr>
              <a:spLocks noChangeArrowheads="1"/>
            </p:cNvSpPr>
            <p:nvPr userDrawn="1"/>
          </p:nvSpPr>
          <p:spPr bwMode="auto">
            <a:xfrm>
              <a:off x="5295900" y="3217863"/>
              <a:ext cx="166688" cy="9525"/>
            </a:xfrm>
            <a:prstGeom prst="rect">
              <a:avLst/>
            </a:prstGeom>
            <a:solidFill>
              <a:srgbClr val="E8F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0" name="Rectangle 121"/>
            <p:cNvSpPr>
              <a:spLocks noChangeArrowheads="1"/>
            </p:cNvSpPr>
            <p:nvPr userDrawn="1"/>
          </p:nvSpPr>
          <p:spPr bwMode="auto">
            <a:xfrm>
              <a:off x="5295900" y="3217863"/>
              <a:ext cx="166688" cy="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1" name="Rectangle 122"/>
            <p:cNvSpPr>
              <a:spLocks noChangeArrowheads="1"/>
            </p:cNvSpPr>
            <p:nvPr userDrawn="1"/>
          </p:nvSpPr>
          <p:spPr bwMode="auto">
            <a:xfrm>
              <a:off x="5524500" y="3178175"/>
              <a:ext cx="22225" cy="22225"/>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2" name="Rectangle 123"/>
            <p:cNvSpPr>
              <a:spLocks noChangeArrowheads="1"/>
            </p:cNvSpPr>
            <p:nvPr userDrawn="1"/>
          </p:nvSpPr>
          <p:spPr bwMode="auto">
            <a:xfrm>
              <a:off x="5524500" y="3178175"/>
              <a:ext cx="222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3" name="Rectangle 124"/>
            <p:cNvSpPr>
              <a:spLocks noChangeArrowheads="1"/>
            </p:cNvSpPr>
            <p:nvPr userDrawn="1"/>
          </p:nvSpPr>
          <p:spPr bwMode="auto">
            <a:xfrm>
              <a:off x="5554663" y="3178175"/>
              <a:ext cx="22225" cy="22225"/>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4" name="Rectangle 125"/>
            <p:cNvSpPr>
              <a:spLocks noChangeArrowheads="1"/>
            </p:cNvSpPr>
            <p:nvPr userDrawn="1"/>
          </p:nvSpPr>
          <p:spPr bwMode="auto">
            <a:xfrm>
              <a:off x="5554663" y="3178175"/>
              <a:ext cx="222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5" name="Rectangle 126"/>
            <p:cNvSpPr>
              <a:spLocks noChangeArrowheads="1"/>
            </p:cNvSpPr>
            <p:nvPr userDrawn="1"/>
          </p:nvSpPr>
          <p:spPr bwMode="auto">
            <a:xfrm>
              <a:off x="5586413" y="3178175"/>
              <a:ext cx="22225" cy="22225"/>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6" name="Rectangle 127"/>
            <p:cNvSpPr>
              <a:spLocks noChangeArrowheads="1"/>
            </p:cNvSpPr>
            <p:nvPr userDrawn="1"/>
          </p:nvSpPr>
          <p:spPr bwMode="auto">
            <a:xfrm>
              <a:off x="5586413" y="3178175"/>
              <a:ext cx="222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7" name="Rectangle 128"/>
            <p:cNvSpPr>
              <a:spLocks noChangeArrowheads="1"/>
            </p:cNvSpPr>
            <p:nvPr userDrawn="1"/>
          </p:nvSpPr>
          <p:spPr bwMode="auto">
            <a:xfrm>
              <a:off x="5524500" y="3213100"/>
              <a:ext cx="22225" cy="22225"/>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8" name="Rectangle 129"/>
            <p:cNvSpPr>
              <a:spLocks noChangeArrowheads="1"/>
            </p:cNvSpPr>
            <p:nvPr userDrawn="1"/>
          </p:nvSpPr>
          <p:spPr bwMode="auto">
            <a:xfrm>
              <a:off x="5524500" y="3213100"/>
              <a:ext cx="222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79" name="Rectangle 130"/>
            <p:cNvSpPr>
              <a:spLocks noChangeArrowheads="1"/>
            </p:cNvSpPr>
            <p:nvPr userDrawn="1"/>
          </p:nvSpPr>
          <p:spPr bwMode="auto">
            <a:xfrm>
              <a:off x="5554663" y="3213100"/>
              <a:ext cx="22225" cy="22225"/>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0" name="Rectangle 131"/>
            <p:cNvSpPr>
              <a:spLocks noChangeArrowheads="1"/>
            </p:cNvSpPr>
            <p:nvPr userDrawn="1"/>
          </p:nvSpPr>
          <p:spPr bwMode="auto">
            <a:xfrm>
              <a:off x="5554663" y="3213100"/>
              <a:ext cx="222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1" name="Rectangle 132"/>
            <p:cNvSpPr>
              <a:spLocks noChangeArrowheads="1"/>
            </p:cNvSpPr>
            <p:nvPr userDrawn="1"/>
          </p:nvSpPr>
          <p:spPr bwMode="auto">
            <a:xfrm>
              <a:off x="5586413" y="3213100"/>
              <a:ext cx="22225" cy="22225"/>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2" name="Rectangle 133"/>
            <p:cNvSpPr>
              <a:spLocks noChangeArrowheads="1"/>
            </p:cNvSpPr>
            <p:nvPr userDrawn="1"/>
          </p:nvSpPr>
          <p:spPr bwMode="auto">
            <a:xfrm>
              <a:off x="5586413" y="3213100"/>
              <a:ext cx="222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3" name="Rectangle 134"/>
            <p:cNvSpPr>
              <a:spLocks noChangeArrowheads="1"/>
            </p:cNvSpPr>
            <p:nvPr userDrawn="1"/>
          </p:nvSpPr>
          <p:spPr bwMode="auto">
            <a:xfrm>
              <a:off x="5524500" y="3244850"/>
              <a:ext cx="22225" cy="22225"/>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4" name="Rectangle 135"/>
            <p:cNvSpPr>
              <a:spLocks noChangeArrowheads="1"/>
            </p:cNvSpPr>
            <p:nvPr userDrawn="1"/>
          </p:nvSpPr>
          <p:spPr bwMode="auto">
            <a:xfrm>
              <a:off x="5524500" y="3244850"/>
              <a:ext cx="222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5" name="Rectangle 136"/>
            <p:cNvSpPr>
              <a:spLocks noChangeArrowheads="1"/>
            </p:cNvSpPr>
            <p:nvPr userDrawn="1"/>
          </p:nvSpPr>
          <p:spPr bwMode="auto">
            <a:xfrm>
              <a:off x="5554663" y="3244850"/>
              <a:ext cx="22225" cy="22225"/>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6" name="Rectangle 137"/>
            <p:cNvSpPr>
              <a:spLocks noChangeArrowheads="1"/>
            </p:cNvSpPr>
            <p:nvPr userDrawn="1"/>
          </p:nvSpPr>
          <p:spPr bwMode="auto">
            <a:xfrm>
              <a:off x="5554663" y="3244850"/>
              <a:ext cx="222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7" name="Rectangle 138"/>
            <p:cNvSpPr>
              <a:spLocks noChangeArrowheads="1"/>
            </p:cNvSpPr>
            <p:nvPr userDrawn="1"/>
          </p:nvSpPr>
          <p:spPr bwMode="auto">
            <a:xfrm>
              <a:off x="5586413" y="3244850"/>
              <a:ext cx="22225" cy="22225"/>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8" name="Rectangle 139"/>
            <p:cNvSpPr>
              <a:spLocks noChangeArrowheads="1"/>
            </p:cNvSpPr>
            <p:nvPr userDrawn="1"/>
          </p:nvSpPr>
          <p:spPr bwMode="auto">
            <a:xfrm>
              <a:off x="5586413" y="3244850"/>
              <a:ext cx="2222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9" name="Oval 140"/>
            <p:cNvSpPr>
              <a:spLocks noChangeArrowheads="1"/>
            </p:cNvSpPr>
            <p:nvPr userDrawn="1"/>
          </p:nvSpPr>
          <p:spPr bwMode="auto">
            <a:xfrm>
              <a:off x="5645150" y="3165475"/>
              <a:ext cx="114300" cy="114300"/>
            </a:xfrm>
            <a:prstGeom prst="ellipse">
              <a:avLst/>
            </a:prstGeom>
            <a:solidFill>
              <a:srgbClr val="CADE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0" name="Oval 141"/>
            <p:cNvSpPr>
              <a:spLocks noChangeArrowheads="1"/>
            </p:cNvSpPr>
            <p:nvPr userDrawn="1"/>
          </p:nvSpPr>
          <p:spPr bwMode="auto">
            <a:xfrm>
              <a:off x="5727700" y="2833688"/>
              <a:ext cx="30163" cy="28575"/>
            </a:xfrm>
            <a:prstGeom prst="ellipse">
              <a:avLst/>
            </a:pr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1" name="Oval 142"/>
            <p:cNvSpPr>
              <a:spLocks noChangeArrowheads="1"/>
            </p:cNvSpPr>
            <p:nvPr userDrawn="1"/>
          </p:nvSpPr>
          <p:spPr bwMode="auto">
            <a:xfrm>
              <a:off x="5727700" y="2905125"/>
              <a:ext cx="30163" cy="30163"/>
            </a:xfrm>
            <a:prstGeom prst="ellipse">
              <a:avLst/>
            </a:pr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2" name="Oval 143"/>
            <p:cNvSpPr>
              <a:spLocks noChangeArrowheads="1"/>
            </p:cNvSpPr>
            <p:nvPr userDrawn="1"/>
          </p:nvSpPr>
          <p:spPr bwMode="auto">
            <a:xfrm>
              <a:off x="5727700" y="2974975"/>
              <a:ext cx="30163" cy="28575"/>
            </a:xfrm>
            <a:prstGeom prst="ellipse">
              <a:avLst/>
            </a:pr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3" name="Rectangle 144"/>
            <p:cNvSpPr>
              <a:spLocks noChangeArrowheads="1"/>
            </p:cNvSpPr>
            <p:nvPr userDrawn="1"/>
          </p:nvSpPr>
          <p:spPr bwMode="auto">
            <a:xfrm>
              <a:off x="3521075" y="5997575"/>
              <a:ext cx="933450" cy="9525"/>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94" name="Freeform 145"/>
            <p:cNvSpPr/>
            <p:nvPr userDrawn="1"/>
          </p:nvSpPr>
          <p:spPr bwMode="auto">
            <a:xfrm>
              <a:off x="3521075" y="5997575"/>
              <a:ext cx="933450" cy="9525"/>
            </a:xfrm>
            <a:custGeom>
              <a:avLst/>
              <a:gdLst>
                <a:gd name="T0" fmla="*/ 588 w 588"/>
                <a:gd name="T1" fmla="*/ 0 h 6"/>
                <a:gd name="T2" fmla="*/ 0 w 588"/>
                <a:gd name="T3" fmla="*/ 0 h 6"/>
                <a:gd name="T4" fmla="*/ 0 w 588"/>
                <a:gd name="T5" fmla="*/ 6 h 6"/>
                <a:gd name="T6" fmla="*/ 588 w 588"/>
                <a:gd name="T7" fmla="*/ 6 h 6"/>
              </a:gdLst>
              <a:ahLst/>
              <a:cxnLst>
                <a:cxn ang="0">
                  <a:pos x="T0" y="T1"/>
                </a:cxn>
                <a:cxn ang="0">
                  <a:pos x="T2" y="T3"/>
                </a:cxn>
                <a:cxn ang="0">
                  <a:pos x="T4" y="T5"/>
                </a:cxn>
                <a:cxn ang="0">
                  <a:pos x="T6" y="T7"/>
                </a:cxn>
              </a:cxnLst>
              <a:rect l="0" t="0" r="r" b="b"/>
              <a:pathLst>
                <a:path w="588" h="6">
                  <a:moveTo>
                    <a:pt x="588" y="0"/>
                  </a:moveTo>
                  <a:lnTo>
                    <a:pt x="0" y="0"/>
                  </a:lnTo>
                  <a:lnTo>
                    <a:pt x="0" y="6"/>
                  </a:lnTo>
                  <a:lnTo>
                    <a:pt x="58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5" name="Rectangle 146"/>
            <p:cNvSpPr>
              <a:spLocks noChangeArrowheads="1"/>
            </p:cNvSpPr>
            <p:nvPr userDrawn="1"/>
          </p:nvSpPr>
          <p:spPr bwMode="auto">
            <a:xfrm>
              <a:off x="3111500" y="5997575"/>
              <a:ext cx="304800" cy="9525"/>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96" name="Freeform 147"/>
            <p:cNvSpPr/>
            <p:nvPr userDrawn="1"/>
          </p:nvSpPr>
          <p:spPr bwMode="auto">
            <a:xfrm>
              <a:off x="3111500" y="5997575"/>
              <a:ext cx="304800" cy="9525"/>
            </a:xfrm>
            <a:custGeom>
              <a:avLst/>
              <a:gdLst>
                <a:gd name="T0" fmla="*/ 192 w 192"/>
                <a:gd name="T1" fmla="*/ 0 h 6"/>
                <a:gd name="T2" fmla="*/ 0 w 192"/>
                <a:gd name="T3" fmla="*/ 0 h 6"/>
                <a:gd name="T4" fmla="*/ 0 w 192"/>
                <a:gd name="T5" fmla="*/ 6 h 6"/>
                <a:gd name="T6" fmla="*/ 192 w 192"/>
                <a:gd name="T7" fmla="*/ 6 h 6"/>
              </a:gdLst>
              <a:ahLst/>
              <a:cxnLst>
                <a:cxn ang="0">
                  <a:pos x="T0" y="T1"/>
                </a:cxn>
                <a:cxn ang="0">
                  <a:pos x="T2" y="T3"/>
                </a:cxn>
                <a:cxn ang="0">
                  <a:pos x="T4" y="T5"/>
                </a:cxn>
                <a:cxn ang="0">
                  <a:pos x="T6" y="T7"/>
                </a:cxn>
              </a:cxnLst>
              <a:rect l="0" t="0" r="r" b="b"/>
              <a:pathLst>
                <a:path w="192" h="6">
                  <a:moveTo>
                    <a:pt x="192" y="0"/>
                  </a:moveTo>
                  <a:lnTo>
                    <a:pt x="0" y="0"/>
                  </a:lnTo>
                  <a:lnTo>
                    <a:pt x="0" y="6"/>
                  </a:lnTo>
                  <a:lnTo>
                    <a:pt x="19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7" name="Freeform 148"/>
            <p:cNvSpPr/>
            <p:nvPr userDrawn="1"/>
          </p:nvSpPr>
          <p:spPr bwMode="auto">
            <a:xfrm>
              <a:off x="2517775" y="4221163"/>
              <a:ext cx="179388" cy="146050"/>
            </a:xfrm>
            <a:custGeom>
              <a:avLst/>
              <a:gdLst>
                <a:gd name="T0" fmla="*/ 0 w 72"/>
                <a:gd name="T1" fmla="*/ 21 h 59"/>
                <a:gd name="T2" fmla="*/ 51 w 72"/>
                <a:gd name="T3" fmla="*/ 2 h 59"/>
                <a:gd name="T4" fmla="*/ 42 w 72"/>
                <a:gd name="T5" fmla="*/ 12 h 59"/>
                <a:gd name="T6" fmla="*/ 53 w 72"/>
                <a:gd name="T7" fmla="*/ 10 h 59"/>
                <a:gd name="T8" fmla="*/ 66 w 72"/>
                <a:gd name="T9" fmla="*/ 7 h 59"/>
                <a:gd name="T10" fmla="*/ 47 w 72"/>
                <a:gd name="T11" fmla="*/ 18 h 59"/>
                <a:gd name="T12" fmla="*/ 71 w 72"/>
                <a:gd name="T13" fmla="*/ 15 h 59"/>
                <a:gd name="T14" fmla="*/ 48 w 72"/>
                <a:gd name="T15" fmla="*/ 27 h 59"/>
                <a:gd name="T16" fmla="*/ 68 w 72"/>
                <a:gd name="T17" fmla="*/ 24 h 59"/>
                <a:gd name="T18" fmla="*/ 48 w 72"/>
                <a:gd name="T19" fmla="*/ 35 h 59"/>
                <a:gd name="T20" fmla="*/ 65 w 72"/>
                <a:gd name="T21" fmla="*/ 32 h 59"/>
                <a:gd name="T22" fmla="*/ 11 w 72"/>
                <a:gd name="T23" fmla="*/ 59 h 59"/>
                <a:gd name="T24" fmla="*/ 0 w 72"/>
                <a:gd name="T25" fmla="*/ 2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9">
                  <a:moveTo>
                    <a:pt x="0" y="21"/>
                  </a:moveTo>
                  <a:cubicBezTo>
                    <a:pt x="13" y="17"/>
                    <a:pt x="49" y="0"/>
                    <a:pt x="51" y="2"/>
                  </a:cubicBezTo>
                  <a:cubicBezTo>
                    <a:pt x="53" y="4"/>
                    <a:pt x="40" y="11"/>
                    <a:pt x="42" y="12"/>
                  </a:cubicBezTo>
                  <a:cubicBezTo>
                    <a:pt x="43" y="13"/>
                    <a:pt x="48" y="11"/>
                    <a:pt x="53" y="10"/>
                  </a:cubicBezTo>
                  <a:cubicBezTo>
                    <a:pt x="59" y="8"/>
                    <a:pt x="65" y="6"/>
                    <a:pt x="66" y="7"/>
                  </a:cubicBezTo>
                  <a:cubicBezTo>
                    <a:pt x="68" y="11"/>
                    <a:pt x="47" y="18"/>
                    <a:pt x="47" y="18"/>
                  </a:cubicBezTo>
                  <a:cubicBezTo>
                    <a:pt x="47" y="18"/>
                    <a:pt x="70" y="11"/>
                    <a:pt x="71" y="15"/>
                  </a:cubicBezTo>
                  <a:cubicBezTo>
                    <a:pt x="72" y="17"/>
                    <a:pt x="54" y="23"/>
                    <a:pt x="48" y="27"/>
                  </a:cubicBezTo>
                  <a:cubicBezTo>
                    <a:pt x="55" y="24"/>
                    <a:pt x="68" y="21"/>
                    <a:pt x="68" y="24"/>
                  </a:cubicBezTo>
                  <a:cubicBezTo>
                    <a:pt x="69" y="26"/>
                    <a:pt x="57" y="31"/>
                    <a:pt x="48" y="35"/>
                  </a:cubicBezTo>
                  <a:cubicBezTo>
                    <a:pt x="54" y="33"/>
                    <a:pt x="65" y="30"/>
                    <a:pt x="65" y="32"/>
                  </a:cubicBezTo>
                  <a:cubicBezTo>
                    <a:pt x="66" y="34"/>
                    <a:pt x="38" y="47"/>
                    <a:pt x="11" y="59"/>
                  </a:cubicBezTo>
                  <a:cubicBezTo>
                    <a:pt x="0" y="21"/>
                    <a:pt x="0" y="21"/>
                    <a:pt x="0" y="21"/>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8" name="Freeform 149"/>
            <p:cNvSpPr/>
            <p:nvPr userDrawn="1"/>
          </p:nvSpPr>
          <p:spPr bwMode="auto">
            <a:xfrm>
              <a:off x="1798638" y="4030663"/>
              <a:ext cx="788988" cy="631825"/>
            </a:xfrm>
            <a:custGeom>
              <a:avLst/>
              <a:gdLst>
                <a:gd name="T0" fmla="*/ 7 w 318"/>
                <a:gd name="T1" fmla="*/ 16 h 255"/>
                <a:gd name="T2" fmla="*/ 89 w 318"/>
                <a:gd name="T3" fmla="*/ 221 h 255"/>
                <a:gd name="T4" fmla="*/ 318 w 318"/>
                <a:gd name="T5" fmla="*/ 185 h 255"/>
                <a:gd name="T6" fmla="*/ 298 w 318"/>
                <a:gd name="T7" fmla="*/ 92 h 255"/>
                <a:gd name="T8" fmla="*/ 139 w 318"/>
                <a:gd name="T9" fmla="*/ 120 h 255"/>
                <a:gd name="T10" fmla="*/ 97 w 318"/>
                <a:gd name="T11" fmla="*/ 0 h 255"/>
                <a:gd name="T12" fmla="*/ 7 w 318"/>
                <a:gd name="T13" fmla="*/ 16 h 255"/>
              </a:gdLst>
              <a:ahLst/>
              <a:cxnLst>
                <a:cxn ang="0">
                  <a:pos x="T0" y="T1"/>
                </a:cxn>
                <a:cxn ang="0">
                  <a:pos x="T2" y="T3"/>
                </a:cxn>
                <a:cxn ang="0">
                  <a:pos x="T4" y="T5"/>
                </a:cxn>
                <a:cxn ang="0">
                  <a:pos x="T6" y="T7"/>
                </a:cxn>
                <a:cxn ang="0">
                  <a:pos x="T8" y="T9"/>
                </a:cxn>
                <a:cxn ang="0">
                  <a:pos x="T10" y="T11"/>
                </a:cxn>
                <a:cxn ang="0">
                  <a:pos x="T12" y="T13"/>
                </a:cxn>
              </a:cxnLst>
              <a:rect l="0" t="0" r="r" b="b"/>
              <a:pathLst>
                <a:path w="318" h="255">
                  <a:moveTo>
                    <a:pt x="7" y="16"/>
                  </a:moveTo>
                  <a:cubicBezTo>
                    <a:pt x="7" y="16"/>
                    <a:pt x="0" y="183"/>
                    <a:pt x="89" y="221"/>
                  </a:cubicBezTo>
                  <a:cubicBezTo>
                    <a:pt x="168" y="255"/>
                    <a:pt x="318" y="185"/>
                    <a:pt x="318" y="185"/>
                  </a:cubicBezTo>
                  <a:cubicBezTo>
                    <a:pt x="298" y="92"/>
                    <a:pt x="298" y="92"/>
                    <a:pt x="298" y="92"/>
                  </a:cubicBezTo>
                  <a:cubicBezTo>
                    <a:pt x="298" y="92"/>
                    <a:pt x="181" y="142"/>
                    <a:pt x="139" y="120"/>
                  </a:cubicBezTo>
                  <a:cubicBezTo>
                    <a:pt x="110" y="105"/>
                    <a:pt x="97" y="0"/>
                    <a:pt x="97" y="0"/>
                  </a:cubicBezTo>
                  <a:cubicBezTo>
                    <a:pt x="7" y="16"/>
                    <a:pt x="7" y="16"/>
                    <a:pt x="7" y="16"/>
                  </a:cubicBezTo>
                </a:path>
              </a:pathLst>
            </a:custGeom>
            <a:solidFill>
              <a:srgbClr val="ED910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9" name="Freeform 151"/>
            <p:cNvSpPr/>
            <p:nvPr userDrawn="1"/>
          </p:nvSpPr>
          <p:spPr bwMode="auto">
            <a:xfrm>
              <a:off x="5087938" y="3979863"/>
              <a:ext cx="784225" cy="547688"/>
            </a:xfrm>
            <a:custGeom>
              <a:avLst/>
              <a:gdLst>
                <a:gd name="T0" fmla="*/ 313 w 316"/>
                <a:gd name="T1" fmla="*/ 0 h 221"/>
                <a:gd name="T2" fmla="*/ 176 w 316"/>
                <a:gd name="T3" fmla="*/ 81 h 221"/>
                <a:gd name="T4" fmla="*/ 0 w 316"/>
                <a:gd name="T5" fmla="*/ 135 h 221"/>
                <a:gd name="T6" fmla="*/ 11 w 316"/>
                <a:gd name="T7" fmla="*/ 221 h 221"/>
                <a:gd name="T8" fmla="*/ 316 w 316"/>
                <a:gd name="T9" fmla="*/ 99 h 221"/>
                <a:gd name="T10" fmla="*/ 313 w 316"/>
                <a:gd name="T11" fmla="*/ 0 h 221"/>
              </a:gdLst>
              <a:ahLst/>
              <a:cxnLst>
                <a:cxn ang="0">
                  <a:pos x="T0" y="T1"/>
                </a:cxn>
                <a:cxn ang="0">
                  <a:pos x="T2" y="T3"/>
                </a:cxn>
                <a:cxn ang="0">
                  <a:pos x="T4" y="T5"/>
                </a:cxn>
                <a:cxn ang="0">
                  <a:pos x="T6" y="T7"/>
                </a:cxn>
                <a:cxn ang="0">
                  <a:pos x="T8" y="T9"/>
                </a:cxn>
                <a:cxn ang="0">
                  <a:pos x="T10" y="T11"/>
                </a:cxn>
              </a:cxnLst>
              <a:rect l="0" t="0" r="r" b="b"/>
              <a:pathLst>
                <a:path w="316" h="221">
                  <a:moveTo>
                    <a:pt x="313" y="0"/>
                  </a:moveTo>
                  <a:cubicBezTo>
                    <a:pt x="260" y="0"/>
                    <a:pt x="190" y="74"/>
                    <a:pt x="176" y="81"/>
                  </a:cubicBezTo>
                  <a:cubicBezTo>
                    <a:pt x="146" y="95"/>
                    <a:pt x="90" y="125"/>
                    <a:pt x="0" y="135"/>
                  </a:cubicBezTo>
                  <a:cubicBezTo>
                    <a:pt x="11" y="221"/>
                    <a:pt x="11" y="221"/>
                    <a:pt x="11" y="221"/>
                  </a:cubicBezTo>
                  <a:cubicBezTo>
                    <a:pt x="11" y="221"/>
                    <a:pt x="223" y="209"/>
                    <a:pt x="316" y="99"/>
                  </a:cubicBezTo>
                  <a:cubicBezTo>
                    <a:pt x="313" y="0"/>
                    <a:pt x="313" y="0"/>
                    <a:pt x="313" y="0"/>
                  </a:cubicBezTo>
                </a:path>
              </a:pathLst>
            </a:cu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0" name="Freeform 152"/>
            <p:cNvSpPr/>
            <p:nvPr userDrawn="1"/>
          </p:nvSpPr>
          <p:spPr bwMode="auto">
            <a:xfrm>
              <a:off x="2438400" y="2609850"/>
              <a:ext cx="2708275" cy="44450"/>
            </a:xfrm>
            <a:custGeom>
              <a:avLst/>
              <a:gdLst>
                <a:gd name="T0" fmla="*/ 1092 w 1092"/>
                <a:gd name="T1" fmla="*/ 0 h 18"/>
                <a:gd name="T2" fmla="*/ 152 w 1092"/>
                <a:gd name="T3" fmla="*/ 0 h 18"/>
                <a:gd name="T4" fmla="*/ 151 w 1092"/>
                <a:gd name="T5" fmla="*/ 3 h 18"/>
                <a:gd name="T6" fmla="*/ 147 w 1092"/>
                <a:gd name="T7" fmla="*/ 2 h 18"/>
                <a:gd name="T8" fmla="*/ 148 w 1092"/>
                <a:gd name="T9" fmla="*/ 0 h 18"/>
                <a:gd name="T10" fmla="*/ 0 w 1092"/>
                <a:gd name="T11" fmla="*/ 0 h 18"/>
                <a:gd name="T12" fmla="*/ 0 w 1092"/>
                <a:gd name="T13" fmla="*/ 18 h 18"/>
                <a:gd name="T14" fmla="*/ 144 w 1092"/>
                <a:gd name="T15" fmla="*/ 18 h 18"/>
                <a:gd name="T16" fmla="*/ 146 w 1092"/>
                <a:gd name="T17" fmla="*/ 10 h 18"/>
                <a:gd name="T18" fmla="*/ 149 w 1092"/>
                <a:gd name="T19" fmla="*/ 11 h 18"/>
                <a:gd name="T20" fmla="*/ 148 w 1092"/>
                <a:gd name="T21" fmla="*/ 18 h 18"/>
                <a:gd name="T22" fmla="*/ 1092 w 1092"/>
                <a:gd name="T23" fmla="*/ 18 h 18"/>
                <a:gd name="T24" fmla="*/ 1092 w 1092"/>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8">
                  <a:moveTo>
                    <a:pt x="1092" y="0"/>
                  </a:moveTo>
                  <a:cubicBezTo>
                    <a:pt x="152" y="0"/>
                    <a:pt x="152" y="0"/>
                    <a:pt x="152" y="0"/>
                  </a:cubicBezTo>
                  <a:cubicBezTo>
                    <a:pt x="152" y="1"/>
                    <a:pt x="151" y="2"/>
                    <a:pt x="151" y="3"/>
                  </a:cubicBezTo>
                  <a:cubicBezTo>
                    <a:pt x="147" y="2"/>
                    <a:pt x="147" y="2"/>
                    <a:pt x="147" y="2"/>
                  </a:cubicBezTo>
                  <a:cubicBezTo>
                    <a:pt x="147" y="2"/>
                    <a:pt x="148" y="1"/>
                    <a:pt x="148" y="0"/>
                  </a:cubicBezTo>
                  <a:cubicBezTo>
                    <a:pt x="0" y="0"/>
                    <a:pt x="0" y="0"/>
                    <a:pt x="0" y="0"/>
                  </a:cubicBezTo>
                  <a:cubicBezTo>
                    <a:pt x="0" y="18"/>
                    <a:pt x="0" y="18"/>
                    <a:pt x="0" y="18"/>
                  </a:cubicBezTo>
                  <a:cubicBezTo>
                    <a:pt x="144" y="18"/>
                    <a:pt x="144" y="18"/>
                    <a:pt x="144" y="18"/>
                  </a:cubicBezTo>
                  <a:cubicBezTo>
                    <a:pt x="145" y="16"/>
                    <a:pt x="145" y="13"/>
                    <a:pt x="146" y="10"/>
                  </a:cubicBezTo>
                  <a:cubicBezTo>
                    <a:pt x="149" y="11"/>
                    <a:pt x="149" y="11"/>
                    <a:pt x="149" y="11"/>
                  </a:cubicBezTo>
                  <a:cubicBezTo>
                    <a:pt x="149" y="14"/>
                    <a:pt x="149" y="16"/>
                    <a:pt x="148" y="18"/>
                  </a:cubicBezTo>
                  <a:cubicBezTo>
                    <a:pt x="1092" y="18"/>
                    <a:pt x="1092" y="18"/>
                    <a:pt x="1092" y="18"/>
                  </a:cubicBezTo>
                  <a:cubicBezTo>
                    <a:pt x="1092" y="0"/>
                    <a:pt x="1092" y="0"/>
                    <a:pt x="1092" y="0"/>
                  </a:cubicBezTo>
                </a:path>
              </a:pathLst>
            </a:custGeom>
            <a:solidFill>
              <a:srgbClr val="BED6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1" name="Freeform 154"/>
            <p:cNvSpPr/>
            <p:nvPr userDrawn="1"/>
          </p:nvSpPr>
          <p:spPr bwMode="auto">
            <a:xfrm>
              <a:off x="2438400" y="2654300"/>
              <a:ext cx="2708275" cy="100013"/>
            </a:xfrm>
            <a:custGeom>
              <a:avLst/>
              <a:gdLst>
                <a:gd name="T0" fmla="*/ 1706 w 1706"/>
                <a:gd name="T1" fmla="*/ 0 h 63"/>
                <a:gd name="T2" fmla="*/ 232 w 1706"/>
                <a:gd name="T3" fmla="*/ 0 h 63"/>
                <a:gd name="T4" fmla="*/ 225 w 1706"/>
                <a:gd name="T5" fmla="*/ 0 h 63"/>
                <a:gd name="T6" fmla="*/ 0 w 1706"/>
                <a:gd name="T7" fmla="*/ 0 h 63"/>
                <a:gd name="T8" fmla="*/ 0 w 1706"/>
                <a:gd name="T9" fmla="*/ 63 h 63"/>
                <a:gd name="T10" fmla="*/ 1706 w 1706"/>
                <a:gd name="T11" fmla="*/ 63 h 63"/>
                <a:gd name="T12" fmla="*/ 1706 w 1706"/>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06" h="63">
                  <a:moveTo>
                    <a:pt x="1706" y="0"/>
                  </a:moveTo>
                  <a:lnTo>
                    <a:pt x="232" y="0"/>
                  </a:lnTo>
                  <a:lnTo>
                    <a:pt x="225" y="0"/>
                  </a:lnTo>
                  <a:lnTo>
                    <a:pt x="0" y="0"/>
                  </a:lnTo>
                  <a:lnTo>
                    <a:pt x="0" y="63"/>
                  </a:lnTo>
                  <a:lnTo>
                    <a:pt x="1706" y="63"/>
                  </a:lnTo>
                  <a:lnTo>
                    <a:pt x="1706" y="0"/>
                  </a:lnTo>
                  <a:close/>
                </a:path>
              </a:pathLst>
            </a:custGeom>
            <a:solidFill>
              <a:srgbClr val="85B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2" name="Freeform 155"/>
            <p:cNvSpPr/>
            <p:nvPr userDrawn="1"/>
          </p:nvSpPr>
          <p:spPr bwMode="auto">
            <a:xfrm>
              <a:off x="2438400" y="2654300"/>
              <a:ext cx="2708275" cy="100013"/>
            </a:xfrm>
            <a:custGeom>
              <a:avLst/>
              <a:gdLst>
                <a:gd name="T0" fmla="*/ 1706 w 1706"/>
                <a:gd name="T1" fmla="*/ 0 h 63"/>
                <a:gd name="T2" fmla="*/ 232 w 1706"/>
                <a:gd name="T3" fmla="*/ 0 h 63"/>
                <a:gd name="T4" fmla="*/ 225 w 1706"/>
                <a:gd name="T5" fmla="*/ 0 h 63"/>
                <a:gd name="T6" fmla="*/ 0 w 1706"/>
                <a:gd name="T7" fmla="*/ 0 h 63"/>
                <a:gd name="T8" fmla="*/ 0 w 1706"/>
                <a:gd name="T9" fmla="*/ 63 h 63"/>
                <a:gd name="T10" fmla="*/ 1706 w 1706"/>
                <a:gd name="T11" fmla="*/ 63 h 63"/>
                <a:gd name="T12" fmla="*/ 1706 w 1706"/>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06" h="63">
                  <a:moveTo>
                    <a:pt x="1706" y="0"/>
                  </a:moveTo>
                  <a:lnTo>
                    <a:pt x="232" y="0"/>
                  </a:lnTo>
                  <a:lnTo>
                    <a:pt x="225" y="0"/>
                  </a:lnTo>
                  <a:lnTo>
                    <a:pt x="0" y="0"/>
                  </a:lnTo>
                  <a:lnTo>
                    <a:pt x="0" y="63"/>
                  </a:lnTo>
                  <a:lnTo>
                    <a:pt x="1706" y="63"/>
                  </a:lnTo>
                  <a:lnTo>
                    <a:pt x="17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3" name="Freeform 156"/>
            <p:cNvSpPr/>
            <p:nvPr userDrawn="1"/>
          </p:nvSpPr>
          <p:spPr bwMode="auto">
            <a:xfrm>
              <a:off x="2438400" y="2763838"/>
              <a:ext cx="2708275" cy="141288"/>
            </a:xfrm>
            <a:custGeom>
              <a:avLst/>
              <a:gdLst>
                <a:gd name="T0" fmla="*/ 1092 w 1092"/>
                <a:gd name="T1" fmla="*/ 0 h 57"/>
                <a:gd name="T2" fmla="*/ 0 w 1092"/>
                <a:gd name="T3" fmla="*/ 0 h 57"/>
                <a:gd name="T4" fmla="*/ 0 w 1092"/>
                <a:gd name="T5" fmla="*/ 57 h 57"/>
                <a:gd name="T6" fmla="*/ 28 w 1092"/>
                <a:gd name="T7" fmla="*/ 34 h 57"/>
                <a:gd name="T8" fmla="*/ 1092 w 1092"/>
                <a:gd name="T9" fmla="*/ 34 h 57"/>
                <a:gd name="T10" fmla="*/ 1092 w 1092"/>
                <a:gd name="T11" fmla="*/ 0 h 57"/>
              </a:gdLst>
              <a:ahLst/>
              <a:cxnLst>
                <a:cxn ang="0">
                  <a:pos x="T0" y="T1"/>
                </a:cxn>
                <a:cxn ang="0">
                  <a:pos x="T2" y="T3"/>
                </a:cxn>
                <a:cxn ang="0">
                  <a:pos x="T4" y="T5"/>
                </a:cxn>
                <a:cxn ang="0">
                  <a:pos x="T6" y="T7"/>
                </a:cxn>
                <a:cxn ang="0">
                  <a:pos x="T8" y="T9"/>
                </a:cxn>
                <a:cxn ang="0">
                  <a:pos x="T10" y="T11"/>
                </a:cxn>
              </a:cxnLst>
              <a:rect l="0" t="0" r="r" b="b"/>
              <a:pathLst>
                <a:path w="1092" h="57">
                  <a:moveTo>
                    <a:pt x="1092" y="0"/>
                  </a:moveTo>
                  <a:cubicBezTo>
                    <a:pt x="0" y="0"/>
                    <a:pt x="0" y="0"/>
                    <a:pt x="0" y="0"/>
                  </a:cubicBezTo>
                  <a:cubicBezTo>
                    <a:pt x="0" y="57"/>
                    <a:pt x="0" y="57"/>
                    <a:pt x="0" y="57"/>
                  </a:cubicBezTo>
                  <a:cubicBezTo>
                    <a:pt x="3" y="44"/>
                    <a:pt x="14" y="34"/>
                    <a:pt x="28" y="34"/>
                  </a:cubicBezTo>
                  <a:cubicBezTo>
                    <a:pt x="1092" y="34"/>
                    <a:pt x="1092" y="34"/>
                    <a:pt x="1092" y="34"/>
                  </a:cubicBezTo>
                  <a:cubicBezTo>
                    <a:pt x="1092" y="0"/>
                    <a:pt x="1092" y="0"/>
                    <a:pt x="1092" y="0"/>
                  </a:cubicBezTo>
                </a:path>
              </a:pathLst>
            </a:custGeom>
            <a:solidFill>
              <a:srgbClr val="BED6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4" name="Rectangle 157"/>
            <p:cNvSpPr>
              <a:spLocks noChangeArrowheads="1"/>
            </p:cNvSpPr>
            <p:nvPr userDrawn="1"/>
          </p:nvSpPr>
          <p:spPr bwMode="auto">
            <a:xfrm>
              <a:off x="2438400" y="2754313"/>
              <a:ext cx="2708275" cy="9525"/>
            </a:xfrm>
            <a:prstGeom prst="rect">
              <a:avLst/>
            </a:prstGeom>
            <a:solidFill>
              <a:srgbClr val="3677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05" name="Rectangle 158"/>
            <p:cNvSpPr>
              <a:spLocks noChangeArrowheads="1"/>
            </p:cNvSpPr>
            <p:nvPr userDrawn="1"/>
          </p:nvSpPr>
          <p:spPr bwMode="auto">
            <a:xfrm>
              <a:off x="2438400" y="2754313"/>
              <a:ext cx="2708275" cy="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06" name="Freeform 159"/>
            <p:cNvSpPr>
              <a:spLocks noEditPoints="1"/>
            </p:cNvSpPr>
            <p:nvPr userDrawn="1"/>
          </p:nvSpPr>
          <p:spPr bwMode="auto">
            <a:xfrm>
              <a:off x="2438400" y="2932113"/>
              <a:ext cx="3060700" cy="2327275"/>
            </a:xfrm>
            <a:custGeom>
              <a:avLst/>
              <a:gdLst>
                <a:gd name="T0" fmla="*/ 1234 w 1234"/>
                <a:gd name="T1" fmla="*/ 738 h 939"/>
                <a:gd name="T2" fmla="*/ 388 w 1234"/>
                <a:gd name="T3" fmla="*/ 662 h 939"/>
                <a:gd name="T4" fmla="*/ 1190 w 1234"/>
                <a:gd name="T5" fmla="*/ 738 h 939"/>
                <a:gd name="T6" fmla="*/ 424 w 1234"/>
                <a:gd name="T7" fmla="*/ 634 h 939"/>
                <a:gd name="T8" fmla="*/ 827 w 1234"/>
                <a:gd name="T9" fmla="*/ 634 h 939"/>
                <a:gd name="T10" fmla="*/ 381 w 1234"/>
                <a:gd name="T11" fmla="*/ 738 h 939"/>
                <a:gd name="T12" fmla="*/ 1029 w 1234"/>
                <a:gd name="T13" fmla="*/ 797 h 939"/>
                <a:gd name="T14" fmla="*/ 1180 w 1234"/>
                <a:gd name="T15" fmla="*/ 686 h 939"/>
                <a:gd name="T16" fmla="*/ 1195 w 1234"/>
                <a:gd name="T17" fmla="*/ 739 h 939"/>
                <a:gd name="T18" fmla="*/ 1073 w 1234"/>
                <a:gd name="T19" fmla="*/ 597 h 939"/>
                <a:gd name="T20" fmla="*/ 1030 w 1234"/>
                <a:gd name="T21" fmla="*/ 581 h 939"/>
                <a:gd name="T22" fmla="*/ 49 w 1234"/>
                <a:gd name="T23" fmla="*/ 576 h 939"/>
                <a:gd name="T24" fmla="*/ 27 w 1234"/>
                <a:gd name="T25" fmla="*/ 742 h 939"/>
                <a:gd name="T26" fmla="*/ 1023 w 1234"/>
                <a:gd name="T27" fmla="*/ 566 h 939"/>
                <a:gd name="T28" fmla="*/ 387 w 1234"/>
                <a:gd name="T29" fmla="*/ 656 h 939"/>
                <a:gd name="T30" fmla="*/ 371 w 1234"/>
                <a:gd name="T31" fmla="*/ 688 h 939"/>
                <a:gd name="T32" fmla="*/ 424 w 1234"/>
                <a:gd name="T33" fmla="*/ 634 h 939"/>
                <a:gd name="T34" fmla="*/ 256 w 1234"/>
                <a:gd name="T35" fmla="*/ 742 h 939"/>
                <a:gd name="T36" fmla="*/ 213 w 1234"/>
                <a:gd name="T37" fmla="*/ 780 h 939"/>
                <a:gd name="T38" fmla="*/ 451 w 1234"/>
                <a:gd name="T39" fmla="*/ 543 h 939"/>
                <a:gd name="T40" fmla="*/ 803 w 1234"/>
                <a:gd name="T41" fmla="*/ 741 h 939"/>
                <a:gd name="T42" fmla="*/ 829 w 1234"/>
                <a:gd name="T43" fmla="*/ 634 h 939"/>
                <a:gd name="T44" fmla="*/ 789 w 1234"/>
                <a:gd name="T45" fmla="*/ 742 h 939"/>
                <a:gd name="T46" fmla="*/ 618 w 1234"/>
                <a:gd name="T47" fmla="*/ 566 h 939"/>
                <a:gd name="T48" fmla="*/ 872 w 1234"/>
                <a:gd name="T49" fmla="*/ 550 h 939"/>
                <a:gd name="T50" fmla="*/ 1059 w 1234"/>
                <a:gd name="T51" fmla="*/ 559 h 939"/>
                <a:gd name="T52" fmla="*/ 1092 w 1234"/>
                <a:gd name="T53" fmla="*/ 351 h 939"/>
                <a:gd name="T54" fmla="*/ 428 w 1234"/>
                <a:gd name="T55" fmla="*/ 396 h 939"/>
                <a:gd name="T56" fmla="*/ 0 w 1234"/>
                <a:gd name="T57" fmla="*/ 282 h 939"/>
                <a:gd name="T58" fmla="*/ 16 w 1234"/>
                <a:gd name="T59" fmla="*/ 292 h 939"/>
                <a:gd name="T60" fmla="*/ 424 w 1234"/>
                <a:gd name="T61" fmla="*/ 292 h 939"/>
                <a:gd name="T62" fmla="*/ 827 w 1234"/>
                <a:gd name="T63" fmla="*/ 292 h 939"/>
                <a:gd name="T64" fmla="*/ 785 w 1234"/>
                <a:gd name="T65" fmla="*/ 396 h 939"/>
                <a:gd name="T66" fmla="*/ 0 w 1234"/>
                <a:gd name="T67" fmla="*/ 278 h 939"/>
                <a:gd name="T68" fmla="*/ 28 w 1234"/>
                <a:gd name="T69" fmla="*/ 397 h 939"/>
                <a:gd name="T70" fmla="*/ 69 w 1234"/>
                <a:gd name="T71" fmla="*/ 224 h 939"/>
                <a:gd name="T72" fmla="*/ 431 w 1234"/>
                <a:gd name="T73" fmla="*/ 400 h 939"/>
                <a:gd name="T74" fmla="*/ 409 w 1234"/>
                <a:gd name="T75" fmla="*/ 277 h 939"/>
                <a:gd name="T76" fmla="*/ 386 w 1234"/>
                <a:gd name="T77" fmla="*/ 397 h 939"/>
                <a:gd name="T78" fmla="*/ 236 w 1234"/>
                <a:gd name="T79" fmla="*/ 201 h 939"/>
                <a:gd name="T80" fmla="*/ 474 w 1234"/>
                <a:gd name="T81" fmla="*/ 438 h 939"/>
                <a:gd name="T82" fmla="*/ 837 w 1234"/>
                <a:gd name="T83" fmla="*/ 399 h 939"/>
                <a:gd name="T84" fmla="*/ 798 w 1234"/>
                <a:gd name="T85" fmla="*/ 292 h 939"/>
                <a:gd name="T86" fmla="*/ 726 w 1234"/>
                <a:gd name="T87" fmla="*/ 274 h 939"/>
                <a:gd name="T88" fmla="*/ 856 w 1234"/>
                <a:gd name="T89" fmla="*/ 201 h 939"/>
                <a:gd name="T90" fmla="*/ 872 w 1234"/>
                <a:gd name="T91" fmla="*/ 455 h 939"/>
                <a:gd name="T92" fmla="*/ 1023 w 1234"/>
                <a:gd name="T93" fmla="*/ 224 h 939"/>
                <a:gd name="T94" fmla="*/ 1064 w 1234"/>
                <a:gd name="T95" fmla="*/ 397 h 939"/>
                <a:gd name="T96" fmla="*/ 478 w 1234"/>
                <a:gd name="T97" fmla="*/ 566 h 939"/>
                <a:gd name="T98" fmla="*/ 641 w 1234"/>
                <a:gd name="T99" fmla="*/ 539 h 939"/>
                <a:gd name="T100" fmla="*/ 209 w 1234"/>
                <a:gd name="T101" fmla="*/ 438 h 939"/>
                <a:gd name="T102" fmla="*/ 236 w 1234"/>
                <a:gd name="T103" fmla="*/ 465 h 939"/>
                <a:gd name="T104" fmla="*/ 856 w 1234"/>
                <a:gd name="T105" fmla="*/ 465 h 939"/>
                <a:gd name="T106" fmla="*/ 73 w 1234"/>
                <a:gd name="T107" fmla="*/ 438 h 939"/>
                <a:gd name="T108" fmla="*/ 82 w 1234"/>
                <a:gd name="T109" fmla="*/ 522 h 939"/>
                <a:gd name="T110" fmla="*/ 100 w 1234"/>
                <a:gd name="T111" fmla="*/ 534 h 939"/>
                <a:gd name="T112" fmla="*/ 73 w 1234"/>
                <a:gd name="T113" fmla="*/ 565 h 939"/>
                <a:gd name="T114" fmla="*/ 1048 w 1234"/>
                <a:gd name="T115" fmla="*/ 939 h 939"/>
                <a:gd name="T116" fmla="*/ 1010 w 1234"/>
                <a:gd name="T117" fmla="*/ 586 h 939"/>
                <a:gd name="T118" fmla="*/ 1019 w 1234"/>
                <a:gd name="T119" fmla="*/ 566 h 939"/>
                <a:gd name="T120" fmla="*/ 1019 w 1234"/>
                <a:gd name="T121" fmla="*/ 438 h 939"/>
                <a:gd name="T122" fmla="*/ 1092 w 1234"/>
                <a:gd name="T123" fmla="*/ 64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4" h="939">
                  <a:moveTo>
                    <a:pt x="0" y="693"/>
                  </a:moveTo>
                  <a:cubicBezTo>
                    <a:pt x="0" y="738"/>
                    <a:pt x="0" y="738"/>
                    <a:pt x="0" y="738"/>
                  </a:cubicBezTo>
                  <a:cubicBezTo>
                    <a:pt x="23" y="738"/>
                    <a:pt x="23" y="738"/>
                    <a:pt x="23" y="738"/>
                  </a:cubicBezTo>
                  <a:cubicBezTo>
                    <a:pt x="0" y="693"/>
                    <a:pt x="0" y="693"/>
                    <a:pt x="0" y="693"/>
                  </a:cubicBezTo>
                  <a:moveTo>
                    <a:pt x="1197" y="662"/>
                  </a:moveTo>
                  <a:cubicBezTo>
                    <a:pt x="1184" y="687"/>
                    <a:pt x="1184" y="687"/>
                    <a:pt x="1184" y="687"/>
                  </a:cubicBezTo>
                  <a:cubicBezTo>
                    <a:pt x="1211" y="738"/>
                    <a:pt x="1211" y="738"/>
                    <a:pt x="1211" y="738"/>
                  </a:cubicBezTo>
                  <a:cubicBezTo>
                    <a:pt x="1234" y="738"/>
                    <a:pt x="1234" y="738"/>
                    <a:pt x="1234" y="738"/>
                  </a:cubicBezTo>
                  <a:cubicBezTo>
                    <a:pt x="1234" y="736"/>
                    <a:pt x="1233" y="733"/>
                    <a:pt x="1233" y="730"/>
                  </a:cubicBezTo>
                  <a:cubicBezTo>
                    <a:pt x="1197" y="662"/>
                    <a:pt x="1197" y="662"/>
                    <a:pt x="1197" y="662"/>
                  </a:cubicBezTo>
                  <a:moveTo>
                    <a:pt x="793" y="662"/>
                  </a:moveTo>
                  <a:cubicBezTo>
                    <a:pt x="780" y="687"/>
                    <a:pt x="780" y="687"/>
                    <a:pt x="780" y="687"/>
                  </a:cubicBezTo>
                  <a:cubicBezTo>
                    <a:pt x="806" y="738"/>
                    <a:pt x="806" y="738"/>
                    <a:pt x="806" y="738"/>
                  </a:cubicBezTo>
                  <a:cubicBezTo>
                    <a:pt x="832" y="738"/>
                    <a:pt x="832" y="738"/>
                    <a:pt x="832" y="738"/>
                  </a:cubicBezTo>
                  <a:cubicBezTo>
                    <a:pt x="793" y="662"/>
                    <a:pt x="793" y="662"/>
                    <a:pt x="793" y="662"/>
                  </a:cubicBezTo>
                  <a:moveTo>
                    <a:pt x="388" y="662"/>
                  </a:moveTo>
                  <a:cubicBezTo>
                    <a:pt x="375" y="687"/>
                    <a:pt x="375" y="687"/>
                    <a:pt x="375" y="687"/>
                  </a:cubicBezTo>
                  <a:cubicBezTo>
                    <a:pt x="402" y="738"/>
                    <a:pt x="402" y="738"/>
                    <a:pt x="402" y="738"/>
                  </a:cubicBezTo>
                  <a:cubicBezTo>
                    <a:pt x="428" y="738"/>
                    <a:pt x="428" y="738"/>
                    <a:pt x="428" y="738"/>
                  </a:cubicBezTo>
                  <a:cubicBezTo>
                    <a:pt x="388" y="662"/>
                    <a:pt x="388" y="662"/>
                    <a:pt x="388" y="662"/>
                  </a:cubicBezTo>
                  <a:moveTo>
                    <a:pt x="1137" y="637"/>
                  </a:moveTo>
                  <a:cubicBezTo>
                    <a:pt x="1131" y="638"/>
                    <a:pt x="1125" y="639"/>
                    <a:pt x="1120" y="639"/>
                  </a:cubicBezTo>
                  <a:cubicBezTo>
                    <a:pt x="1069" y="738"/>
                    <a:pt x="1069" y="738"/>
                    <a:pt x="1069" y="738"/>
                  </a:cubicBezTo>
                  <a:cubicBezTo>
                    <a:pt x="1190" y="738"/>
                    <a:pt x="1190" y="738"/>
                    <a:pt x="1190" y="738"/>
                  </a:cubicBezTo>
                  <a:cubicBezTo>
                    <a:pt x="1137" y="637"/>
                    <a:pt x="1137" y="637"/>
                    <a:pt x="1137" y="637"/>
                  </a:cubicBezTo>
                  <a:moveTo>
                    <a:pt x="409" y="623"/>
                  </a:moveTo>
                  <a:cubicBezTo>
                    <a:pt x="403" y="623"/>
                    <a:pt x="398" y="628"/>
                    <a:pt x="398" y="634"/>
                  </a:cubicBezTo>
                  <a:cubicBezTo>
                    <a:pt x="398" y="640"/>
                    <a:pt x="403" y="645"/>
                    <a:pt x="409" y="646"/>
                  </a:cubicBezTo>
                  <a:cubicBezTo>
                    <a:pt x="415" y="645"/>
                    <a:pt x="420" y="640"/>
                    <a:pt x="420" y="634"/>
                  </a:cubicBezTo>
                  <a:cubicBezTo>
                    <a:pt x="422" y="634"/>
                    <a:pt x="422" y="634"/>
                    <a:pt x="422" y="634"/>
                  </a:cubicBezTo>
                  <a:cubicBezTo>
                    <a:pt x="424" y="634"/>
                    <a:pt x="424" y="634"/>
                    <a:pt x="424" y="634"/>
                  </a:cubicBezTo>
                  <a:cubicBezTo>
                    <a:pt x="424" y="634"/>
                    <a:pt x="424" y="634"/>
                    <a:pt x="424" y="634"/>
                  </a:cubicBezTo>
                  <a:cubicBezTo>
                    <a:pt x="422" y="634"/>
                    <a:pt x="422" y="634"/>
                    <a:pt x="422" y="634"/>
                  </a:cubicBezTo>
                  <a:cubicBezTo>
                    <a:pt x="420" y="634"/>
                    <a:pt x="420" y="634"/>
                    <a:pt x="420" y="634"/>
                  </a:cubicBezTo>
                  <a:cubicBezTo>
                    <a:pt x="420" y="628"/>
                    <a:pt x="415" y="623"/>
                    <a:pt x="409" y="623"/>
                  </a:cubicBezTo>
                  <a:moveTo>
                    <a:pt x="814" y="623"/>
                  </a:moveTo>
                  <a:cubicBezTo>
                    <a:pt x="807" y="623"/>
                    <a:pt x="802" y="628"/>
                    <a:pt x="802" y="634"/>
                  </a:cubicBezTo>
                  <a:cubicBezTo>
                    <a:pt x="802" y="640"/>
                    <a:pt x="807" y="645"/>
                    <a:pt x="814" y="646"/>
                  </a:cubicBezTo>
                  <a:cubicBezTo>
                    <a:pt x="820" y="645"/>
                    <a:pt x="825" y="640"/>
                    <a:pt x="825" y="634"/>
                  </a:cubicBezTo>
                  <a:cubicBezTo>
                    <a:pt x="827" y="634"/>
                    <a:pt x="827" y="634"/>
                    <a:pt x="827" y="634"/>
                  </a:cubicBezTo>
                  <a:cubicBezTo>
                    <a:pt x="829" y="634"/>
                    <a:pt x="829" y="634"/>
                    <a:pt x="829" y="634"/>
                  </a:cubicBezTo>
                  <a:cubicBezTo>
                    <a:pt x="829" y="634"/>
                    <a:pt x="829" y="634"/>
                    <a:pt x="829" y="634"/>
                  </a:cubicBezTo>
                  <a:cubicBezTo>
                    <a:pt x="827" y="634"/>
                    <a:pt x="827" y="634"/>
                    <a:pt x="827" y="634"/>
                  </a:cubicBezTo>
                  <a:cubicBezTo>
                    <a:pt x="825" y="634"/>
                    <a:pt x="825" y="634"/>
                    <a:pt x="825" y="634"/>
                  </a:cubicBezTo>
                  <a:cubicBezTo>
                    <a:pt x="825" y="628"/>
                    <a:pt x="820" y="623"/>
                    <a:pt x="814" y="623"/>
                  </a:cubicBezTo>
                  <a:moveTo>
                    <a:pt x="320" y="621"/>
                  </a:moveTo>
                  <a:cubicBezTo>
                    <a:pt x="260" y="738"/>
                    <a:pt x="260" y="738"/>
                    <a:pt x="260" y="738"/>
                  </a:cubicBezTo>
                  <a:cubicBezTo>
                    <a:pt x="381" y="738"/>
                    <a:pt x="381" y="738"/>
                    <a:pt x="381" y="738"/>
                  </a:cubicBezTo>
                  <a:cubicBezTo>
                    <a:pt x="320" y="621"/>
                    <a:pt x="320" y="621"/>
                    <a:pt x="320" y="621"/>
                  </a:cubicBezTo>
                  <a:moveTo>
                    <a:pt x="725" y="621"/>
                  </a:moveTo>
                  <a:cubicBezTo>
                    <a:pt x="664" y="738"/>
                    <a:pt x="664" y="738"/>
                    <a:pt x="664" y="738"/>
                  </a:cubicBezTo>
                  <a:cubicBezTo>
                    <a:pt x="785" y="738"/>
                    <a:pt x="785" y="738"/>
                    <a:pt x="785" y="738"/>
                  </a:cubicBezTo>
                  <a:cubicBezTo>
                    <a:pt x="725" y="621"/>
                    <a:pt x="725" y="621"/>
                    <a:pt x="725" y="621"/>
                  </a:cubicBezTo>
                  <a:moveTo>
                    <a:pt x="1023" y="595"/>
                  </a:moveTo>
                  <a:cubicBezTo>
                    <a:pt x="1023" y="780"/>
                    <a:pt x="1023" y="780"/>
                    <a:pt x="1023" y="780"/>
                  </a:cubicBezTo>
                  <a:cubicBezTo>
                    <a:pt x="1023" y="787"/>
                    <a:pt x="1025" y="792"/>
                    <a:pt x="1029" y="797"/>
                  </a:cubicBezTo>
                  <a:cubicBezTo>
                    <a:pt x="1034" y="801"/>
                    <a:pt x="1039" y="803"/>
                    <a:pt x="1046" y="803"/>
                  </a:cubicBezTo>
                  <a:cubicBezTo>
                    <a:pt x="1227" y="803"/>
                    <a:pt x="1227" y="803"/>
                    <a:pt x="1227" y="803"/>
                  </a:cubicBezTo>
                  <a:cubicBezTo>
                    <a:pt x="1232" y="787"/>
                    <a:pt x="1234" y="770"/>
                    <a:pt x="1234" y="753"/>
                  </a:cubicBezTo>
                  <a:cubicBezTo>
                    <a:pt x="1234" y="749"/>
                    <a:pt x="1234" y="746"/>
                    <a:pt x="1234" y="742"/>
                  </a:cubicBezTo>
                  <a:cubicBezTo>
                    <a:pt x="1210" y="742"/>
                    <a:pt x="1210" y="742"/>
                    <a:pt x="1210" y="742"/>
                  </a:cubicBezTo>
                  <a:cubicBezTo>
                    <a:pt x="1209" y="742"/>
                    <a:pt x="1208" y="742"/>
                    <a:pt x="1208" y="741"/>
                  </a:cubicBezTo>
                  <a:cubicBezTo>
                    <a:pt x="1180" y="688"/>
                    <a:pt x="1180" y="688"/>
                    <a:pt x="1180" y="688"/>
                  </a:cubicBezTo>
                  <a:cubicBezTo>
                    <a:pt x="1180" y="687"/>
                    <a:pt x="1180" y="687"/>
                    <a:pt x="1180" y="686"/>
                  </a:cubicBezTo>
                  <a:cubicBezTo>
                    <a:pt x="1196" y="656"/>
                    <a:pt x="1196" y="656"/>
                    <a:pt x="1196" y="656"/>
                  </a:cubicBezTo>
                  <a:cubicBezTo>
                    <a:pt x="1196" y="656"/>
                    <a:pt x="1197" y="655"/>
                    <a:pt x="1197" y="655"/>
                  </a:cubicBezTo>
                  <a:cubicBezTo>
                    <a:pt x="1197" y="655"/>
                    <a:pt x="1197" y="655"/>
                    <a:pt x="1197" y="655"/>
                  </a:cubicBezTo>
                  <a:cubicBezTo>
                    <a:pt x="1198" y="655"/>
                    <a:pt x="1199" y="656"/>
                    <a:pt x="1199" y="656"/>
                  </a:cubicBezTo>
                  <a:cubicBezTo>
                    <a:pt x="1231" y="718"/>
                    <a:pt x="1231" y="718"/>
                    <a:pt x="1231" y="718"/>
                  </a:cubicBezTo>
                  <a:cubicBezTo>
                    <a:pt x="1225" y="683"/>
                    <a:pt x="1208" y="652"/>
                    <a:pt x="1185" y="627"/>
                  </a:cubicBezTo>
                  <a:cubicBezTo>
                    <a:pt x="1170" y="631"/>
                    <a:pt x="1155" y="634"/>
                    <a:pt x="1142" y="636"/>
                  </a:cubicBezTo>
                  <a:cubicBezTo>
                    <a:pt x="1195" y="739"/>
                    <a:pt x="1195" y="739"/>
                    <a:pt x="1195" y="739"/>
                  </a:cubicBezTo>
                  <a:cubicBezTo>
                    <a:pt x="1195" y="740"/>
                    <a:pt x="1195" y="741"/>
                    <a:pt x="1195" y="741"/>
                  </a:cubicBezTo>
                  <a:cubicBezTo>
                    <a:pt x="1195" y="742"/>
                    <a:pt x="1194" y="742"/>
                    <a:pt x="1193" y="742"/>
                  </a:cubicBezTo>
                  <a:cubicBezTo>
                    <a:pt x="1065" y="742"/>
                    <a:pt x="1065" y="742"/>
                    <a:pt x="1065" y="742"/>
                  </a:cubicBezTo>
                  <a:cubicBezTo>
                    <a:pt x="1065" y="742"/>
                    <a:pt x="1064" y="742"/>
                    <a:pt x="1064" y="741"/>
                  </a:cubicBezTo>
                  <a:cubicBezTo>
                    <a:pt x="1063" y="741"/>
                    <a:pt x="1063" y="740"/>
                    <a:pt x="1064" y="739"/>
                  </a:cubicBezTo>
                  <a:cubicBezTo>
                    <a:pt x="1115" y="640"/>
                    <a:pt x="1115" y="640"/>
                    <a:pt x="1115" y="640"/>
                  </a:cubicBezTo>
                  <a:cubicBezTo>
                    <a:pt x="1093" y="643"/>
                    <a:pt x="1079" y="644"/>
                    <a:pt x="1079" y="644"/>
                  </a:cubicBezTo>
                  <a:cubicBezTo>
                    <a:pt x="1073" y="597"/>
                    <a:pt x="1073" y="597"/>
                    <a:pt x="1073" y="597"/>
                  </a:cubicBezTo>
                  <a:cubicBezTo>
                    <a:pt x="1053" y="597"/>
                    <a:pt x="1033" y="596"/>
                    <a:pt x="1023" y="595"/>
                  </a:cubicBezTo>
                  <a:moveTo>
                    <a:pt x="1023" y="589"/>
                  </a:moveTo>
                  <a:cubicBezTo>
                    <a:pt x="1023" y="590"/>
                    <a:pt x="1023" y="590"/>
                    <a:pt x="1023" y="590"/>
                  </a:cubicBezTo>
                  <a:cubicBezTo>
                    <a:pt x="1026" y="589"/>
                    <a:pt x="1030" y="589"/>
                    <a:pt x="1033" y="589"/>
                  </a:cubicBezTo>
                  <a:cubicBezTo>
                    <a:pt x="1030" y="589"/>
                    <a:pt x="1026" y="589"/>
                    <a:pt x="1023" y="589"/>
                  </a:cubicBezTo>
                  <a:moveTo>
                    <a:pt x="1023" y="581"/>
                  </a:moveTo>
                  <a:cubicBezTo>
                    <a:pt x="1023" y="582"/>
                    <a:pt x="1023" y="582"/>
                    <a:pt x="1023" y="582"/>
                  </a:cubicBezTo>
                  <a:cubicBezTo>
                    <a:pt x="1025" y="582"/>
                    <a:pt x="1028" y="581"/>
                    <a:pt x="1030" y="581"/>
                  </a:cubicBezTo>
                  <a:cubicBezTo>
                    <a:pt x="1028" y="581"/>
                    <a:pt x="1026" y="581"/>
                    <a:pt x="1023" y="581"/>
                  </a:cubicBezTo>
                  <a:moveTo>
                    <a:pt x="1028" y="573"/>
                  </a:moveTo>
                  <a:cubicBezTo>
                    <a:pt x="1028" y="573"/>
                    <a:pt x="1026" y="573"/>
                    <a:pt x="1023" y="573"/>
                  </a:cubicBezTo>
                  <a:cubicBezTo>
                    <a:pt x="1023" y="573"/>
                    <a:pt x="1023" y="573"/>
                    <a:pt x="1023" y="573"/>
                  </a:cubicBezTo>
                  <a:cubicBezTo>
                    <a:pt x="1023" y="574"/>
                    <a:pt x="1023" y="574"/>
                    <a:pt x="1023" y="574"/>
                  </a:cubicBezTo>
                  <a:cubicBezTo>
                    <a:pt x="1026" y="573"/>
                    <a:pt x="1028" y="573"/>
                    <a:pt x="1028" y="573"/>
                  </a:cubicBezTo>
                  <a:moveTo>
                    <a:pt x="69" y="567"/>
                  </a:moveTo>
                  <a:cubicBezTo>
                    <a:pt x="63" y="570"/>
                    <a:pt x="56" y="573"/>
                    <a:pt x="49" y="576"/>
                  </a:cubicBezTo>
                  <a:cubicBezTo>
                    <a:pt x="60" y="628"/>
                    <a:pt x="60" y="628"/>
                    <a:pt x="60" y="628"/>
                  </a:cubicBezTo>
                  <a:cubicBezTo>
                    <a:pt x="60" y="628"/>
                    <a:pt x="41" y="637"/>
                    <a:pt x="13" y="647"/>
                  </a:cubicBezTo>
                  <a:cubicBezTo>
                    <a:pt x="11" y="648"/>
                    <a:pt x="8" y="649"/>
                    <a:pt x="6" y="649"/>
                  </a:cubicBezTo>
                  <a:cubicBezTo>
                    <a:pt x="4" y="650"/>
                    <a:pt x="2" y="651"/>
                    <a:pt x="0" y="651"/>
                  </a:cubicBezTo>
                  <a:cubicBezTo>
                    <a:pt x="0" y="684"/>
                    <a:pt x="0" y="684"/>
                    <a:pt x="0" y="684"/>
                  </a:cubicBezTo>
                  <a:cubicBezTo>
                    <a:pt x="28" y="739"/>
                    <a:pt x="28" y="739"/>
                    <a:pt x="28" y="739"/>
                  </a:cubicBezTo>
                  <a:cubicBezTo>
                    <a:pt x="29" y="740"/>
                    <a:pt x="29" y="741"/>
                    <a:pt x="28" y="741"/>
                  </a:cubicBezTo>
                  <a:cubicBezTo>
                    <a:pt x="28" y="742"/>
                    <a:pt x="27" y="742"/>
                    <a:pt x="27" y="742"/>
                  </a:cubicBezTo>
                  <a:cubicBezTo>
                    <a:pt x="0" y="742"/>
                    <a:pt x="0" y="742"/>
                    <a:pt x="0" y="742"/>
                  </a:cubicBezTo>
                  <a:cubicBezTo>
                    <a:pt x="0" y="803"/>
                    <a:pt x="0" y="803"/>
                    <a:pt x="0" y="803"/>
                  </a:cubicBezTo>
                  <a:cubicBezTo>
                    <a:pt x="46" y="803"/>
                    <a:pt x="46" y="803"/>
                    <a:pt x="46" y="803"/>
                  </a:cubicBezTo>
                  <a:cubicBezTo>
                    <a:pt x="53" y="803"/>
                    <a:pt x="58" y="801"/>
                    <a:pt x="63" y="797"/>
                  </a:cubicBezTo>
                  <a:cubicBezTo>
                    <a:pt x="67" y="792"/>
                    <a:pt x="69" y="787"/>
                    <a:pt x="69" y="780"/>
                  </a:cubicBezTo>
                  <a:cubicBezTo>
                    <a:pt x="69" y="567"/>
                    <a:pt x="69" y="567"/>
                    <a:pt x="69" y="567"/>
                  </a:cubicBezTo>
                  <a:moveTo>
                    <a:pt x="1023" y="563"/>
                  </a:moveTo>
                  <a:cubicBezTo>
                    <a:pt x="1023" y="564"/>
                    <a:pt x="1023" y="565"/>
                    <a:pt x="1023" y="566"/>
                  </a:cubicBezTo>
                  <a:cubicBezTo>
                    <a:pt x="1023" y="567"/>
                    <a:pt x="1023" y="567"/>
                    <a:pt x="1023" y="567"/>
                  </a:cubicBezTo>
                  <a:cubicBezTo>
                    <a:pt x="1026" y="567"/>
                    <a:pt x="1029" y="567"/>
                    <a:pt x="1030" y="566"/>
                  </a:cubicBezTo>
                  <a:cubicBezTo>
                    <a:pt x="1031" y="565"/>
                    <a:pt x="1026" y="564"/>
                    <a:pt x="1023" y="563"/>
                  </a:cubicBezTo>
                  <a:moveTo>
                    <a:pt x="21" y="543"/>
                  </a:moveTo>
                  <a:cubicBezTo>
                    <a:pt x="0" y="543"/>
                    <a:pt x="0" y="543"/>
                    <a:pt x="0" y="543"/>
                  </a:cubicBezTo>
                  <a:cubicBezTo>
                    <a:pt x="0" y="550"/>
                    <a:pt x="0" y="550"/>
                    <a:pt x="0" y="550"/>
                  </a:cubicBezTo>
                  <a:cubicBezTo>
                    <a:pt x="8" y="548"/>
                    <a:pt x="15" y="545"/>
                    <a:pt x="21" y="543"/>
                  </a:cubicBezTo>
                  <a:moveTo>
                    <a:pt x="387" y="656"/>
                  </a:moveTo>
                  <a:cubicBezTo>
                    <a:pt x="387" y="656"/>
                    <a:pt x="388" y="655"/>
                    <a:pt x="388" y="655"/>
                  </a:cubicBezTo>
                  <a:cubicBezTo>
                    <a:pt x="389" y="655"/>
                    <a:pt x="390" y="656"/>
                    <a:pt x="390" y="656"/>
                  </a:cubicBezTo>
                  <a:cubicBezTo>
                    <a:pt x="433" y="739"/>
                    <a:pt x="433" y="739"/>
                    <a:pt x="433" y="739"/>
                  </a:cubicBezTo>
                  <a:cubicBezTo>
                    <a:pt x="433" y="740"/>
                    <a:pt x="433" y="741"/>
                    <a:pt x="433" y="741"/>
                  </a:cubicBezTo>
                  <a:cubicBezTo>
                    <a:pt x="433" y="742"/>
                    <a:pt x="432" y="742"/>
                    <a:pt x="431" y="742"/>
                  </a:cubicBezTo>
                  <a:cubicBezTo>
                    <a:pt x="400" y="742"/>
                    <a:pt x="400" y="742"/>
                    <a:pt x="400" y="742"/>
                  </a:cubicBezTo>
                  <a:cubicBezTo>
                    <a:pt x="400" y="742"/>
                    <a:pt x="399" y="742"/>
                    <a:pt x="399" y="741"/>
                  </a:cubicBezTo>
                  <a:cubicBezTo>
                    <a:pt x="371" y="688"/>
                    <a:pt x="371" y="688"/>
                    <a:pt x="371" y="688"/>
                  </a:cubicBezTo>
                  <a:cubicBezTo>
                    <a:pt x="371" y="687"/>
                    <a:pt x="371" y="687"/>
                    <a:pt x="371" y="686"/>
                  </a:cubicBezTo>
                  <a:cubicBezTo>
                    <a:pt x="387" y="656"/>
                    <a:pt x="387" y="656"/>
                    <a:pt x="387" y="656"/>
                  </a:cubicBezTo>
                  <a:moveTo>
                    <a:pt x="409" y="650"/>
                  </a:moveTo>
                  <a:cubicBezTo>
                    <a:pt x="401" y="650"/>
                    <a:pt x="394" y="643"/>
                    <a:pt x="394" y="634"/>
                  </a:cubicBezTo>
                  <a:cubicBezTo>
                    <a:pt x="394" y="626"/>
                    <a:pt x="401" y="619"/>
                    <a:pt x="409" y="619"/>
                  </a:cubicBezTo>
                  <a:cubicBezTo>
                    <a:pt x="418" y="619"/>
                    <a:pt x="424" y="626"/>
                    <a:pt x="424" y="634"/>
                  </a:cubicBezTo>
                  <a:cubicBezTo>
                    <a:pt x="424" y="634"/>
                    <a:pt x="424" y="634"/>
                    <a:pt x="424" y="634"/>
                  </a:cubicBezTo>
                  <a:cubicBezTo>
                    <a:pt x="424" y="634"/>
                    <a:pt x="424" y="634"/>
                    <a:pt x="424" y="634"/>
                  </a:cubicBezTo>
                  <a:cubicBezTo>
                    <a:pt x="424" y="643"/>
                    <a:pt x="418" y="650"/>
                    <a:pt x="409" y="650"/>
                  </a:cubicBezTo>
                  <a:moveTo>
                    <a:pt x="318" y="616"/>
                  </a:moveTo>
                  <a:cubicBezTo>
                    <a:pt x="319" y="615"/>
                    <a:pt x="319" y="615"/>
                    <a:pt x="320" y="615"/>
                  </a:cubicBezTo>
                  <a:cubicBezTo>
                    <a:pt x="321" y="615"/>
                    <a:pt x="322" y="615"/>
                    <a:pt x="322" y="616"/>
                  </a:cubicBezTo>
                  <a:cubicBezTo>
                    <a:pt x="386" y="739"/>
                    <a:pt x="386" y="739"/>
                    <a:pt x="386" y="739"/>
                  </a:cubicBezTo>
                  <a:cubicBezTo>
                    <a:pt x="386" y="740"/>
                    <a:pt x="386" y="741"/>
                    <a:pt x="386" y="741"/>
                  </a:cubicBezTo>
                  <a:cubicBezTo>
                    <a:pt x="385" y="742"/>
                    <a:pt x="385" y="742"/>
                    <a:pt x="384" y="742"/>
                  </a:cubicBezTo>
                  <a:cubicBezTo>
                    <a:pt x="256" y="742"/>
                    <a:pt x="256" y="742"/>
                    <a:pt x="256" y="742"/>
                  </a:cubicBezTo>
                  <a:cubicBezTo>
                    <a:pt x="256" y="742"/>
                    <a:pt x="255" y="742"/>
                    <a:pt x="255" y="741"/>
                  </a:cubicBezTo>
                  <a:cubicBezTo>
                    <a:pt x="254" y="741"/>
                    <a:pt x="254" y="740"/>
                    <a:pt x="254" y="739"/>
                  </a:cubicBezTo>
                  <a:cubicBezTo>
                    <a:pt x="318" y="616"/>
                    <a:pt x="318" y="616"/>
                    <a:pt x="318" y="616"/>
                  </a:cubicBezTo>
                  <a:moveTo>
                    <a:pt x="451" y="543"/>
                  </a:moveTo>
                  <a:cubicBezTo>
                    <a:pt x="236" y="543"/>
                    <a:pt x="236" y="543"/>
                    <a:pt x="236" y="543"/>
                  </a:cubicBezTo>
                  <a:cubicBezTo>
                    <a:pt x="230" y="543"/>
                    <a:pt x="224" y="545"/>
                    <a:pt x="220" y="550"/>
                  </a:cubicBezTo>
                  <a:cubicBezTo>
                    <a:pt x="216" y="554"/>
                    <a:pt x="213" y="560"/>
                    <a:pt x="213" y="566"/>
                  </a:cubicBezTo>
                  <a:cubicBezTo>
                    <a:pt x="213" y="780"/>
                    <a:pt x="213" y="780"/>
                    <a:pt x="213" y="780"/>
                  </a:cubicBezTo>
                  <a:cubicBezTo>
                    <a:pt x="213" y="787"/>
                    <a:pt x="216" y="792"/>
                    <a:pt x="220" y="797"/>
                  </a:cubicBezTo>
                  <a:cubicBezTo>
                    <a:pt x="224" y="801"/>
                    <a:pt x="230" y="803"/>
                    <a:pt x="236" y="803"/>
                  </a:cubicBezTo>
                  <a:cubicBezTo>
                    <a:pt x="451" y="803"/>
                    <a:pt x="451" y="803"/>
                    <a:pt x="451" y="803"/>
                  </a:cubicBezTo>
                  <a:cubicBezTo>
                    <a:pt x="457" y="803"/>
                    <a:pt x="463" y="801"/>
                    <a:pt x="467" y="797"/>
                  </a:cubicBezTo>
                  <a:cubicBezTo>
                    <a:pt x="471" y="792"/>
                    <a:pt x="474" y="787"/>
                    <a:pt x="474" y="780"/>
                  </a:cubicBezTo>
                  <a:cubicBezTo>
                    <a:pt x="474" y="566"/>
                    <a:pt x="474" y="566"/>
                    <a:pt x="474" y="566"/>
                  </a:cubicBezTo>
                  <a:cubicBezTo>
                    <a:pt x="474" y="560"/>
                    <a:pt x="471" y="554"/>
                    <a:pt x="467" y="550"/>
                  </a:cubicBezTo>
                  <a:cubicBezTo>
                    <a:pt x="463" y="545"/>
                    <a:pt x="457" y="543"/>
                    <a:pt x="451" y="543"/>
                  </a:cubicBezTo>
                  <a:moveTo>
                    <a:pt x="791" y="656"/>
                  </a:moveTo>
                  <a:cubicBezTo>
                    <a:pt x="791" y="656"/>
                    <a:pt x="792" y="655"/>
                    <a:pt x="793" y="655"/>
                  </a:cubicBezTo>
                  <a:cubicBezTo>
                    <a:pt x="794" y="655"/>
                    <a:pt x="794" y="656"/>
                    <a:pt x="795" y="656"/>
                  </a:cubicBezTo>
                  <a:cubicBezTo>
                    <a:pt x="838" y="739"/>
                    <a:pt x="838" y="739"/>
                    <a:pt x="838" y="739"/>
                  </a:cubicBezTo>
                  <a:cubicBezTo>
                    <a:pt x="838" y="740"/>
                    <a:pt x="838" y="741"/>
                    <a:pt x="837" y="741"/>
                  </a:cubicBezTo>
                  <a:cubicBezTo>
                    <a:pt x="837" y="742"/>
                    <a:pt x="836" y="742"/>
                    <a:pt x="836" y="742"/>
                  </a:cubicBezTo>
                  <a:cubicBezTo>
                    <a:pt x="805" y="742"/>
                    <a:pt x="805" y="742"/>
                    <a:pt x="805" y="742"/>
                  </a:cubicBezTo>
                  <a:cubicBezTo>
                    <a:pt x="804" y="742"/>
                    <a:pt x="804" y="742"/>
                    <a:pt x="803" y="741"/>
                  </a:cubicBezTo>
                  <a:cubicBezTo>
                    <a:pt x="776" y="688"/>
                    <a:pt x="776" y="688"/>
                    <a:pt x="776" y="688"/>
                  </a:cubicBezTo>
                  <a:cubicBezTo>
                    <a:pt x="775" y="687"/>
                    <a:pt x="775" y="687"/>
                    <a:pt x="776" y="686"/>
                  </a:cubicBezTo>
                  <a:cubicBezTo>
                    <a:pt x="791" y="656"/>
                    <a:pt x="791" y="656"/>
                    <a:pt x="791" y="656"/>
                  </a:cubicBezTo>
                  <a:moveTo>
                    <a:pt x="814" y="650"/>
                  </a:moveTo>
                  <a:cubicBezTo>
                    <a:pt x="805" y="650"/>
                    <a:pt x="798" y="643"/>
                    <a:pt x="798" y="634"/>
                  </a:cubicBezTo>
                  <a:cubicBezTo>
                    <a:pt x="798" y="626"/>
                    <a:pt x="805" y="619"/>
                    <a:pt x="814" y="619"/>
                  </a:cubicBezTo>
                  <a:cubicBezTo>
                    <a:pt x="822" y="619"/>
                    <a:pt x="829" y="626"/>
                    <a:pt x="829" y="634"/>
                  </a:cubicBezTo>
                  <a:cubicBezTo>
                    <a:pt x="829" y="634"/>
                    <a:pt x="829" y="634"/>
                    <a:pt x="829" y="634"/>
                  </a:cubicBezTo>
                  <a:cubicBezTo>
                    <a:pt x="829" y="634"/>
                    <a:pt x="829" y="634"/>
                    <a:pt x="829" y="634"/>
                  </a:cubicBezTo>
                  <a:cubicBezTo>
                    <a:pt x="829" y="643"/>
                    <a:pt x="822" y="650"/>
                    <a:pt x="814" y="650"/>
                  </a:cubicBezTo>
                  <a:moveTo>
                    <a:pt x="723" y="616"/>
                  </a:moveTo>
                  <a:cubicBezTo>
                    <a:pt x="723" y="615"/>
                    <a:pt x="724" y="615"/>
                    <a:pt x="725" y="615"/>
                  </a:cubicBezTo>
                  <a:cubicBezTo>
                    <a:pt x="725" y="615"/>
                    <a:pt x="726" y="615"/>
                    <a:pt x="726" y="616"/>
                  </a:cubicBezTo>
                  <a:cubicBezTo>
                    <a:pt x="790" y="739"/>
                    <a:pt x="790" y="739"/>
                    <a:pt x="790" y="739"/>
                  </a:cubicBezTo>
                  <a:cubicBezTo>
                    <a:pt x="791" y="740"/>
                    <a:pt x="791" y="741"/>
                    <a:pt x="790" y="741"/>
                  </a:cubicBezTo>
                  <a:cubicBezTo>
                    <a:pt x="790" y="742"/>
                    <a:pt x="789" y="742"/>
                    <a:pt x="789" y="742"/>
                  </a:cubicBezTo>
                  <a:cubicBezTo>
                    <a:pt x="661" y="742"/>
                    <a:pt x="661" y="742"/>
                    <a:pt x="661" y="742"/>
                  </a:cubicBezTo>
                  <a:cubicBezTo>
                    <a:pt x="660" y="742"/>
                    <a:pt x="659" y="742"/>
                    <a:pt x="659" y="741"/>
                  </a:cubicBezTo>
                  <a:cubicBezTo>
                    <a:pt x="659" y="741"/>
                    <a:pt x="659" y="740"/>
                    <a:pt x="659" y="739"/>
                  </a:cubicBezTo>
                  <a:cubicBezTo>
                    <a:pt x="723" y="616"/>
                    <a:pt x="723" y="616"/>
                    <a:pt x="723" y="616"/>
                  </a:cubicBezTo>
                  <a:moveTo>
                    <a:pt x="856" y="543"/>
                  </a:moveTo>
                  <a:cubicBezTo>
                    <a:pt x="641" y="543"/>
                    <a:pt x="641" y="543"/>
                    <a:pt x="641" y="543"/>
                  </a:cubicBezTo>
                  <a:cubicBezTo>
                    <a:pt x="635" y="543"/>
                    <a:pt x="629" y="545"/>
                    <a:pt x="625" y="550"/>
                  </a:cubicBezTo>
                  <a:cubicBezTo>
                    <a:pt x="621" y="554"/>
                    <a:pt x="618" y="560"/>
                    <a:pt x="618" y="566"/>
                  </a:cubicBezTo>
                  <a:cubicBezTo>
                    <a:pt x="618" y="780"/>
                    <a:pt x="618" y="780"/>
                    <a:pt x="618" y="780"/>
                  </a:cubicBezTo>
                  <a:cubicBezTo>
                    <a:pt x="618" y="787"/>
                    <a:pt x="621" y="792"/>
                    <a:pt x="625" y="797"/>
                  </a:cubicBezTo>
                  <a:cubicBezTo>
                    <a:pt x="629" y="801"/>
                    <a:pt x="635" y="803"/>
                    <a:pt x="641" y="803"/>
                  </a:cubicBezTo>
                  <a:cubicBezTo>
                    <a:pt x="856" y="803"/>
                    <a:pt x="856" y="803"/>
                    <a:pt x="856" y="803"/>
                  </a:cubicBezTo>
                  <a:cubicBezTo>
                    <a:pt x="862" y="803"/>
                    <a:pt x="868" y="801"/>
                    <a:pt x="872" y="797"/>
                  </a:cubicBezTo>
                  <a:cubicBezTo>
                    <a:pt x="876" y="792"/>
                    <a:pt x="879" y="787"/>
                    <a:pt x="879" y="780"/>
                  </a:cubicBezTo>
                  <a:cubicBezTo>
                    <a:pt x="879" y="566"/>
                    <a:pt x="879" y="566"/>
                    <a:pt x="879" y="566"/>
                  </a:cubicBezTo>
                  <a:cubicBezTo>
                    <a:pt x="879" y="560"/>
                    <a:pt x="876" y="554"/>
                    <a:pt x="872" y="550"/>
                  </a:cubicBezTo>
                  <a:cubicBezTo>
                    <a:pt x="868" y="545"/>
                    <a:pt x="862" y="543"/>
                    <a:pt x="856" y="543"/>
                  </a:cubicBezTo>
                  <a:moveTo>
                    <a:pt x="1092" y="543"/>
                  </a:moveTo>
                  <a:cubicBezTo>
                    <a:pt x="1046" y="543"/>
                    <a:pt x="1046" y="543"/>
                    <a:pt x="1046" y="543"/>
                  </a:cubicBezTo>
                  <a:cubicBezTo>
                    <a:pt x="1039" y="543"/>
                    <a:pt x="1034" y="545"/>
                    <a:pt x="1029" y="550"/>
                  </a:cubicBezTo>
                  <a:cubicBezTo>
                    <a:pt x="1027" y="552"/>
                    <a:pt x="1025" y="555"/>
                    <a:pt x="1024" y="559"/>
                  </a:cubicBezTo>
                  <a:cubicBezTo>
                    <a:pt x="1026" y="559"/>
                    <a:pt x="1030" y="559"/>
                    <a:pt x="1034" y="559"/>
                  </a:cubicBezTo>
                  <a:cubicBezTo>
                    <a:pt x="1038" y="559"/>
                    <a:pt x="1042" y="559"/>
                    <a:pt x="1046" y="559"/>
                  </a:cubicBezTo>
                  <a:cubicBezTo>
                    <a:pt x="1050" y="559"/>
                    <a:pt x="1055" y="559"/>
                    <a:pt x="1059" y="559"/>
                  </a:cubicBezTo>
                  <a:cubicBezTo>
                    <a:pt x="1062" y="559"/>
                    <a:pt x="1065" y="559"/>
                    <a:pt x="1068" y="559"/>
                  </a:cubicBezTo>
                  <a:cubicBezTo>
                    <a:pt x="1068" y="558"/>
                    <a:pt x="1068" y="558"/>
                    <a:pt x="1068" y="558"/>
                  </a:cubicBezTo>
                  <a:cubicBezTo>
                    <a:pt x="1076" y="557"/>
                    <a:pt x="1084" y="556"/>
                    <a:pt x="1092" y="554"/>
                  </a:cubicBezTo>
                  <a:cubicBezTo>
                    <a:pt x="1092" y="543"/>
                    <a:pt x="1092" y="543"/>
                    <a:pt x="1092" y="543"/>
                  </a:cubicBezTo>
                  <a:moveTo>
                    <a:pt x="1092" y="351"/>
                  </a:moveTo>
                  <a:cubicBezTo>
                    <a:pt x="1069" y="396"/>
                    <a:pt x="1069" y="396"/>
                    <a:pt x="1069" y="396"/>
                  </a:cubicBezTo>
                  <a:cubicBezTo>
                    <a:pt x="1092" y="396"/>
                    <a:pt x="1092" y="396"/>
                    <a:pt x="1092" y="396"/>
                  </a:cubicBezTo>
                  <a:cubicBezTo>
                    <a:pt x="1092" y="351"/>
                    <a:pt x="1092" y="351"/>
                    <a:pt x="1092" y="351"/>
                  </a:cubicBezTo>
                  <a:moveTo>
                    <a:pt x="0" y="351"/>
                  </a:moveTo>
                  <a:cubicBezTo>
                    <a:pt x="0" y="396"/>
                    <a:pt x="0" y="396"/>
                    <a:pt x="0" y="396"/>
                  </a:cubicBezTo>
                  <a:cubicBezTo>
                    <a:pt x="23" y="396"/>
                    <a:pt x="23" y="396"/>
                    <a:pt x="23" y="396"/>
                  </a:cubicBezTo>
                  <a:cubicBezTo>
                    <a:pt x="0" y="351"/>
                    <a:pt x="0" y="351"/>
                    <a:pt x="0" y="351"/>
                  </a:cubicBezTo>
                  <a:moveTo>
                    <a:pt x="388" y="320"/>
                  </a:moveTo>
                  <a:cubicBezTo>
                    <a:pt x="375" y="345"/>
                    <a:pt x="375" y="345"/>
                    <a:pt x="375" y="345"/>
                  </a:cubicBezTo>
                  <a:cubicBezTo>
                    <a:pt x="402" y="396"/>
                    <a:pt x="402" y="396"/>
                    <a:pt x="402" y="396"/>
                  </a:cubicBezTo>
                  <a:cubicBezTo>
                    <a:pt x="428" y="396"/>
                    <a:pt x="428" y="396"/>
                    <a:pt x="428" y="396"/>
                  </a:cubicBezTo>
                  <a:cubicBezTo>
                    <a:pt x="388" y="320"/>
                    <a:pt x="388" y="320"/>
                    <a:pt x="388" y="320"/>
                  </a:cubicBezTo>
                  <a:moveTo>
                    <a:pt x="793" y="320"/>
                  </a:moveTo>
                  <a:cubicBezTo>
                    <a:pt x="780" y="345"/>
                    <a:pt x="780" y="345"/>
                    <a:pt x="780" y="345"/>
                  </a:cubicBezTo>
                  <a:cubicBezTo>
                    <a:pt x="806" y="396"/>
                    <a:pt x="806" y="396"/>
                    <a:pt x="806" y="396"/>
                  </a:cubicBezTo>
                  <a:cubicBezTo>
                    <a:pt x="832" y="396"/>
                    <a:pt x="832" y="396"/>
                    <a:pt x="832" y="396"/>
                  </a:cubicBezTo>
                  <a:cubicBezTo>
                    <a:pt x="793" y="320"/>
                    <a:pt x="793" y="320"/>
                    <a:pt x="793" y="320"/>
                  </a:cubicBezTo>
                  <a:moveTo>
                    <a:pt x="5" y="281"/>
                  </a:moveTo>
                  <a:cubicBezTo>
                    <a:pt x="3" y="281"/>
                    <a:pt x="1" y="281"/>
                    <a:pt x="0" y="282"/>
                  </a:cubicBezTo>
                  <a:cubicBezTo>
                    <a:pt x="0" y="303"/>
                    <a:pt x="0" y="303"/>
                    <a:pt x="0" y="303"/>
                  </a:cubicBezTo>
                  <a:cubicBezTo>
                    <a:pt x="1" y="303"/>
                    <a:pt x="3" y="304"/>
                    <a:pt x="5" y="304"/>
                  </a:cubicBezTo>
                  <a:cubicBezTo>
                    <a:pt x="11" y="304"/>
                    <a:pt x="16" y="299"/>
                    <a:pt x="16" y="292"/>
                  </a:cubicBezTo>
                  <a:cubicBezTo>
                    <a:pt x="18" y="292"/>
                    <a:pt x="18" y="292"/>
                    <a:pt x="18" y="292"/>
                  </a:cubicBezTo>
                  <a:cubicBezTo>
                    <a:pt x="20" y="292"/>
                    <a:pt x="20" y="292"/>
                    <a:pt x="20" y="292"/>
                  </a:cubicBezTo>
                  <a:cubicBezTo>
                    <a:pt x="20" y="292"/>
                    <a:pt x="20" y="292"/>
                    <a:pt x="20" y="292"/>
                  </a:cubicBezTo>
                  <a:cubicBezTo>
                    <a:pt x="18" y="292"/>
                    <a:pt x="18" y="292"/>
                    <a:pt x="18" y="292"/>
                  </a:cubicBezTo>
                  <a:cubicBezTo>
                    <a:pt x="16" y="292"/>
                    <a:pt x="16" y="292"/>
                    <a:pt x="16" y="292"/>
                  </a:cubicBezTo>
                  <a:cubicBezTo>
                    <a:pt x="16" y="286"/>
                    <a:pt x="11" y="281"/>
                    <a:pt x="5" y="281"/>
                  </a:cubicBezTo>
                  <a:moveTo>
                    <a:pt x="409" y="281"/>
                  </a:moveTo>
                  <a:cubicBezTo>
                    <a:pt x="403" y="281"/>
                    <a:pt x="398" y="286"/>
                    <a:pt x="398" y="292"/>
                  </a:cubicBezTo>
                  <a:cubicBezTo>
                    <a:pt x="398" y="299"/>
                    <a:pt x="403" y="304"/>
                    <a:pt x="409" y="304"/>
                  </a:cubicBezTo>
                  <a:cubicBezTo>
                    <a:pt x="415" y="304"/>
                    <a:pt x="420" y="299"/>
                    <a:pt x="420" y="292"/>
                  </a:cubicBezTo>
                  <a:cubicBezTo>
                    <a:pt x="422" y="292"/>
                    <a:pt x="422" y="292"/>
                    <a:pt x="422" y="292"/>
                  </a:cubicBezTo>
                  <a:cubicBezTo>
                    <a:pt x="424" y="292"/>
                    <a:pt x="424" y="292"/>
                    <a:pt x="424" y="292"/>
                  </a:cubicBezTo>
                  <a:cubicBezTo>
                    <a:pt x="424" y="292"/>
                    <a:pt x="424" y="292"/>
                    <a:pt x="424" y="292"/>
                  </a:cubicBezTo>
                  <a:cubicBezTo>
                    <a:pt x="422" y="292"/>
                    <a:pt x="422" y="292"/>
                    <a:pt x="422" y="292"/>
                  </a:cubicBezTo>
                  <a:cubicBezTo>
                    <a:pt x="420" y="292"/>
                    <a:pt x="420" y="292"/>
                    <a:pt x="420" y="292"/>
                  </a:cubicBezTo>
                  <a:cubicBezTo>
                    <a:pt x="420" y="286"/>
                    <a:pt x="415" y="281"/>
                    <a:pt x="409" y="281"/>
                  </a:cubicBezTo>
                  <a:moveTo>
                    <a:pt x="814" y="281"/>
                  </a:moveTo>
                  <a:cubicBezTo>
                    <a:pt x="807" y="281"/>
                    <a:pt x="802" y="286"/>
                    <a:pt x="802" y="292"/>
                  </a:cubicBezTo>
                  <a:cubicBezTo>
                    <a:pt x="802" y="299"/>
                    <a:pt x="807" y="304"/>
                    <a:pt x="814" y="304"/>
                  </a:cubicBezTo>
                  <a:cubicBezTo>
                    <a:pt x="820" y="304"/>
                    <a:pt x="825" y="299"/>
                    <a:pt x="825" y="292"/>
                  </a:cubicBezTo>
                  <a:cubicBezTo>
                    <a:pt x="827" y="292"/>
                    <a:pt x="827" y="292"/>
                    <a:pt x="827" y="292"/>
                  </a:cubicBezTo>
                  <a:cubicBezTo>
                    <a:pt x="829" y="292"/>
                    <a:pt x="829" y="292"/>
                    <a:pt x="829" y="292"/>
                  </a:cubicBezTo>
                  <a:cubicBezTo>
                    <a:pt x="829" y="292"/>
                    <a:pt x="829" y="292"/>
                    <a:pt x="829" y="292"/>
                  </a:cubicBezTo>
                  <a:cubicBezTo>
                    <a:pt x="827" y="292"/>
                    <a:pt x="827" y="292"/>
                    <a:pt x="827" y="292"/>
                  </a:cubicBezTo>
                  <a:cubicBezTo>
                    <a:pt x="825" y="292"/>
                    <a:pt x="825" y="292"/>
                    <a:pt x="825" y="292"/>
                  </a:cubicBezTo>
                  <a:cubicBezTo>
                    <a:pt x="825" y="286"/>
                    <a:pt x="820" y="281"/>
                    <a:pt x="814" y="281"/>
                  </a:cubicBezTo>
                  <a:moveTo>
                    <a:pt x="725" y="279"/>
                  </a:moveTo>
                  <a:cubicBezTo>
                    <a:pt x="664" y="396"/>
                    <a:pt x="664" y="396"/>
                    <a:pt x="664" y="396"/>
                  </a:cubicBezTo>
                  <a:cubicBezTo>
                    <a:pt x="785" y="396"/>
                    <a:pt x="785" y="396"/>
                    <a:pt x="785" y="396"/>
                  </a:cubicBezTo>
                  <a:cubicBezTo>
                    <a:pt x="725" y="279"/>
                    <a:pt x="725" y="279"/>
                    <a:pt x="725" y="279"/>
                  </a:cubicBezTo>
                  <a:moveTo>
                    <a:pt x="320" y="279"/>
                  </a:moveTo>
                  <a:cubicBezTo>
                    <a:pt x="260" y="396"/>
                    <a:pt x="260" y="396"/>
                    <a:pt x="260" y="396"/>
                  </a:cubicBezTo>
                  <a:cubicBezTo>
                    <a:pt x="381" y="396"/>
                    <a:pt x="381" y="396"/>
                    <a:pt x="381" y="396"/>
                  </a:cubicBezTo>
                  <a:cubicBezTo>
                    <a:pt x="320" y="279"/>
                    <a:pt x="320" y="279"/>
                    <a:pt x="320" y="279"/>
                  </a:cubicBezTo>
                  <a:moveTo>
                    <a:pt x="46" y="201"/>
                  </a:moveTo>
                  <a:cubicBezTo>
                    <a:pt x="0" y="201"/>
                    <a:pt x="0" y="201"/>
                    <a:pt x="0" y="201"/>
                  </a:cubicBezTo>
                  <a:cubicBezTo>
                    <a:pt x="0" y="278"/>
                    <a:pt x="0" y="278"/>
                    <a:pt x="0" y="278"/>
                  </a:cubicBezTo>
                  <a:cubicBezTo>
                    <a:pt x="1" y="277"/>
                    <a:pt x="3" y="277"/>
                    <a:pt x="5" y="277"/>
                  </a:cubicBezTo>
                  <a:cubicBezTo>
                    <a:pt x="13" y="277"/>
                    <a:pt x="20" y="284"/>
                    <a:pt x="20" y="292"/>
                  </a:cubicBezTo>
                  <a:cubicBezTo>
                    <a:pt x="20" y="292"/>
                    <a:pt x="20" y="292"/>
                    <a:pt x="20" y="292"/>
                  </a:cubicBezTo>
                  <a:cubicBezTo>
                    <a:pt x="20" y="292"/>
                    <a:pt x="20" y="292"/>
                    <a:pt x="20" y="292"/>
                  </a:cubicBezTo>
                  <a:cubicBezTo>
                    <a:pt x="20" y="301"/>
                    <a:pt x="13" y="308"/>
                    <a:pt x="5" y="308"/>
                  </a:cubicBezTo>
                  <a:cubicBezTo>
                    <a:pt x="3" y="308"/>
                    <a:pt x="1" y="307"/>
                    <a:pt x="0" y="307"/>
                  </a:cubicBezTo>
                  <a:cubicBezTo>
                    <a:pt x="0" y="342"/>
                    <a:pt x="0" y="342"/>
                    <a:pt x="0" y="342"/>
                  </a:cubicBezTo>
                  <a:cubicBezTo>
                    <a:pt x="28" y="397"/>
                    <a:pt x="28" y="397"/>
                    <a:pt x="28" y="397"/>
                  </a:cubicBezTo>
                  <a:cubicBezTo>
                    <a:pt x="29" y="398"/>
                    <a:pt x="29" y="399"/>
                    <a:pt x="28" y="399"/>
                  </a:cubicBezTo>
                  <a:cubicBezTo>
                    <a:pt x="28" y="400"/>
                    <a:pt x="27" y="400"/>
                    <a:pt x="27" y="400"/>
                  </a:cubicBezTo>
                  <a:cubicBezTo>
                    <a:pt x="0" y="400"/>
                    <a:pt x="0" y="400"/>
                    <a:pt x="0" y="400"/>
                  </a:cubicBezTo>
                  <a:cubicBezTo>
                    <a:pt x="0" y="461"/>
                    <a:pt x="0" y="461"/>
                    <a:pt x="0" y="461"/>
                  </a:cubicBezTo>
                  <a:cubicBezTo>
                    <a:pt x="46" y="461"/>
                    <a:pt x="46" y="461"/>
                    <a:pt x="46" y="461"/>
                  </a:cubicBezTo>
                  <a:cubicBezTo>
                    <a:pt x="53" y="461"/>
                    <a:pt x="58" y="459"/>
                    <a:pt x="63" y="455"/>
                  </a:cubicBezTo>
                  <a:cubicBezTo>
                    <a:pt x="67" y="451"/>
                    <a:pt x="69" y="445"/>
                    <a:pt x="69" y="438"/>
                  </a:cubicBezTo>
                  <a:cubicBezTo>
                    <a:pt x="69" y="224"/>
                    <a:pt x="69" y="224"/>
                    <a:pt x="69" y="224"/>
                  </a:cubicBezTo>
                  <a:cubicBezTo>
                    <a:pt x="69" y="218"/>
                    <a:pt x="67" y="212"/>
                    <a:pt x="63" y="208"/>
                  </a:cubicBezTo>
                  <a:cubicBezTo>
                    <a:pt x="58" y="204"/>
                    <a:pt x="53" y="201"/>
                    <a:pt x="46" y="201"/>
                  </a:cubicBezTo>
                  <a:moveTo>
                    <a:pt x="387" y="314"/>
                  </a:moveTo>
                  <a:cubicBezTo>
                    <a:pt x="387" y="314"/>
                    <a:pt x="388" y="313"/>
                    <a:pt x="388" y="313"/>
                  </a:cubicBezTo>
                  <a:cubicBezTo>
                    <a:pt x="389" y="313"/>
                    <a:pt x="390" y="314"/>
                    <a:pt x="390" y="314"/>
                  </a:cubicBezTo>
                  <a:cubicBezTo>
                    <a:pt x="433" y="397"/>
                    <a:pt x="433" y="397"/>
                    <a:pt x="433" y="397"/>
                  </a:cubicBezTo>
                  <a:cubicBezTo>
                    <a:pt x="433" y="398"/>
                    <a:pt x="433" y="399"/>
                    <a:pt x="433" y="399"/>
                  </a:cubicBezTo>
                  <a:cubicBezTo>
                    <a:pt x="433" y="400"/>
                    <a:pt x="432" y="400"/>
                    <a:pt x="431" y="400"/>
                  </a:cubicBezTo>
                  <a:cubicBezTo>
                    <a:pt x="400" y="400"/>
                    <a:pt x="400" y="400"/>
                    <a:pt x="400" y="400"/>
                  </a:cubicBezTo>
                  <a:cubicBezTo>
                    <a:pt x="400" y="400"/>
                    <a:pt x="399" y="400"/>
                    <a:pt x="399" y="399"/>
                  </a:cubicBezTo>
                  <a:cubicBezTo>
                    <a:pt x="371" y="346"/>
                    <a:pt x="371" y="346"/>
                    <a:pt x="371" y="346"/>
                  </a:cubicBezTo>
                  <a:cubicBezTo>
                    <a:pt x="371" y="345"/>
                    <a:pt x="371" y="345"/>
                    <a:pt x="371" y="344"/>
                  </a:cubicBezTo>
                  <a:cubicBezTo>
                    <a:pt x="387" y="314"/>
                    <a:pt x="387" y="314"/>
                    <a:pt x="387" y="314"/>
                  </a:cubicBezTo>
                  <a:moveTo>
                    <a:pt x="409" y="308"/>
                  </a:moveTo>
                  <a:cubicBezTo>
                    <a:pt x="401" y="308"/>
                    <a:pt x="394" y="301"/>
                    <a:pt x="394" y="292"/>
                  </a:cubicBezTo>
                  <a:cubicBezTo>
                    <a:pt x="394" y="284"/>
                    <a:pt x="401" y="277"/>
                    <a:pt x="409" y="277"/>
                  </a:cubicBezTo>
                  <a:cubicBezTo>
                    <a:pt x="418" y="277"/>
                    <a:pt x="424" y="284"/>
                    <a:pt x="424" y="292"/>
                  </a:cubicBezTo>
                  <a:cubicBezTo>
                    <a:pt x="424" y="292"/>
                    <a:pt x="424" y="292"/>
                    <a:pt x="424" y="292"/>
                  </a:cubicBezTo>
                  <a:cubicBezTo>
                    <a:pt x="424" y="292"/>
                    <a:pt x="424" y="292"/>
                    <a:pt x="424" y="292"/>
                  </a:cubicBezTo>
                  <a:cubicBezTo>
                    <a:pt x="424" y="301"/>
                    <a:pt x="418" y="308"/>
                    <a:pt x="409" y="308"/>
                  </a:cubicBezTo>
                  <a:moveTo>
                    <a:pt x="318" y="274"/>
                  </a:moveTo>
                  <a:cubicBezTo>
                    <a:pt x="319" y="273"/>
                    <a:pt x="319" y="273"/>
                    <a:pt x="320" y="273"/>
                  </a:cubicBezTo>
                  <a:cubicBezTo>
                    <a:pt x="321" y="273"/>
                    <a:pt x="322" y="273"/>
                    <a:pt x="322" y="274"/>
                  </a:cubicBezTo>
                  <a:cubicBezTo>
                    <a:pt x="386" y="397"/>
                    <a:pt x="386" y="397"/>
                    <a:pt x="386" y="397"/>
                  </a:cubicBezTo>
                  <a:cubicBezTo>
                    <a:pt x="386" y="398"/>
                    <a:pt x="386" y="399"/>
                    <a:pt x="386" y="399"/>
                  </a:cubicBezTo>
                  <a:cubicBezTo>
                    <a:pt x="385" y="400"/>
                    <a:pt x="385" y="400"/>
                    <a:pt x="384" y="400"/>
                  </a:cubicBezTo>
                  <a:cubicBezTo>
                    <a:pt x="256" y="400"/>
                    <a:pt x="256" y="400"/>
                    <a:pt x="256" y="400"/>
                  </a:cubicBezTo>
                  <a:cubicBezTo>
                    <a:pt x="256" y="400"/>
                    <a:pt x="255" y="400"/>
                    <a:pt x="255" y="399"/>
                  </a:cubicBezTo>
                  <a:cubicBezTo>
                    <a:pt x="254" y="399"/>
                    <a:pt x="254" y="398"/>
                    <a:pt x="254" y="397"/>
                  </a:cubicBezTo>
                  <a:cubicBezTo>
                    <a:pt x="318" y="274"/>
                    <a:pt x="318" y="274"/>
                    <a:pt x="318" y="274"/>
                  </a:cubicBezTo>
                  <a:moveTo>
                    <a:pt x="451" y="201"/>
                  </a:moveTo>
                  <a:cubicBezTo>
                    <a:pt x="236" y="201"/>
                    <a:pt x="236" y="201"/>
                    <a:pt x="236" y="201"/>
                  </a:cubicBezTo>
                  <a:cubicBezTo>
                    <a:pt x="230" y="201"/>
                    <a:pt x="224" y="204"/>
                    <a:pt x="220" y="208"/>
                  </a:cubicBezTo>
                  <a:cubicBezTo>
                    <a:pt x="216" y="212"/>
                    <a:pt x="213" y="218"/>
                    <a:pt x="213" y="224"/>
                  </a:cubicBezTo>
                  <a:cubicBezTo>
                    <a:pt x="213" y="438"/>
                    <a:pt x="213" y="438"/>
                    <a:pt x="213" y="438"/>
                  </a:cubicBezTo>
                  <a:cubicBezTo>
                    <a:pt x="213" y="445"/>
                    <a:pt x="216" y="451"/>
                    <a:pt x="220" y="455"/>
                  </a:cubicBezTo>
                  <a:cubicBezTo>
                    <a:pt x="224" y="459"/>
                    <a:pt x="230" y="461"/>
                    <a:pt x="236" y="461"/>
                  </a:cubicBezTo>
                  <a:cubicBezTo>
                    <a:pt x="451" y="461"/>
                    <a:pt x="451" y="461"/>
                    <a:pt x="451" y="461"/>
                  </a:cubicBezTo>
                  <a:cubicBezTo>
                    <a:pt x="457" y="461"/>
                    <a:pt x="463" y="459"/>
                    <a:pt x="467" y="455"/>
                  </a:cubicBezTo>
                  <a:cubicBezTo>
                    <a:pt x="471" y="451"/>
                    <a:pt x="474" y="445"/>
                    <a:pt x="474" y="438"/>
                  </a:cubicBezTo>
                  <a:cubicBezTo>
                    <a:pt x="474" y="224"/>
                    <a:pt x="474" y="224"/>
                    <a:pt x="474" y="224"/>
                  </a:cubicBezTo>
                  <a:cubicBezTo>
                    <a:pt x="474" y="218"/>
                    <a:pt x="471" y="212"/>
                    <a:pt x="467" y="208"/>
                  </a:cubicBezTo>
                  <a:cubicBezTo>
                    <a:pt x="463" y="204"/>
                    <a:pt x="457" y="201"/>
                    <a:pt x="451" y="201"/>
                  </a:cubicBezTo>
                  <a:moveTo>
                    <a:pt x="791" y="314"/>
                  </a:moveTo>
                  <a:cubicBezTo>
                    <a:pt x="791" y="314"/>
                    <a:pt x="792" y="313"/>
                    <a:pt x="793" y="313"/>
                  </a:cubicBezTo>
                  <a:cubicBezTo>
                    <a:pt x="794" y="313"/>
                    <a:pt x="794" y="314"/>
                    <a:pt x="795" y="314"/>
                  </a:cubicBezTo>
                  <a:cubicBezTo>
                    <a:pt x="838" y="397"/>
                    <a:pt x="838" y="397"/>
                    <a:pt x="838" y="397"/>
                  </a:cubicBezTo>
                  <a:cubicBezTo>
                    <a:pt x="838" y="398"/>
                    <a:pt x="838" y="399"/>
                    <a:pt x="837" y="399"/>
                  </a:cubicBezTo>
                  <a:cubicBezTo>
                    <a:pt x="837" y="400"/>
                    <a:pt x="836" y="400"/>
                    <a:pt x="836" y="400"/>
                  </a:cubicBezTo>
                  <a:cubicBezTo>
                    <a:pt x="805" y="400"/>
                    <a:pt x="805" y="400"/>
                    <a:pt x="805" y="400"/>
                  </a:cubicBezTo>
                  <a:cubicBezTo>
                    <a:pt x="804" y="400"/>
                    <a:pt x="804" y="400"/>
                    <a:pt x="803" y="399"/>
                  </a:cubicBezTo>
                  <a:cubicBezTo>
                    <a:pt x="776" y="346"/>
                    <a:pt x="776" y="346"/>
                    <a:pt x="776" y="346"/>
                  </a:cubicBezTo>
                  <a:cubicBezTo>
                    <a:pt x="775" y="345"/>
                    <a:pt x="775" y="345"/>
                    <a:pt x="776" y="344"/>
                  </a:cubicBezTo>
                  <a:cubicBezTo>
                    <a:pt x="791" y="314"/>
                    <a:pt x="791" y="314"/>
                    <a:pt x="791" y="314"/>
                  </a:cubicBezTo>
                  <a:moveTo>
                    <a:pt x="814" y="308"/>
                  </a:moveTo>
                  <a:cubicBezTo>
                    <a:pt x="805" y="308"/>
                    <a:pt x="798" y="301"/>
                    <a:pt x="798" y="292"/>
                  </a:cubicBezTo>
                  <a:cubicBezTo>
                    <a:pt x="798" y="284"/>
                    <a:pt x="805" y="277"/>
                    <a:pt x="814" y="277"/>
                  </a:cubicBezTo>
                  <a:cubicBezTo>
                    <a:pt x="822" y="277"/>
                    <a:pt x="829" y="284"/>
                    <a:pt x="829" y="292"/>
                  </a:cubicBezTo>
                  <a:cubicBezTo>
                    <a:pt x="829" y="292"/>
                    <a:pt x="829" y="292"/>
                    <a:pt x="829" y="292"/>
                  </a:cubicBezTo>
                  <a:cubicBezTo>
                    <a:pt x="829" y="292"/>
                    <a:pt x="829" y="292"/>
                    <a:pt x="829" y="292"/>
                  </a:cubicBezTo>
                  <a:cubicBezTo>
                    <a:pt x="829" y="301"/>
                    <a:pt x="822" y="308"/>
                    <a:pt x="814" y="308"/>
                  </a:cubicBezTo>
                  <a:moveTo>
                    <a:pt x="723" y="274"/>
                  </a:moveTo>
                  <a:cubicBezTo>
                    <a:pt x="723" y="273"/>
                    <a:pt x="724" y="273"/>
                    <a:pt x="725" y="273"/>
                  </a:cubicBezTo>
                  <a:cubicBezTo>
                    <a:pt x="725" y="273"/>
                    <a:pt x="726" y="273"/>
                    <a:pt x="726" y="274"/>
                  </a:cubicBezTo>
                  <a:cubicBezTo>
                    <a:pt x="790" y="397"/>
                    <a:pt x="790" y="397"/>
                    <a:pt x="790" y="397"/>
                  </a:cubicBezTo>
                  <a:cubicBezTo>
                    <a:pt x="791" y="398"/>
                    <a:pt x="791" y="399"/>
                    <a:pt x="790" y="399"/>
                  </a:cubicBezTo>
                  <a:cubicBezTo>
                    <a:pt x="790" y="400"/>
                    <a:pt x="789" y="400"/>
                    <a:pt x="789" y="400"/>
                  </a:cubicBezTo>
                  <a:cubicBezTo>
                    <a:pt x="661" y="400"/>
                    <a:pt x="661" y="400"/>
                    <a:pt x="661" y="400"/>
                  </a:cubicBezTo>
                  <a:cubicBezTo>
                    <a:pt x="660" y="400"/>
                    <a:pt x="659" y="400"/>
                    <a:pt x="659" y="399"/>
                  </a:cubicBezTo>
                  <a:cubicBezTo>
                    <a:pt x="659" y="399"/>
                    <a:pt x="659" y="398"/>
                    <a:pt x="659" y="397"/>
                  </a:cubicBezTo>
                  <a:cubicBezTo>
                    <a:pt x="723" y="274"/>
                    <a:pt x="723" y="274"/>
                    <a:pt x="723" y="274"/>
                  </a:cubicBezTo>
                  <a:moveTo>
                    <a:pt x="856" y="201"/>
                  </a:moveTo>
                  <a:cubicBezTo>
                    <a:pt x="641" y="201"/>
                    <a:pt x="641" y="201"/>
                    <a:pt x="641" y="201"/>
                  </a:cubicBezTo>
                  <a:cubicBezTo>
                    <a:pt x="635" y="201"/>
                    <a:pt x="629" y="204"/>
                    <a:pt x="625" y="208"/>
                  </a:cubicBezTo>
                  <a:cubicBezTo>
                    <a:pt x="621" y="212"/>
                    <a:pt x="618" y="218"/>
                    <a:pt x="618" y="224"/>
                  </a:cubicBezTo>
                  <a:cubicBezTo>
                    <a:pt x="618" y="438"/>
                    <a:pt x="618" y="438"/>
                    <a:pt x="618" y="438"/>
                  </a:cubicBezTo>
                  <a:cubicBezTo>
                    <a:pt x="618" y="445"/>
                    <a:pt x="621" y="451"/>
                    <a:pt x="625" y="455"/>
                  </a:cubicBezTo>
                  <a:cubicBezTo>
                    <a:pt x="629" y="459"/>
                    <a:pt x="635" y="461"/>
                    <a:pt x="641" y="461"/>
                  </a:cubicBezTo>
                  <a:cubicBezTo>
                    <a:pt x="856" y="461"/>
                    <a:pt x="856" y="461"/>
                    <a:pt x="856" y="461"/>
                  </a:cubicBezTo>
                  <a:cubicBezTo>
                    <a:pt x="862" y="461"/>
                    <a:pt x="868" y="459"/>
                    <a:pt x="872" y="455"/>
                  </a:cubicBezTo>
                  <a:cubicBezTo>
                    <a:pt x="876" y="451"/>
                    <a:pt x="879" y="445"/>
                    <a:pt x="879" y="438"/>
                  </a:cubicBezTo>
                  <a:cubicBezTo>
                    <a:pt x="879" y="224"/>
                    <a:pt x="879" y="224"/>
                    <a:pt x="879" y="224"/>
                  </a:cubicBezTo>
                  <a:cubicBezTo>
                    <a:pt x="879" y="218"/>
                    <a:pt x="876" y="212"/>
                    <a:pt x="872" y="208"/>
                  </a:cubicBezTo>
                  <a:cubicBezTo>
                    <a:pt x="868" y="204"/>
                    <a:pt x="862" y="201"/>
                    <a:pt x="856" y="201"/>
                  </a:cubicBezTo>
                  <a:moveTo>
                    <a:pt x="1092" y="201"/>
                  </a:moveTo>
                  <a:cubicBezTo>
                    <a:pt x="1046" y="201"/>
                    <a:pt x="1046" y="201"/>
                    <a:pt x="1046" y="201"/>
                  </a:cubicBezTo>
                  <a:cubicBezTo>
                    <a:pt x="1039" y="201"/>
                    <a:pt x="1034" y="204"/>
                    <a:pt x="1029" y="208"/>
                  </a:cubicBezTo>
                  <a:cubicBezTo>
                    <a:pt x="1025" y="212"/>
                    <a:pt x="1023" y="218"/>
                    <a:pt x="1023" y="224"/>
                  </a:cubicBezTo>
                  <a:cubicBezTo>
                    <a:pt x="1023" y="438"/>
                    <a:pt x="1023" y="438"/>
                    <a:pt x="1023" y="438"/>
                  </a:cubicBezTo>
                  <a:cubicBezTo>
                    <a:pt x="1023" y="445"/>
                    <a:pt x="1025" y="451"/>
                    <a:pt x="1029" y="455"/>
                  </a:cubicBezTo>
                  <a:cubicBezTo>
                    <a:pt x="1034" y="459"/>
                    <a:pt x="1039" y="461"/>
                    <a:pt x="1046" y="461"/>
                  </a:cubicBezTo>
                  <a:cubicBezTo>
                    <a:pt x="1092" y="461"/>
                    <a:pt x="1092" y="461"/>
                    <a:pt x="1092" y="461"/>
                  </a:cubicBezTo>
                  <a:cubicBezTo>
                    <a:pt x="1092" y="400"/>
                    <a:pt x="1092" y="400"/>
                    <a:pt x="1092" y="400"/>
                  </a:cubicBezTo>
                  <a:cubicBezTo>
                    <a:pt x="1065" y="400"/>
                    <a:pt x="1065" y="400"/>
                    <a:pt x="1065" y="400"/>
                  </a:cubicBezTo>
                  <a:cubicBezTo>
                    <a:pt x="1065" y="400"/>
                    <a:pt x="1064" y="400"/>
                    <a:pt x="1064" y="399"/>
                  </a:cubicBezTo>
                  <a:cubicBezTo>
                    <a:pt x="1063" y="399"/>
                    <a:pt x="1063" y="398"/>
                    <a:pt x="1064" y="397"/>
                  </a:cubicBezTo>
                  <a:cubicBezTo>
                    <a:pt x="1092" y="342"/>
                    <a:pt x="1092" y="342"/>
                    <a:pt x="1092" y="342"/>
                  </a:cubicBezTo>
                  <a:cubicBezTo>
                    <a:pt x="1092" y="201"/>
                    <a:pt x="1092" y="201"/>
                    <a:pt x="1092" y="201"/>
                  </a:cubicBezTo>
                  <a:moveTo>
                    <a:pt x="236" y="807"/>
                  </a:moveTo>
                  <a:cubicBezTo>
                    <a:pt x="222" y="807"/>
                    <a:pt x="209" y="795"/>
                    <a:pt x="209" y="780"/>
                  </a:cubicBezTo>
                  <a:cubicBezTo>
                    <a:pt x="209" y="566"/>
                    <a:pt x="209" y="566"/>
                    <a:pt x="209" y="566"/>
                  </a:cubicBezTo>
                  <a:cubicBezTo>
                    <a:pt x="209" y="551"/>
                    <a:pt x="222" y="539"/>
                    <a:pt x="236" y="539"/>
                  </a:cubicBezTo>
                  <a:cubicBezTo>
                    <a:pt x="451" y="539"/>
                    <a:pt x="451" y="539"/>
                    <a:pt x="451" y="539"/>
                  </a:cubicBezTo>
                  <a:cubicBezTo>
                    <a:pt x="466" y="539"/>
                    <a:pt x="478" y="551"/>
                    <a:pt x="478" y="566"/>
                  </a:cubicBezTo>
                  <a:cubicBezTo>
                    <a:pt x="478" y="780"/>
                    <a:pt x="478" y="780"/>
                    <a:pt x="478" y="780"/>
                  </a:cubicBezTo>
                  <a:cubicBezTo>
                    <a:pt x="478" y="795"/>
                    <a:pt x="466" y="807"/>
                    <a:pt x="451" y="807"/>
                  </a:cubicBezTo>
                  <a:cubicBezTo>
                    <a:pt x="451" y="807"/>
                    <a:pt x="451" y="807"/>
                    <a:pt x="451" y="807"/>
                  </a:cubicBezTo>
                  <a:cubicBezTo>
                    <a:pt x="236" y="807"/>
                    <a:pt x="236" y="807"/>
                    <a:pt x="236" y="807"/>
                  </a:cubicBezTo>
                  <a:moveTo>
                    <a:pt x="641" y="807"/>
                  </a:moveTo>
                  <a:cubicBezTo>
                    <a:pt x="626" y="807"/>
                    <a:pt x="614" y="795"/>
                    <a:pt x="614" y="780"/>
                  </a:cubicBezTo>
                  <a:cubicBezTo>
                    <a:pt x="614" y="566"/>
                    <a:pt x="614" y="566"/>
                    <a:pt x="614" y="566"/>
                  </a:cubicBezTo>
                  <a:cubicBezTo>
                    <a:pt x="614" y="551"/>
                    <a:pt x="626" y="539"/>
                    <a:pt x="641" y="539"/>
                  </a:cubicBezTo>
                  <a:cubicBezTo>
                    <a:pt x="856" y="539"/>
                    <a:pt x="856" y="539"/>
                    <a:pt x="856" y="539"/>
                  </a:cubicBezTo>
                  <a:cubicBezTo>
                    <a:pt x="870" y="539"/>
                    <a:pt x="883" y="551"/>
                    <a:pt x="883" y="566"/>
                  </a:cubicBezTo>
                  <a:cubicBezTo>
                    <a:pt x="883" y="780"/>
                    <a:pt x="883" y="780"/>
                    <a:pt x="883" y="780"/>
                  </a:cubicBezTo>
                  <a:cubicBezTo>
                    <a:pt x="883" y="795"/>
                    <a:pt x="870" y="807"/>
                    <a:pt x="856" y="807"/>
                  </a:cubicBezTo>
                  <a:cubicBezTo>
                    <a:pt x="856" y="807"/>
                    <a:pt x="856" y="807"/>
                    <a:pt x="856" y="807"/>
                  </a:cubicBezTo>
                  <a:cubicBezTo>
                    <a:pt x="641" y="807"/>
                    <a:pt x="641" y="807"/>
                    <a:pt x="641" y="807"/>
                  </a:cubicBezTo>
                  <a:moveTo>
                    <a:pt x="236" y="465"/>
                  </a:moveTo>
                  <a:cubicBezTo>
                    <a:pt x="222" y="465"/>
                    <a:pt x="209" y="453"/>
                    <a:pt x="209" y="438"/>
                  </a:cubicBezTo>
                  <a:cubicBezTo>
                    <a:pt x="209" y="224"/>
                    <a:pt x="209" y="224"/>
                    <a:pt x="209" y="224"/>
                  </a:cubicBezTo>
                  <a:cubicBezTo>
                    <a:pt x="209" y="209"/>
                    <a:pt x="222" y="197"/>
                    <a:pt x="236" y="197"/>
                  </a:cubicBezTo>
                  <a:cubicBezTo>
                    <a:pt x="451" y="197"/>
                    <a:pt x="451" y="197"/>
                    <a:pt x="451" y="197"/>
                  </a:cubicBezTo>
                  <a:cubicBezTo>
                    <a:pt x="466" y="197"/>
                    <a:pt x="478" y="209"/>
                    <a:pt x="478" y="224"/>
                  </a:cubicBezTo>
                  <a:cubicBezTo>
                    <a:pt x="478" y="438"/>
                    <a:pt x="478" y="438"/>
                    <a:pt x="478" y="438"/>
                  </a:cubicBezTo>
                  <a:cubicBezTo>
                    <a:pt x="478" y="453"/>
                    <a:pt x="466" y="465"/>
                    <a:pt x="451" y="465"/>
                  </a:cubicBezTo>
                  <a:cubicBezTo>
                    <a:pt x="451" y="465"/>
                    <a:pt x="451" y="465"/>
                    <a:pt x="451" y="465"/>
                  </a:cubicBezTo>
                  <a:cubicBezTo>
                    <a:pt x="236" y="465"/>
                    <a:pt x="236" y="465"/>
                    <a:pt x="236" y="465"/>
                  </a:cubicBezTo>
                  <a:moveTo>
                    <a:pt x="641" y="465"/>
                  </a:moveTo>
                  <a:cubicBezTo>
                    <a:pt x="626" y="465"/>
                    <a:pt x="614" y="453"/>
                    <a:pt x="614" y="438"/>
                  </a:cubicBezTo>
                  <a:cubicBezTo>
                    <a:pt x="614" y="224"/>
                    <a:pt x="614" y="224"/>
                    <a:pt x="614" y="224"/>
                  </a:cubicBezTo>
                  <a:cubicBezTo>
                    <a:pt x="614" y="209"/>
                    <a:pt x="626" y="197"/>
                    <a:pt x="641" y="197"/>
                  </a:cubicBezTo>
                  <a:cubicBezTo>
                    <a:pt x="856" y="197"/>
                    <a:pt x="856" y="197"/>
                    <a:pt x="856" y="197"/>
                  </a:cubicBezTo>
                  <a:cubicBezTo>
                    <a:pt x="870" y="197"/>
                    <a:pt x="883" y="209"/>
                    <a:pt x="883" y="224"/>
                  </a:cubicBezTo>
                  <a:cubicBezTo>
                    <a:pt x="883" y="438"/>
                    <a:pt x="883" y="438"/>
                    <a:pt x="883" y="438"/>
                  </a:cubicBezTo>
                  <a:cubicBezTo>
                    <a:pt x="883" y="453"/>
                    <a:pt x="870" y="465"/>
                    <a:pt x="856" y="465"/>
                  </a:cubicBezTo>
                  <a:cubicBezTo>
                    <a:pt x="856" y="465"/>
                    <a:pt x="856" y="465"/>
                    <a:pt x="856" y="465"/>
                  </a:cubicBezTo>
                  <a:cubicBezTo>
                    <a:pt x="641" y="465"/>
                    <a:pt x="641" y="465"/>
                    <a:pt x="641" y="465"/>
                  </a:cubicBezTo>
                  <a:moveTo>
                    <a:pt x="1092" y="64"/>
                  </a:moveTo>
                  <a:cubicBezTo>
                    <a:pt x="0" y="64"/>
                    <a:pt x="0" y="64"/>
                    <a:pt x="0" y="64"/>
                  </a:cubicBezTo>
                  <a:cubicBezTo>
                    <a:pt x="0" y="197"/>
                    <a:pt x="0" y="197"/>
                    <a:pt x="0" y="197"/>
                  </a:cubicBezTo>
                  <a:cubicBezTo>
                    <a:pt x="46" y="197"/>
                    <a:pt x="46" y="197"/>
                    <a:pt x="46" y="197"/>
                  </a:cubicBezTo>
                  <a:cubicBezTo>
                    <a:pt x="61" y="197"/>
                    <a:pt x="73" y="209"/>
                    <a:pt x="73" y="224"/>
                  </a:cubicBezTo>
                  <a:cubicBezTo>
                    <a:pt x="73" y="438"/>
                    <a:pt x="73" y="438"/>
                    <a:pt x="73" y="438"/>
                  </a:cubicBezTo>
                  <a:cubicBezTo>
                    <a:pt x="73" y="453"/>
                    <a:pt x="61" y="465"/>
                    <a:pt x="46" y="465"/>
                  </a:cubicBezTo>
                  <a:cubicBezTo>
                    <a:pt x="46" y="465"/>
                    <a:pt x="46" y="465"/>
                    <a:pt x="46" y="465"/>
                  </a:cubicBezTo>
                  <a:cubicBezTo>
                    <a:pt x="0" y="465"/>
                    <a:pt x="0" y="465"/>
                    <a:pt x="0" y="465"/>
                  </a:cubicBezTo>
                  <a:cubicBezTo>
                    <a:pt x="0" y="539"/>
                    <a:pt x="0" y="539"/>
                    <a:pt x="0" y="539"/>
                  </a:cubicBezTo>
                  <a:cubicBezTo>
                    <a:pt x="32" y="539"/>
                    <a:pt x="32" y="539"/>
                    <a:pt x="32" y="539"/>
                  </a:cubicBezTo>
                  <a:cubicBezTo>
                    <a:pt x="37" y="537"/>
                    <a:pt x="40" y="535"/>
                    <a:pt x="40" y="535"/>
                  </a:cubicBezTo>
                  <a:cubicBezTo>
                    <a:pt x="41" y="538"/>
                    <a:pt x="41" y="538"/>
                    <a:pt x="41" y="538"/>
                  </a:cubicBezTo>
                  <a:cubicBezTo>
                    <a:pt x="56" y="532"/>
                    <a:pt x="78" y="522"/>
                    <a:pt x="82" y="522"/>
                  </a:cubicBezTo>
                  <a:cubicBezTo>
                    <a:pt x="83" y="522"/>
                    <a:pt x="83" y="522"/>
                    <a:pt x="83" y="522"/>
                  </a:cubicBezTo>
                  <a:cubicBezTo>
                    <a:pt x="85" y="524"/>
                    <a:pt x="72" y="531"/>
                    <a:pt x="74" y="532"/>
                  </a:cubicBezTo>
                  <a:cubicBezTo>
                    <a:pt x="75" y="532"/>
                    <a:pt x="75" y="532"/>
                    <a:pt x="75" y="532"/>
                  </a:cubicBezTo>
                  <a:cubicBezTo>
                    <a:pt x="77" y="532"/>
                    <a:pt x="81" y="531"/>
                    <a:pt x="85" y="530"/>
                  </a:cubicBezTo>
                  <a:cubicBezTo>
                    <a:pt x="90" y="528"/>
                    <a:pt x="94" y="527"/>
                    <a:pt x="96" y="527"/>
                  </a:cubicBezTo>
                  <a:cubicBezTo>
                    <a:pt x="97" y="527"/>
                    <a:pt x="98" y="527"/>
                    <a:pt x="98" y="527"/>
                  </a:cubicBezTo>
                  <a:cubicBezTo>
                    <a:pt x="100" y="531"/>
                    <a:pt x="79" y="538"/>
                    <a:pt x="79" y="538"/>
                  </a:cubicBezTo>
                  <a:cubicBezTo>
                    <a:pt x="79" y="538"/>
                    <a:pt x="94" y="534"/>
                    <a:pt x="100" y="534"/>
                  </a:cubicBezTo>
                  <a:cubicBezTo>
                    <a:pt x="102" y="534"/>
                    <a:pt x="103" y="534"/>
                    <a:pt x="103" y="535"/>
                  </a:cubicBezTo>
                  <a:cubicBezTo>
                    <a:pt x="104" y="537"/>
                    <a:pt x="86" y="543"/>
                    <a:pt x="80" y="547"/>
                  </a:cubicBezTo>
                  <a:cubicBezTo>
                    <a:pt x="85" y="545"/>
                    <a:pt x="93" y="543"/>
                    <a:pt x="97" y="543"/>
                  </a:cubicBezTo>
                  <a:cubicBezTo>
                    <a:pt x="99" y="543"/>
                    <a:pt x="100" y="543"/>
                    <a:pt x="100" y="544"/>
                  </a:cubicBezTo>
                  <a:cubicBezTo>
                    <a:pt x="101" y="546"/>
                    <a:pt x="89" y="551"/>
                    <a:pt x="80" y="555"/>
                  </a:cubicBezTo>
                  <a:cubicBezTo>
                    <a:pt x="84" y="553"/>
                    <a:pt x="91" y="551"/>
                    <a:pt x="95" y="551"/>
                  </a:cubicBezTo>
                  <a:cubicBezTo>
                    <a:pt x="96" y="551"/>
                    <a:pt x="97" y="551"/>
                    <a:pt x="97" y="552"/>
                  </a:cubicBezTo>
                  <a:cubicBezTo>
                    <a:pt x="98" y="553"/>
                    <a:pt x="87" y="559"/>
                    <a:pt x="73" y="565"/>
                  </a:cubicBezTo>
                  <a:cubicBezTo>
                    <a:pt x="73" y="565"/>
                    <a:pt x="73" y="566"/>
                    <a:pt x="73" y="566"/>
                  </a:cubicBezTo>
                  <a:cubicBezTo>
                    <a:pt x="73" y="780"/>
                    <a:pt x="73" y="780"/>
                    <a:pt x="73" y="780"/>
                  </a:cubicBezTo>
                  <a:cubicBezTo>
                    <a:pt x="73" y="795"/>
                    <a:pt x="61" y="807"/>
                    <a:pt x="46" y="807"/>
                  </a:cubicBezTo>
                  <a:cubicBezTo>
                    <a:pt x="46" y="807"/>
                    <a:pt x="46" y="807"/>
                    <a:pt x="46" y="807"/>
                  </a:cubicBezTo>
                  <a:cubicBezTo>
                    <a:pt x="0" y="807"/>
                    <a:pt x="0" y="807"/>
                    <a:pt x="0" y="807"/>
                  </a:cubicBezTo>
                  <a:cubicBezTo>
                    <a:pt x="0" y="842"/>
                    <a:pt x="0" y="842"/>
                    <a:pt x="0" y="842"/>
                  </a:cubicBezTo>
                  <a:cubicBezTo>
                    <a:pt x="884" y="842"/>
                    <a:pt x="884" y="842"/>
                    <a:pt x="884" y="842"/>
                  </a:cubicBezTo>
                  <a:cubicBezTo>
                    <a:pt x="916" y="900"/>
                    <a:pt x="977" y="939"/>
                    <a:pt x="1048" y="939"/>
                  </a:cubicBezTo>
                  <a:cubicBezTo>
                    <a:pt x="1132" y="939"/>
                    <a:pt x="1203" y="884"/>
                    <a:pt x="1226" y="807"/>
                  </a:cubicBezTo>
                  <a:cubicBezTo>
                    <a:pt x="1046" y="807"/>
                    <a:pt x="1046" y="807"/>
                    <a:pt x="1046" y="807"/>
                  </a:cubicBezTo>
                  <a:cubicBezTo>
                    <a:pt x="1031" y="807"/>
                    <a:pt x="1019" y="795"/>
                    <a:pt x="1019" y="780"/>
                  </a:cubicBezTo>
                  <a:cubicBezTo>
                    <a:pt x="1019" y="594"/>
                    <a:pt x="1019" y="594"/>
                    <a:pt x="1019" y="594"/>
                  </a:cubicBezTo>
                  <a:cubicBezTo>
                    <a:pt x="1017" y="594"/>
                    <a:pt x="1016" y="593"/>
                    <a:pt x="1016" y="593"/>
                  </a:cubicBezTo>
                  <a:cubicBezTo>
                    <a:pt x="1016" y="592"/>
                    <a:pt x="1017" y="591"/>
                    <a:pt x="1019" y="591"/>
                  </a:cubicBezTo>
                  <a:cubicBezTo>
                    <a:pt x="1019" y="588"/>
                    <a:pt x="1019" y="588"/>
                    <a:pt x="1019" y="588"/>
                  </a:cubicBezTo>
                  <a:cubicBezTo>
                    <a:pt x="1014" y="588"/>
                    <a:pt x="1010" y="588"/>
                    <a:pt x="1010" y="586"/>
                  </a:cubicBezTo>
                  <a:cubicBezTo>
                    <a:pt x="1010" y="585"/>
                    <a:pt x="1014" y="583"/>
                    <a:pt x="1019" y="583"/>
                  </a:cubicBezTo>
                  <a:cubicBezTo>
                    <a:pt x="1019" y="581"/>
                    <a:pt x="1019" y="581"/>
                    <a:pt x="1019" y="581"/>
                  </a:cubicBezTo>
                  <a:cubicBezTo>
                    <a:pt x="1012" y="581"/>
                    <a:pt x="1004" y="580"/>
                    <a:pt x="1004" y="579"/>
                  </a:cubicBezTo>
                  <a:cubicBezTo>
                    <a:pt x="1004" y="577"/>
                    <a:pt x="1012" y="575"/>
                    <a:pt x="1019" y="574"/>
                  </a:cubicBezTo>
                  <a:cubicBezTo>
                    <a:pt x="1019" y="573"/>
                    <a:pt x="1019" y="573"/>
                    <a:pt x="1019" y="573"/>
                  </a:cubicBezTo>
                  <a:cubicBezTo>
                    <a:pt x="1013" y="573"/>
                    <a:pt x="1006" y="572"/>
                    <a:pt x="1006" y="570"/>
                  </a:cubicBezTo>
                  <a:cubicBezTo>
                    <a:pt x="1007" y="569"/>
                    <a:pt x="1013" y="568"/>
                    <a:pt x="1019" y="568"/>
                  </a:cubicBezTo>
                  <a:cubicBezTo>
                    <a:pt x="1019" y="566"/>
                    <a:pt x="1019" y="566"/>
                    <a:pt x="1019" y="566"/>
                  </a:cubicBezTo>
                  <a:cubicBezTo>
                    <a:pt x="1019" y="564"/>
                    <a:pt x="1019" y="563"/>
                    <a:pt x="1019" y="561"/>
                  </a:cubicBezTo>
                  <a:cubicBezTo>
                    <a:pt x="1018" y="561"/>
                    <a:pt x="1018" y="561"/>
                    <a:pt x="1018" y="560"/>
                  </a:cubicBezTo>
                  <a:cubicBezTo>
                    <a:pt x="1018" y="560"/>
                    <a:pt x="1019" y="560"/>
                    <a:pt x="1019" y="560"/>
                  </a:cubicBezTo>
                  <a:cubicBezTo>
                    <a:pt x="1022" y="548"/>
                    <a:pt x="1033" y="539"/>
                    <a:pt x="1046" y="539"/>
                  </a:cubicBezTo>
                  <a:cubicBezTo>
                    <a:pt x="1092" y="539"/>
                    <a:pt x="1092" y="539"/>
                    <a:pt x="1092" y="539"/>
                  </a:cubicBezTo>
                  <a:cubicBezTo>
                    <a:pt x="1092" y="465"/>
                    <a:pt x="1092" y="465"/>
                    <a:pt x="1092" y="465"/>
                  </a:cubicBezTo>
                  <a:cubicBezTo>
                    <a:pt x="1046" y="465"/>
                    <a:pt x="1046" y="465"/>
                    <a:pt x="1046" y="465"/>
                  </a:cubicBezTo>
                  <a:cubicBezTo>
                    <a:pt x="1031" y="465"/>
                    <a:pt x="1019" y="453"/>
                    <a:pt x="1019" y="438"/>
                  </a:cubicBezTo>
                  <a:cubicBezTo>
                    <a:pt x="1019" y="224"/>
                    <a:pt x="1019" y="224"/>
                    <a:pt x="1019" y="224"/>
                  </a:cubicBezTo>
                  <a:cubicBezTo>
                    <a:pt x="1019" y="209"/>
                    <a:pt x="1031" y="197"/>
                    <a:pt x="1046" y="197"/>
                  </a:cubicBezTo>
                  <a:cubicBezTo>
                    <a:pt x="1092" y="197"/>
                    <a:pt x="1092" y="197"/>
                    <a:pt x="1092" y="197"/>
                  </a:cubicBezTo>
                  <a:cubicBezTo>
                    <a:pt x="1092" y="119"/>
                    <a:pt x="1092" y="119"/>
                    <a:pt x="1092" y="119"/>
                  </a:cubicBezTo>
                  <a:cubicBezTo>
                    <a:pt x="1052" y="119"/>
                    <a:pt x="1052" y="119"/>
                    <a:pt x="1052" y="119"/>
                  </a:cubicBezTo>
                  <a:cubicBezTo>
                    <a:pt x="1052" y="115"/>
                    <a:pt x="1052" y="115"/>
                    <a:pt x="1052" y="115"/>
                  </a:cubicBezTo>
                  <a:cubicBezTo>
                    <a:pt x="1092" y="115"/>
                    <a:pt x="1092" y="115"/>
                    <a:pt x="1092" y="115"/>
                  </a:cubicBezTo>
                  <a:cubicBezTo>
                    <a:pt x="1092" y="64"/>
                    <a:pt x="1092" y="64"/>
                    <a:pt x="1092" y="64"/>
                  </a:cubicBezTo>
                  <a:moveTo>
                    <a:pt x="0" y="0"/>
                  </a:moveTo>
                  <a:cubicBezTo>
                    <a:pt x="0" y="60"/>
                    <a:pt x="0" y="60"/>
                    <a:pt x="0" y="60"/>
                  </a:cubicBezTo>
                  <a:cubicBezTo>
                    <a:pt x="1092" y="60"/>
                    <a:pt x="1092" y="60"/>
                    <a:pt x="1092" y="60"/>
                  </a:cubicBezTo>
                  <a:cubicBezTo>
                    <a:pt x="1092" y="23"/>
                    <a:pt x="1092" y="23"/>
                    <a:pt x="1092" y="23"/>
                  </a:cubicBezTo>
                  <a:cubicBezTo>
                    <a:pt x="28" y="23"/>
                    <a:pt x="28" y="23"/>
                    <a:pt x="28" y="23"/>
                  </a:cubicBezTo>
                  <a:cubicBezTo>
                    <a:pt x="14" y="23"/>
                    <a:pt x="3" y="13"/>
                    <a:pt x="0" y="0"/>
                  </a:cubicBezTo>
                </a:path>
              </a:pathLst>
            </a:custGeom>
            <a:solidFill>
              <a:srgbClr val="BED6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7" name="Freeform 160"/>
            <p:cNvSpPr/>
            <p:nvPr userDrawn="1"/>
          </p:nvSpPr>
          <p:spPr bwMode="auto">
            <a:xfrm>
              <a:off x="2438400" y="3421063"/>
              <a:ext cx="180975" cy="663575"/>
            </a:xfrm>
            <a:custGeom>
              <a:avLst/>
              <a:gdLst>
                <a:gd name="T0" fmla="*/ 46 w 73"/>
                <a:gd name="T1" fmla="*/ 0 h 268"/>
                <a:gd name="T2" fmla="*/ 0 w 73"/>
                <a:gd name="T3" fmla="*/ 0 h 268"/>
                <a:gd name="T4" fmla="*/ 0 w 73"/>
                <a:gd name="T5" fmla="*/ 4 h 268"/>
                <a:gd name="T6" fmla="*/ 46 w 73"/>
                <a:gd name="T7" fmla="*/ 4 h 268"/>
                <a:gd name="T8" fmla="*/ 63 w 73"/>
                <a:gd name="T9" fmla="*/ 11 h 268"/>
                <a:gd name="T10" fmla="*/ 69 w 73"/>
                <a:gd name="T11" fmla="*/ 27 h 268"/>
                <a:gd name="T12" fmla="*/ 69 w 73"/>
                <a:gd name="T13" fmla="*/ 241 h 268"/>
                <a:gd name="T14" fmla="*/ 63 w 73"/>
                <a:gd name="T15" fmla="*/ 258 h 268"/>
                <a:gd name="T16" fmla="*/ 46 w 73"/>
                <a:gd name="T17" fmla="*/ 264 h 268"/>
                <a:gd name="T18" fmla="*/ 46 w 73"/>
                <a:gd name="T19" fmla="*/ 264 h 268"/>
                <a:gd name="T20" fmla="*/ 0 w 73"/>
                <a:gd name="T21" fmla="*/ 264 h 268"/>
                <a:gd name="T22" fmla="*/ 0 w 73"/>
                <a:gd name="T23" fmla="*/ 268 h 268"/>
                <a:gd name="T24" fmla="*/ 46 w 73"/>
                <a:gd name="T25" fmla="*/ 268 h 268"/>
                <a:gd name="T26" fmla="*/ 73 w 73"/>
                <a:gd name="T27" fmla="*/ 241 h 268"/>
                <a:gd name="T28" fmla="*/ 73 w 73"/>
                <a:gd name="T29" fmla="*/ 27 h 268"/>
                <a:gd name="T30" fmla="*/ 46 w 73"/>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268">
                  <a:moveTo>
                    <a:pt x="46" y="0"/>
                  </a:moveTo>
                  <a:cubicBezTo>
                    <a:pt x="0" y="0"/>
                    <a:pt x="0" y="0"/>
                    <a:pt x="0" y="0"/>
                  </a:cubicBezTo>
                  <a:cubicBezTo>
                    <a:pt x="0" y="4"/>
                    <a:pt x="0" y="4"/>
                    <a:pt x="0" y="4"/>
                  </a:cubicBezTo>
                  <a:cubicBezTo>
                    <a:pt x="46" y="4"/>
                    <a:pt x="46" y="4"/>
                    <a:pt x="46" y="4"/>
                  </a:cubicBezTo>
                  <a:cubicBezTo>
                    <a:pt x="53" y="4"/>
                    <a:pt x="58" y="7"/>
                    <a:pt x="63" y="11"/>
                  </a:cubicBezTo>
                  <a:cubicBezTo>
                    <a:pt x="67" y="15"/>
                    <a:pt x="69" y="21"/>
                    <a:pt x="69" y="27"/>
                  </a:cubicBezTo>
                  <a:cubicBezTo>
                    <a:pt x="69" y="241"/>
                    <a:pt x="69" y="241"/>
                    <a:pt x="69" y="241"/>
                  </a:cubicBezTo>
                  <a:cubicBezTo>
                    <a:pt x="69" y="248"/>
                    <a:pt x="67" y="254"/>
                    <a:pt x="63" y="258"/>
                  </a:cubicBezTo>
                  <a:cubicBezTo>
                    <a:pt x="58" y="262"/>
                    <a:pt x="53" y="264"/>
                    <a:pt x="46" y="264"/>
                  </a:cubicBezTo>
                  <a:cubicBezTo>
                    <a:pt x="46" y="264"/>
                    <a:pt x="46" y="264"/>
                    <a:pt x="46" y="264"/>
                  </a:cubicBezTo>
                  <a:cubicBezTo>
                    <a:pt x="0" y="264"/>
                    <a:pt x="0" y="264"/>
                    <a:pt x="0" y="264"/>
                  </a:cubicBezTo>
                  <a:cubicBezTo>
                    <a:pt x="0" y="268"/>
                    <a:pt x="0" y="268"/>
                    <a:pt x="0" y="268"/>
                  </a:cubicBezTo>
                  <a:cubicBezTo>
                    <a:pt x="46" y="268"/>
                    <a:pt x="46" y="268"/>
                    <a:pt x="46" y="268"/>
                  </a:cubicBezTo>
                  <a:cubicBezTo>
                    <a:pt x="61" y="268"/>
                    <a:pt x="73" y="256"/>
                    <a:pt x="73" y="241"/>
                  </a:cubicBezTo>
                  <a:cubicBezTo>
                    <a:pt x="73" y="27"/>
                    <a:pt x="73" y="27"/>
                    <a:pt x="73" y="27"/>
                  </a:cubicBezTo>
                  <a:cubicBezTo>
                    <a:pt x="73" y="12"/>
                    <a:pt x="61" y="0"/>
                    <a:pt x="46"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8" name="Freeform 161"/>
            <p:cNvSpPr/>
            <p:nvPr userDrawn="1"/>
          </p:nvSpPr>
          <p:spPr bwMode="auto">
            <a:xfrm>
              <a:off x="2438400" y="3779838"/>
              <a:ext cx="73025" cy="144463"/>
            </a:xfrm>
            <a:custGeom>
              <a:avLst/>
              <a:gdLst>
                <a:gd name="T0" fmla="*/ 0 w 29"/>
                <a:gd name="T1" fmla="*/ 0 h 58"/>
                <a:gd name="T2" fmla="*/ 0 w 29"/>
                <a:gd name="T3" fmla="*/ 9 h 58"/>
                <a:gd name="T4" fmla="*/ 23 w 29"/>
                <a:gd name="T5" fmla="*/ 54 h 58"/>
                <a:gd name="T6" fmla="*/ 0 w 29"/>
                <a:gd name="T7" fmla="*/ 54 h 58"/>
                <a:gd name="T8" fmla="*/ 0 w 29"/>
                <a:gd name="T9" fmla="*/ 58 h 58"/>
                <a:gd name="T10" fmla="*/ 27 w 29"/>
                <a:gd name="T11" fmla="*/ 58 h 58"/>
                <a:gd name="T12" fmla="*/ 28 w 29"/>
                <a:gd name="T13" fmla="*/ 57 h 58"/>
                <a:gd name="T14" fmla="*/ 28 w 29"/>
                <a:gd name="T15" fmla="*/ 55 h 58"/>
                <a:gd name="T16" fmla="*/ 0 w 2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8">
                  <a:moveTo>
                    <a:pt x="0" y="0"/>
                  </a:moveTo>
                  <a:cubicBezTo>
                    <a:pt x="0" y="9"/>
                    <a:pt x="0" y="9"/>
                    <a:pt x="0" y="9"/>
                  </a:cubicBezTo>
                  <a:cubicBezTo>
                    <a:pt x="23" y="54"/>
                    <a:pt x="23" y="54"/>
                    <a:pt x="23" y="54"/>
                  </a:cubicBezTo>
                  <a:cubicBezTo>
                    <a:pt x="0" y="54"/>
                    <a:pt x="0" y="54"/>
                    <a:pt x="0" y="54"/>
                  </a:cubicBezTo>
                  <a:cubicBezTo>
                    <a:pt x="0" y="58"/>
                    <a:pt x="0" y="58"/>
                    <a:pt x="0" y="58"/>
                  </a:cubicBezTo>
                  <a:cubicBezTo>
                    <a:pt x="27" y="58"/>
                    <a:pt x="27" y="58"/>
                    <a:pt x="27" y="58"/>
                  </a:cubicBezTo>
                  <a:cubicBezTo>
                    <a:pt x="27" y="58"/>
                    <a:pt x="28" y="58"/>
                    <a:pt x="28" y="57"/>
                  </a:cubicBezTo>
                  <a:cubicBezTo>
                    <a:pt x="29" y="57"/>
                    <a:pt x="29" y="56"/>
                    <a:pt x="28" y="55"/>
                  </a:cubicBezTo>
                  <a:cubicBezTo>
                    <a:pt x="0" y="0"/>
                    <a:pt x="0" y="0"/>
                    <a:pt x="0"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9" name="Freeform 162"/>
            <p:cNvSpPr>
              <a:spLocks noEditPoints="1"/>
            </p:cNvSpPr>
            <p:nvPr userDrawn="1"/>
          </p:nvSpPr>
          <p:spPr bwMode="auto">
            <a:xfrm>
              <a:off x="2438400" y="3619500"/>
              <a:ext cx="50800" cy="76200"/>
            </a:xfrm>
            <a:custGeom>
              <a:avLst/>
              <a:gdLst>
                <a:gd name="T0" fmla="*/ 20 w 20"/>
                <a:gd name="T1" fmla="*/ 15 h 31"/>
                <a:gd name="T2" fmla="*/ 18 w 20"/>
                <a:gd name="T3" fmla="*/ 15 h 31"/>
                <a:gd name="T4" fmla="*/ 16 w 20"/>
                <a:gd name="T5" fmla="*/ 15 h 31"/>
                <a:gd name="T6" fmla="*/ 5 w 20"/>
                <a:gd name="T7" fmla="*/ 27 h 31"/>
                <a:gd name="T8" fmla="*/ 0 w 20"/>
                <a:gd name="T9" fmla="*/ 26 h 31"/>
                <a:gd name="T10" fmla="*/ 0 w 20"/>
                <a:gd name="T11" fmla="*/ 30 h 31"/>
                <a:gd name="T12" fmla="*/ 5 w 20"/>
                <a:gd name="T13" fmla="*/ 31 h 31"/>
                <a:gd name="T14" fmla="*/ 20 w 20"/>
                <a:gd name="T15" fmla="*/ 15 h 31"/>
                <a:gd name="T16" fmla="*/ 20 w 20"/>
                <a:gd name="T17" fmla="*/ 15 h 31"/>
                <a:gd name="T18" fmla="*/ 20 w 20"/>
                <a:gd name="T19" fmla="*/ 15 h 31"/>
                <a:gd name="T20" fmla="*/ 20 w 20"/>
                <a:gd name="T21" fmla="*/ 15 h 31"/>
                <a:gd name="T22" fmla="*/ 5 w 20"/>
                <a:gd name="T23" fmla="*/ 0 h 31"/>
                <a:gd name="T24" fmla="*/ 0 w 20"/>
                <a:gd name="T25" fmla="*/ 1 h 31"/>
                <a:gd name="T26" fmla="*/ 0 w 20"/>
                <a:gd name="T27" fmla="*/ 5 h 31"/>
                <a:gd name="T28" fmla="*/ 5 w 20"/>
                <a:gd name="T29" fmla="*/ 4 h 31"/>
                <a:gd name="T30" fmla="*/ 16 w 20"/>
                <a:gd name="T31" fmla="*/ 15 h 31"/>
                <a:gd name="T32" fmla="*/ 18 w 20"/>
                <a:gd name="T33" fmla="*/ 15 h 31"/>
                <a:gd name="T34" fmla="*/ 20 w 20"/>
                <a:gd name="T35" fmla="*/ 15 h 31"/>
                <a:gd name="T36" fmla="*/ 20 w 20"/>
                <a:gd name="T37" fmla="*/ 15 h 31"/>
                <a:gd name="T38" fmla="*/ 5 w 20"/>
                <a:gd name="T3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31">
                  <a:moveTo>
                    <a:pt x="20" y="15"/>
                  </a:moveTo>
                  <a:cubicBezTo>
                    <a:pt x="18" y="15"/>
                    <a:pt x="18" y="15"/>
                    <a:pt x="18" y="15"/>
                  </a:cubicBezTo>
                  <a:cubicBezTo>
                    <a:pt x="16" y="15"/>
                    <a:pt x="16" y="15"/>
                    <a:pt x="16" y="15"/>
                  </a:cubicBezTo>
                  <a:cubicBezTo>
                    <a:pt x="16" y="22"/>
                    <a:pt x="11" y="27"/>
                    <a:pt x="5" y="27"/>
                  </a:cubicBezTo>
                  <a:cubicBezTo>
                    <a:pt x="3" y="27"/>
                    <a:pt x="1" y="26"/>
                    <a:pt x="0" y="26"/>
                  </a:cubicBezTo>
                  <a:cubicBezTo>
                    <a:pt x="0" y="30"/>
                    <a:pt x="0" y="30"/>
                    <a:pt x="0" y="30"/>
                  </a:cubicBezTo>
                  <a:cubicBezTo>
                    <a:pt x="1" y="30"/>
                    <a:pt x="3" y="31"/>
                    <a:pt x="5" y="31"/>
                  </a:cubicBezTo>
                  <a:cubicBezTo>
                    <a:pt x="13" y="31"/>
                    <a:pt x="20" y="24"/>
                    <a:pt x="20" y="15"/>
                  </a:cubicBezTo>
                  <a:moveTo>
                    <a:pt x="20" y="15"/>
                  </a:moveTo>
                  <a:cubicBezTo>
                    <a:pt x="20" y="15"/>
                    <a:pt x="20" y="15"/>
                    <a:pt x="20" y="15"/>
                  </a:cubicBezTo>
                  <a:cubicBezTo>
                    <a:pt x="20" y="15"/>
                    <a:pt x="20" y="15"/>
                    <a:pt x="20" y="15"/>
                  </a:cubicBezTo>
                  <a:moveTo>
                    <a:pt x="5" y="0"/>
                  </a:moveTo>
                  <a:cubicBezTo>
                    <a:pt x="3" y="0"/>
                    <a:pt x="1" y="0"/>
                    <a:pt x="0" y="1"/>
                  </a:cubicBezTo>
                  <a:cubicBezTo>
                    <a:pt x="0" y="5"/>
                    <a:pt x="0" y="5"/>
                    <a:pt x="0" y="5"/>
                  </a:cubicBezTo>
                  <a:cubicBezTo>
                    <a:pt x="1" y="4"/>
                    <a:pt x="3" y="4"/>
                    <a:pt x="5" y="4"/>
                  </a:cubicBezTo>
                  <a:cubicBezTo>
                    <a:pt x="11" y="4"/>
                    <a:pt x="16" y="9"/>
                    <a:pt x="16" y="15"/>
                  </a:cubicBezTo>
                  <a:cubicBezTo>
                    <a:pt x="18" y="15"/>
                    <a:pt x="18" y="15"/>
                    <a:pt x="18" y="15"/>
                  </a:cubicBezTo>
                  <a:cubicBezTo>
                    <a:pt x="20" y="15"/>
                    <a:pt x="20" y="15"/>
                    <a:pt x="20" y="15"/>
                  </a:cubicBezTo>
                  <a:cubicBezTo>
                    <a:pt x="20" y="15"/>
                    <a:pt x="20" y="15"/>
                    <a:pt x="20" y="15"/>
                  </a:cubicBezTo>
                  <a:cubicBezTo>
                    <a:pt x="20" y="7"/>
                    <a:pt x="13" y="0"/>
                    <a:pt x="5"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0" name="Freeform 171"/>
            <p:cNvSpPr/>
            <p:nvPr userDrawn="1"/>
          </p:nvSpPr>
          <p:spPr bwMode="auto">
            <a:xfrm>
              <a:off x="4965700" y="3421063"/>
              <a:ext cx="180975" cy="663575"/>
            </a:xfrm>
            <a:custGeom>
              <a:avLst/>
              <a:gdLst>
                <a:gd name="T0" fmla="*/ 73 w 73"/>
                <a:gd name="T1" fmla="*/ 0 h 268"/>
                <a:gd name="T2" fmla="*/ 27 w 73"/>
                <a:gd name="T3" fmla="*/ 0 h 268"/>
                <a:gd name="T4" fmla="*/ 0 w 73"/>
                <a:gd name="T5" fmla="*/ 27 h 268"/>
                <a:gd name="T6" fmla="*/ 0 w 73"/>
                <a:gd name="T7" fmla="*/ 241 h 268"/>
                <a:gd name="T8" fmla="*/ 27 w 73"/>
                <a:gd name="T9" fmla="*/ 268 h 268"/>
                <a:gd name="T10" fmla="*/ 73 w 73"/>
                <a:gd name="T11" fmla="*/ 268 h 268"/>
                <a:gd name="T12" fmla="*/ 73 w 73"/>
                <a:gd name="T13" fmla="*/ 264 h 268"/>
                <a:gd name="T14" fmla="*/ 27 w 73"/>
                <a:gd name="T15" fmla="*/ 264 h 268"/>
                <a:gd name="T16" fmla="*/ 10 w 73"/>
                <a:gd name="T17" fmla="*/ 258 h 268"/>
                <a:gd name="T18" fmla="*/ 4 w 73"/>
                <a:gd name="T19" fmla="*/ 241 h 268"/>
                <a:gd name="T20" fmla="*/ 4 w 73"/>
                <a:gd name="T21" fmla="*/ 27 h 268"/>
                <a:gd name="T22" fmla="*/ 10 w 73"/>
                <a:gd name="T23" fmla="*/ 11 h 268"/>
                <a:gd name="T24" fmla="*/ 27 w 73"/>
                <a:gd name="T25" fmla="*/ 4 h 268"/>
                <a:gd name="T26" fmla="*/ 73 w 73"/>
                <a:gd name="T27" fmla="*/ 4 h 268"/>
                <a:gd name="T28" fmla="*/ 73 w 73"/>
                <a:gd name="T2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268">
                  <a:moveTo>
                    <a:pt x="73" y="0"/>
                  </a:moveTo>
                  <a:cubicBezTo>
                    <a:pt x="27" y="0"/>
                    <a:pt x="27" y="0"/>
                    <a:pt x="27" y="0"/>
                  </a:cubicBezTo>
                  <a:cubicBezTo>
                    <a:pt x="12" y="0"/>
                    <a:pt x="0" y="12"/>
                    <a:pt x="0" y="27"/>
                  </a:cubicBezTo>
                  <a:cubicBezTo>
                    <a:pt x="0" y="241"/>
                    <a:pt x="0" y="241"/>
                    <a:pt x="0" y="241"/>
                  </a:cubicBezTo>
                  <a:cubicBezTo>
                    <a:pt x="0" y="256"/>
                    <a:pt x="12" y="268"/>
                    <a:pt x="27" y="268"/>
                  </a:cubicBezTo>
                  <a:cubicBezTo>
                    <a:pt x="73" y="268"/>
                    <a:pt x="73" y="268"/>
                    <a:pt x="73" y="268"/>
                  </a:cubicBezTo>
                  <a:cubicBezTo>
                    <a:pt x="73" y="264"/>
                    <a:pt x="73" y="264"/>
                    <a:pt x="73" y="264"/>
                  </a:cubicBezTo>
                  <a:cubicBezTo>
                    <a:pt x="27" y="264"/>
                    <a:pt x="27" y="264"/>
                    <a:pt x="27" y="264"/>
                  </a:cubicBezTo>
                  <a:cubicBezTo>
                    <a:pt x="20" y="264"/>
                    <a:pt x="15" y="262"/>
                    <a:pt x="10" y="258"/>
                  </a:cubicBezTo>
                  <a:cubicBezTo>
                    <a:pt x="6" y="254"/>
                    <a:pt x="4" y="248"/>
                    <a:pt x="4" y="241"/>
                  </a:cubicBezTo>
                  <a:cubicBezTo>
                    <a:pt x="4" y="27"/>
                    <a:pt x="4" y="27"/>
                    <a:pt x="4" y="27"/>
                  </a:cubicBezTo>
                  <a:cubicBezTo>
                    <a:pt x="4" y="21"/>
                    <a:pt x="6" y="15"/>
                    <a:pt x="10" y="11"/>
                  </a:cubicBezTo>
                  <a:cubicBezTo>
                    <a:pt x="15" y="7"/>
                    <a:pt x="20" y="4"/>
                    <a:pt x="27" y="4"/>
                  </a:cubicBezTo>
                  <a:cubicBezTo>
                    <a:pt x="73" y="4"/>
                    <a:pt x="73" y="4"/>
                    <a:pt x="73" y="4"/>
                  </a:cubicBezTo>
                  <a:cubicBezTo>
                    <a:pt x="73" y="0"/>
                    <a:pt x="73" y="0"/>
                    <a:pt x="73"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1" name="Freeform 172"/>
            <p:cNvSpPr/>
            <p:nvPr userDrawn="1"/>
          </p:nvSpPr>
          <p:spPr bwMode="auto">
            <a:xfrm>
              <a:off x="5075238" y="3779838"/>
              <a:ext cx="71438" cy="144463"/>
            </a:xfrm>
            <a:custGeom>
              <a:avLst/>
              <a:gdLst>
                <a:gd name="T0" fmla="*/ 29 w 29"/>
                <a:gd name="T1" fmla="*/ 0 h 58"/>
                <a:gd name="T2" fmla="*/ 1 w 29"/>
                <a:gd name="T3" fmla="*/ 55 h 58"/>
                <a:gd name="T4" fmla="*/ 1 w 29"/>
                <a:gd name="T5" fmla="*/ 57 h 58"/>
                <a:gd name="T6" fmla="*/ 2 w 29"/>
                <a:gd name="T7" fmla="*/ 58 h 58"/>
                <a:gd name="T8" fmla="*/ 29 w 29"/>
                <a:gd name="T9" fmla="*/ 58 h 58"/>
                <a:gd name="T10" fmla="*/ 29 w 29"/>
                <a:gd name="T11" fmla="*/ 54 h 58"/>
                <a:gd name="T12" fmla="*/ 6 w 29"/>
                <a:gd name="T13" fmla="*/ 54 h 58"/>
                <a:gd name="T14" fmla="*/ 29 w 29"/>
                <a:gd name="T15" fmla="*/ 9 h 58"/>
                <a:gd name="T16" fmla="*/ 29 w 2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8">
                  <a:moveTo>
                    <a:pt x="29" y="0"/>
                  </a:moveTo>
                  <a:cubicBezTo>
                    <a:pt x="1" y="55"/>
                    <a:pt x="1" y="55"/>
                    <a:pt x="1" y="55"/>
                  </a:cubicBezTo>
                  <a:cubicBezTo>
                    <a:pt x="0" y="56"/>
                    <a:pt x="0" y="57"/>
                    <a:pt x="1" y="57"/>
                  </a:cubicBezTo>
                  <a:cubicBezTo>
                    <a:pt x="1" y="58"/>
                    <a:pt x="2" y="58"/>
                    <a:pt x="2" y="58"/>
                  </a:cubicBezTo>
                  <a:cubicBezTo>
                    <a:pt x="29" y="58"/>
                    <a:pt x="29" y="58"/>
                    <a:pt x="29" y="58"/>
                  </a:cubicBezTo>
                  <a:cubicBezTo>
                    <a:pt x="29" y="54"/>
                    <a:pt x="29" y="54"/>
                    <a:pt x="29" y="54"/>
                  </a:cubicBezTo>
                  <a:cubicBezTo>
                    <a:pt x="6" y="54"/>
                    <a:pt x="6" y="54"/>
                    <a:pt x="6" y="54"/>
                  </a:cubicBezTo>
                  <a:cubicBezTo>
                    <a:pt x="29" y="9"/>
                    <a:pt x="29" y="9"/>
                    <a:pt x="29" y="9"/>
                  </a:cubicBezTo>
                  <a:cubicBezTo>
                    <a:pt x="29" y="0"/>
                    <a:pt x="29" y="0"/>
                    <a:pt x="29"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2" name="Freeform 173"/>
            <p:cNvSpPr>
              <a:spLocks noEditPoints="1"/>
            </p:cNvSpPr>
            <p:nvPr userDrawn="1"/>
          </p:nvSpPr>
          <p:spPr bwMode="auto">
            <a:xfrm>
              <a:off x="2438400" y="4267200"/>
              <a:ext cx="180975" cy="665163"/>
            </a:xfrm>
            <a:custGeom>
              <a:avLst/>
              <a:gdLst>
                <a:gd name="T0" fmla="*/ 73 w 73"/>
                <a:gd name="T1" fmla="*/ 26 h 268"/>
                <a:gd name="T2" fmla="*/ 69 w 73"/>
                <a:gd name="T3" fmla="*/ 28 h 268"/>
                <a:gd name="T4" fmla="*/ 69 w 73"/>
                <a:gd name="T5" fmla="*/ 241 h 268"/>
                <a:gd name="T6" fmla="*/ 63 w 73"/>
                <a:gd name="T7" fmla="*/ 258 h 268"/>
                <a:gd name="T8" fmla="*/ 46 w 73"/>
                <a:gd name="T9" fmla="*/ 264 h 268"/>
                <a:gd name="T10" fmla="*/ 46 w 73"/>
                <a:gd name="T11" fmla="*/ 264 h 268"/>
                <a:gd name="T12" fmla="*/ 0 w 73"/>
                <a:gd name="T13" fmla="*/ 264 h 268"/>
                <a:gd name="T14" fmla="*/ 0 w 73"/>
                <a:gd name="T15" fmla="*/ 268 h 268"/>
                <a:gd name="T16" fmla="*/ 46 w 73"/>
                <a:gd name="T17" fmla="*/ 268 h 268"/>
                <a:gd name="T18" fmla="*/ 73 w 73"/>
                <a:gd name="T19" fmla="*/ 241 h 268"/>
                <a:gd name="T20" fmla="*/ 73 w 73"/>
                <a:gd name="T21" fmla="*/ 27 h 268"/>
                <a:gd name="T22" fmla="*/ 73 w 73"/>
                <a:gd name="T23" fmla="*/ 26 h 268"/>
                <a:gd name="T24" fmla="*/ 32 w 73"/>
                <a:gd name="T25" fmla="*/ 0 h 268"/>
                <a:gd name="T26" fmla="*/ 0 w 73"/>
                <a:gd name="T27" fmla="*/ 0 h 268"/>
                <a:gd name="T28" fmla="*/ 0 w 73"/>
                <a:gd name="T29" fmla="*/ 4 h 268"/>
                <a:gd name="T30" fmla="*/ 21 w 73"/>
                <a:gd name="T31" fmla="*/ 4 h 268"/>
                <a:gd name="T32" fmla="*/ 32 w 73"/>
                <a:gd name="T3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268">
                  <a:moveTo>
                    <a:pt x="73" y="26"/>
                  </a:moveTo>
                  <a:cubicBezTo>
                    <a:pt x="72" y="27"/>
                    <a:pt x="71" y="28"/>
                    <a:pt x="69" y="28"/>
                  </a:cubicBezTo>
                  <a:cubicBezTo>
                    <a:pt x="69" y="241"/>
                    <a:pt x="69" y="241"/>
                    <a:pt x="69" y="241"/>
                  </a:cubicBezTo>
                  <a:cubicBezTo>
                    <a:pt x="69" y="248"/>
                    <a:pt x="67" y="253"/>
                    <a:pt x="63" y="258"/>
                  </a:cubicBezTo>
                  <a:cubicBezTo>
                    <a:pt x="58" y="262"/>
                    <a:pt x="53" y="264"/>
                    <a:pt x="46" y="264"/>
                  </a:cubicBezTo>
                  <a:cubicBezTo>
                    <a:pt x="46" y="264"/>
                    <a:pt x="46" y="264"/>
                    <a:pt x="46" y="264"/>
                  </a:cubicBezTo>
                  <a:cubicBezTo>
                    <a:pt x="0" y="264"/>
                    <a:pt x="0" y="264"/>
                    <a:pt x="0" y="264"/>
                  </a:cubicBezTo>
                  <a:cubicBezTo>
                    <a:pt x="0" y="268"/>
                    <a:pt x="0" y="268"/>
                    <a:pt x="0" y="268"/>
                  </a:cubicBezTo>
                  <a:cubicBezTo>
                    <a:pt x="46" y="268"/>
                    <a:pt x="46" y="268"/>
                    <a:pt x="46" y="268"/>
                  </a:cubicBezTo>
                  <a:cubicBezTo>
                    <a:pt x="61" y="268"/>
                    <a:pt x="73" y="256"/>
                    <a:pt x="73" y="241"/>
                  </a:cubicBezTo>
                  <a:cubicBezTo>
                    <a:pt x="73" y="27"/>
                    <a:pt x="73" y="27"/>
                    <a:pt x="73" y="27"/>
                  </a:cubicBezTo>
                  <a:cubicBezTo>
                    <a:pt x="73" y="27"/>
                    <a:pt x="73" y="26"/>
                    <a:pt x="73" y="26"/>
                  </a:cubicBezTo>
                  <a:moveTo>
                    <a:pt x="32" y="0"/>
                  </a:moveTo>
                  <a:cubicBezTo>
                    <a:pt x="0" y="0"/>
                    <a:pt x="0" y="0"/>
                    <a:pt x="0" y="0"/>
                  </a:cubicBezTo>
                  <a:cubicBezTo>
                    <a:pt x="0" y="4"/>
                    <a:pt x="0" y="4"/>
                    <a:pt x="0" y="4"/>
                  </a:cubicBezTo>
                  <a:cubicBezTo>
                    <a:pt x="21" y="4"/>
                    <a:pt x="21" y="4"/>
                    <a:pt x="21" y="4"/>
                  </a:cubicBezTo>
                  <a:cubicBezTo>
                    <a:pt x="25" y="2"/>
                    <a:pt x="29" y="1"/>
                    <a:pt x="3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3" name="Freeform 174"/>
            <p:cNvSpPr/>
            <p:nvPr userDrawn="1"/>
          </p:nvSpPr>
          <p:spPr bwMode="auto">
            <a:xfrm>
              <a:off x="2438400" y="4627563"/>
              <a:ext cx="73025" cy="142875"/>
            </a:xfrm>
            <a:custGeom>
              <a:avLst/>
              <a:gdLst>
                <a:gd name="T0" fmla="*/ 0 w 29"/>
                <a:gd name="T1" fmla="*/ 0 h 58"/>
                <a:gd name="T2" fmla="*/ 0 w 29"/>
                <a:gd name="T3" fmla="*/ 9 h 58"/>
                <a:gd name="T4" fmla="*/ 23 w 29"/>
                <a:gd name="T5" fmla="*/ 54 h 58"/>
                <a:gd name="T6" fmla="*/ 0 w 29"/>
                <a:gd name="T7" fmla="*/ 54 h 58"/>
                <a:gd name="T8" fmla="*/ 0 w 29"/>
                <a:gd name="T9" fmla="*/ 58 h 58"/>
                <a:gd name="T10" fmla="*/ 27 w 29"/>
                <a:gd name="T11" fmla="*/ 58 h 58"/>
                <a:gd name="T12" fmla="*/ 28 w 29"/>
                <a:gd name="T13" fmla="*/ 57 h 58"/>
                <a:gd name="T14" fmla="*/ 28 w 29"/>
                <a:gd name="T15" fmla="*/ 55 h 58"/>
                <a:gd name="T16" fmla="*/ 0 w 2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8">
                  <a:moveTo>
                    <a:pt x="0" y="0"/>
                  </a:moveTo>
                  <a:cubicBezTo>
                    <a:pt x="0" y="9"/>
                    <a:pt x="0" y="9"/>
                    <a:pt x="0" y="9"/>
                  </a:cubicBezTo>
                  <a:cubicBezTo>
                    <a:pt x="23" y="54"/>
                    <a:pt x="23" y="54"/>
                    <a:pt x="23" y="54"/>
                  </a:cubicBezTo>
                  <a:cubicBezTo>
                    <a:pt x="0" y="54"/>
                    <a:pt x="0" y="54"/>
                    <a:pt x="0" y="54"/>
                  </a:cubicBezTo>
                  <a:cubicBezTo>
                    <a:pt x="0" y="58"/>
                    <a:pt x="0" y="58"/>
                    <a:pt x="0" y="58"/>
                  </a:cubicBezTo>
                  <a:cubicBezTo>
                    <a:pt x="27" y="58"/>
                    <a:pt x="27" y="58"/>
                    <a:pt x="27" y="58"/>
                  </a:cubicBezTo>
                  <a:cubicBezTo>
                    <a:pt x="27" y="58"/>
                    <a:pt x="28" y="58"/>
                    <a:pt x="28" y="57"/>
                  </a:cubicBezTo>
                  <a:cubicBezTo>
                    <a:pt x="29" y="57"/>
                    <a:pt x="29" y="56"/>
                    <a:pt x="28" y="55"/>
                  </a:cubicBezTo>
                  <a:cubicBezTo>
                    <a:pt x="0" y="0"/>
                    <a:pt x="0" y="0"/>
                    <a:pt x="0"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4" name="Freeform 175"/>
            <p:cNvSpPr/>
            <p:nvPr userDrawn="1"/>
          </p:nvSpPr>
          <p:spPr bwMode="auto">
            <a:xfrm>
              <a:off x="2454275" y="4535488"/>
              <a:ext cx="17463" cy="4763"/>
            </a:xfrm>
            <a:custGeom>
              <a:avLst/>
              <a:gdLst>
                <a:gd name="T0" fmla="*/ 7 w 7"/>
                <a:gd name="T1" fmla="*/ 0 h 2"/>
                <a:gd name="T2" fmla="*/ 0 w 7"/>
                <a:gd name="T3" fmla="*/ 2 h 2"/>
                <a:gd name="T4" fmla="*/ 7 w 7"/>
                <a:gd name="T5" fmla="*/ 0 h 2"/>
              </a:gdLst>
              <a:ahLst/>
              <a:cxnLst>
                <a:cxn ang="0">
                  <a:pos x="T0" y="T1"/>
                </a:cxn>
                <a:cxn ang="0">
                  <a:pos x="T2" y="T3"/>
                </a:cxn>
                <a:cxn ang="0">
                  <a:pos x="T4" y="T5"/>
                </a:cxn>
              </a:cxnLst>
              <a:rect l="0" t="0" r="r" b="b"/>
              <a:pathLst>
                <a:path w="7" h="2">
                  <a:moveTo>
                    <a:pt x="7" y="0"/>
                  </a:moveTo>
                  <a:cubicBezTo>
                    <a:pt x="4" y="1"/>
                    <a:pt x="2" y="2"/>
                    <a:pt x="0" y="2"/>
                  </a:cubicBezTo>
                  <a:cubicBezTo>
                    <a:pt x="2" y="2"/>
                    <a:pt x="5" y="1"/>
                    <a:pt x="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5" name="Freeform 176"/>
            <p:cNvSpPr>
              <a:spLocks noEditPoints="1"/>
            </p:cNvSpPr>
            <p:nvPr userDrawn="1"/>
          </p:nvSpPr>
          <p:spPr bwMode="auto">
            <a:xfrm>
              <a:off x="2957513" y="4267200"/>
              <a:ext cx="666750" cy="665163"/>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3"/>
                    <a:pt x="4" y="248"/>
                    <a:pt x="4" y="241"/>
                  </a:cubicBezTo>
                  <a:cubicBezTo>
                    <a:pt x="4" y="27"/>
                    <a:pt x="4" y="27"/>
                    <a:pt x="4" y="27"/>
                  </a:cubicBezTo>
                  <a:cubicBezTo>
                    <a:pt x="4" y="21"/>
                    <a:pt x="7" y="15"/>
                    <a:pt x="11" y="11"/>
                  </a:cubicBezTo>
                  <a:cubicBezTo>
                    <a:pt x="15" y="6"/>
                    <a:pt x="21" y="4"/>
                    <a:pt x="27" y="4"/>
                  </a:cubicBezTo>
                  <a:cubicBezTo>
                    <a:pt x="242" y="4"/>
                    <a:pt x="242" y="4"/>
                    <a:pt x="242" y="4"/>
                  </a:cubicBezTo>
                  <a:cubicBezTo>
                    <a:pt x="248" y="4"/>
                    <a:pt x="254" y="6"/>
                    <a:pt x="258" y="11"/>
                  </a:cubicBezTo>
                  <a:cubicBezTo>
                    <a:pt x="262" y="15"/>
                    <a:pt x="265" y="21"/>
                    <a:pt x="265" y="27"/>
                  </a:cubicBezTo>
                  <a:cubicBezTo>
                    <a:pt x="265" y="241"/>
                    <a:pt x="265" y="241"/>
                    <a:pt x="265" y="241"/>
                  </a:cubicBezTo>
                  <a:cubicBezTo>
                    <a:pt x="265" y="248"/>
                    <a:pt x="262" y="253"/>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3" y="0"/>
                    <a:pt x="0" y="12"/>
                    <a:pt x="0" y="27"/>
                  </a:cubicBezTo>
                  <a:cubicBezTo>
                    <a:pt x="0" y="241"/>
                    <a:pt x="0" y="241"/>
                    <a:pt x="0" y="241"/>
                  </a:cubicBezTo>
                  <a:cubicBezTo>
                    <a:pt x="0" y="256"/>
                    <a:pt x="13" y="268"/>
                    <a:pt x="27" y="268"/>
                  </a:cubicBezTo>
                  <a:cubicBezTo>
                    <a:pt x="242" y="268"/>
                    <a:pt x="242" y="268"/>
                    <a:pt x="242" y="268"/>
                  </a:cubicBezTo>
                  <a:cubicBezTo>
                    <a:pt x="257" y="268"/>
                    <a:pt x="269" y="256"/>
                    <a:pt x="269" y="241"/>
                  </a:cubicBezTo>
                  <a:cubicBezTo>
                    <a:pt x="269" y="27"/>
                    <a:pt x="269" y="27"/>
                    <a:pt x="269" y="27"/>
                  </a:cubicBezTo>
                  <a:cubicBezTo>
                    <a:pt x="269" y="12"/>
                    <a:pt x="257"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6" name="Freeform 177"/>
            <p:cNvSpPr>
              <a:spLocks noEditPoints="1"/>
            </p:cNvSpPr>
            <p:nvPr userDrawn="1"/>
          </p:nvSpPr>
          <p:spPr bwMode="auto">
            <a:xfrm>
              <a:off x="3068638" y="4456113"/>
              <a:ext cx="327025" cy="314325"/>
            </a:xfrm>
            <a:custGeom>
              <a:avLst/>
              <a:gdLst>
                <a:gd name="T0" fmla="*/ 6 w 132"/>
                <a:gd name="T1" fmla="*/ 123 h 127"/>
                <a:gd name="T2" fmla="*/ 66 w 132"/>
                <a:gd name="T3" fmla="*/ 6 h 127"/>
                <a:gd name="T4" fmla="*/ 127 w 132"/>
                <a:gd name="T5" fmla="*/ 123 h 127"/>
                <a:gd name="T6" fmla="*/ 6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1 w 132"/>
                <a:gd name="T23" fmla="*/ 126 h 127"/>
                <a:gd name="T24" fmla="*/ 2 w 132"/>
                <a:gd name="T25" fmla="*/ 127 h 127"/>
                <a:gd name="T26" fmla="*/ 130 w 132"/>
                <a:gd name="T27" fmla="*/ 127 h 127"/>
                <a:gd name="T28" fmla="*/ 132 w 132"/>
                <a:gd name="T29" fmla="*/ 126 h 127"/>
                <a:gd name="T30" fmla="*/ 132 w 132"/>
                <a:gd name="T31" fmla="*/ 124 h 127"/>
                <a:gd name="T32" fmla="*/ 68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6" y="123"/>
                  </a:moveTo>
                  <a:cubicBezTo>
                    <a:pt x="66" y="6"/>
                    <a:pt x="66" y="6"/>
                    <a:pt x="66" y="6"/>
                  </a:cubicBezTo>
                  <a:cubicBezTo>
                    <a:pt x="127" y="123"/>
                    <a:pt x="127" y="123"/>
                    <a:pt x="127" y="123"/>
                  </a:cubicBezTo>
                  <a:cubicBezTo>
                    <a:pt x="6" y="123"/>
                    <a:pt x="6" y="123"/>
                    <a:pt x="6" y="123"/>
                  </a:cubicBezTo>
                  <a:moveTo>
                    <a:pt x="64" y="3"/>
                  </a:moveTo>
                  <a:cubicBezTo>
                    <a:pt x="66" y="2"/>
                    <a:pt x="66" y="2"/>
                    <a:pt x="66" y="2"/>
                  </a:cubicBezTo>
                  <a:cubicBezTo>
                    <a:pt x="64" y="3"/>
                    <a:pt x="64" y="3"/>
                    <a:pt x="64" y="3"/>
                  </a:cubicBezTo>
                  <a:moveTo>
                    <a:pt x="66" y="0"/>
                  </a:moveTo>
                  <a:cubicBezTo>
                    <a:pt x="65" y="0"/>
                    <a:pt x="65" y="0"/>
                    <a:pt x="64" y="1"/>
                  </a:cubicBezTo>
                  <a:cubicBezTo>
                    <a:pt x="64" y="1"/>
                    <a:pt x="64" y="1"/>
                    <a:pt x="64" y="1"/>
                  </a:cubicBezTo>
                  <a:cubicBezTo>
                    <a:pt x="0" y="124"/>
                    <a:pt x="0" y="124"/>
                    <a:pt x="0" y="124"/>
                  </a:cubicBezTo>
                  <a:cubicBezTo>
                    <a:pt x="0" y="125"/>
                    <a:pt x="0" y="126"/>
                    <a:pt x="1" y="126"/>
                  </a:cubicBezTo>
                  <a:cubicBezTo>
                    <a:pt x="1" y="127"/>
                    <a:pt x="2" y="127"/>
                    <a:pt x="2" y="127"/>
                  </a:cubicBezTo>
                  <a:cubicBezTo>
                    <a:pt x="130" y="127"/>
                    <a:pt x="130" y="127"/>
                    <a:pt x="130" y="127"/>
                  </a:cubicBezTo>
                  <a:cubicBezTo>
                    <a:pt x="131" y="127"/>
                    <a:pt x="131" y="127"/>
                    <a:pt x="132" y="126"/>
                  </a:cubicBezTo>
                  <a:cubicBezTo>
                    <a:pt x="132" y="126"/>
                    <a:pt x="132" y="125"/>
                    <a:pt x="132" y="124"/>
                  </a:cubicBezTo>
                  <a:cubicBezTo>
                    <a:pt x="68" y="1"/>
                    <a:pt x="68" y="1"/>
                    <a:pt x="68" y="1"/>
                  </a:cubicBezTo>
                  <a:cubicBezTo>
                    <a:pt x="68" y="0"/>
                    <a:pt x="67"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7" name="Freeform 178"/>
            <p:cNvSpPr>
              <a:spLocks noEditPoints="1"/>
            </p:cNvSpPr>
            <p:nvPr userDrawn="1"/>
          </p:nvSpPr>
          <p:spPr bwMode="auto">
            <a:xfrm>
              <a:off x="3359150" y="4556125"/>
              <a:ext cx="153988" cy="214313"/>
            </a:xfrm>
            <a:custGeom>
              <a:avLst/>
              <a:gdLst>
                <a:gd name="T0" fmla="*/ 31 w 62"/>
                <a:gd name="T1" fmla="*/ 83 h 87"/>
                <a:gd name="T2" fmla="*/ 4 w 62"/>
                <a:gd name="T3" fmla="*/ 32 h 87"/>
                <a:gd name="T4" fmla="*/ 17 w 62"/>
                <a:gd name="T5" fmla="*/ 7 h 87"/>
                <a:gd name="T6" fmla="*/ 57 w 62"/>
                <a:gd name="T7" fmla="*/ 83 h 87"/>
                <a:gd name="T8" fmla="*/ 31 w 62"/>
                <a:gd name="T9" fmla="*/ 83 h 87"/>
                <a:gd name="T10" fmla="*/ 16 w 62"/>
                <a:gd name="T11" fmla="*/ 3 h 87"/>
                <a:gd name="T12" fmla="*/ 17 w 62"/>
                <a:gd name="T13" fmla="*/ 2 h 87"/>
                <a:gd name="T14" fmla="*/ 16 w 62"/>
                <a:gd name="T15" fmla="*/ 3 h 87"/>
                <a:gd name="T16" fmla="*/ 17 w 62"/>
                <a:gd name="T17" fmla="*/ 0 h 87"/>
                <a:gd name="T18" fmla="*/ 16 w 62"/>
                <a:gd name="T19" fmla="*/ 1 h 87"/>
                <a:gd name="T20" fmla="*/ 16 w 62"/>
                <a:gd name="T21" fmla="*/ 1 h 87"/>
                <a:gd name="T22" fmla="*/ 0 w 62"/>
                <a:gd name="T23" fmla="*/ 31 h 87"/>
                <a:gd name="T24" fmla="*/ 0 w 62"/>
                <a:gd name="T25" fmla="*/ 33 h 87"/>
                <a:gd name="T26" fmla="*/ 28 w 62"/>
                <a:gd name="T27" fmla="*/ 86 h 87"/>
                <a:gd name="T28" fmla="*/ 29 w 62"/>
                <a:gd name="T29" fmla="*/ 87 h 87"/>
                <a:gd name="T30" fmla="*/ 60 w 62"/>
                <a:gd name="T31" fmla="*/ 87 h 87"/>
                <a:gd name="T32" fmla="*/ 62 w 62"/>
                <a:gd name="T33" fmla="*/ 86 h 87"/>
                <a:gd name="T34" fmla="*/ 62 w 62"/>
                <a:gd name="T35" fmla="*/ 84 h 87"/>
                <a:gd name="T36" fmla="*/ 19 w 62"/>
                <a:gd name="T37" fmla="*/ 1 h 87"/>
                <a:gd name="T38" fmla="*/ 17 w 62"/>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87">
                  <a:moveTo>
                    <a:pt x="31" y="83"/>
                  </a:moveTo>
                  <a:cubicBezTo>
                    <a:pt x="4" y="32"/>
                    <a:pt x="4" y="32"/>
                    <a:pt x="4" y="32"/>
                  </a:cubicBezTo>
                  <a:cubicBezTo>
                    <a:pt x="17" y="7"/>
                    <a:pt x="17" y="7"/>
                    <a:pt x="17" y="7"/>
                  </a:cubicBezTo>
                  <a:cubicBezTo>
                    <a:pt x="57" y="83"/>
                    <a:pt x="57" y="83"/>
                    <a:pt x="57" y="83"/>
                  </a:cubicBezTo>
                  <a:cubicBezTo>
                    <a:pt x="31" y="83"/>
                    <a:pt x="31" y="83"/>
                    <a:pt x="31" y="83"/>
                  </a:cubicBezTo>
                  <a:moveTo>
                    <a:pt x="16" y="3"/>
                  </a:moveTo>
                  <a:cubicBezTo>
                    <a:pt x="17" y="2"/>
                    <a:pt x="17" y="2"/>
                    <a:pt x="17" y="2"/>
                  </a:cubicBezTo>
                  <a:cubicBezTo>
                    <a:pt x="16" y="3"/>
                    <a:pt x="16" y="3"/>
                    <a:pt x="16" y="3"/>
                  </a:cubicBezTo>
                  <a:moveTo>
                    <a:pt x="17" y="0"/>
                  </a:move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29" y="87"/>
                  </a:cubicBezTo>
                  <a:cubicBezTo>
                    <a:pt x="60" y="87"/>
                    <a:pt x="60" y="87"/>
                    <a:pt x="60" y="87"/>
                  </a:cubicBezTo>
                  <a:cubicBezTo>
                    <a:pt x="61" y="87"/>
                    <a:pt x="62" y="87"/>
                    <a:pt x="62" y="86"/>
                  </a:cubicBezTo>
                  <a:cubicBezTo>
                    <a:pt x="62" y="86"/>
                    <a:pt x="62" y="85"/>
                    <a:pt x="62" y="84"/>
                  </a:cubicBezTo>
                  <a:cubicBezTo>
                    <a:pt x="19" y="1"/>
                    <a:pt x="19" y="1"/>
                    <a:pt x="19" y="1"/>
                  </a:cubicBezTo>
                  <a:cubicBezTo>
                    <a:pt x="19" y="1"/>
                    <a:pt x="18" y="0"/>
                    <a:pt x="1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8" name="Freeform 179"/>
            <p:cNvSpPr>
              <a:spLocks noEditPoints="1"/>
            </p:cNvSpPr>
            <p:nvPr userDrawn="1"/>
          </p:nvSpPr>
          <p:spPr bwMode="auto">
            <a:xfrm>
              <a:off x="3416300" y="4465638"/>
              <a:ext cx="74613" cy="77788"/>
            </a:xfrm>
            <a:custGeom>
              <a:avLst/>
              <a:gdLst>
                <a:gd name="T0" fmla="*/ 30 w 30"/>
                <a:gd name="T1" fmla="*/ 15 h 31"/>
                <a:gd name="T2" fmla="*/ 30 w 30"/>
                <a:gd name="T3" fmla="*/ 15 h 31"/>
                <a:gd name="T4" fmla="*/ 30 w 30"/>
                <a:gd name="T5" fmla="*/ 15 h 31"/>
                <a:gd name="T6" fmla="*/ 15 w 30"/>
                <a:gd name="T7" fmla="*/ 0 h 31"/>
                <a:gd name="T8" fmla="*/ 0 w 30"/>
                <a:gd name="T9" fmla="*/ 15 h 31"/>
                <a:gd name="T10" fmla="*/ 15 w 30"/>
                <a:gd name="T11" fmla="*/ 31 h 31"/>
                <a:gd name="T12" fmla="*/ 30 w 30"/>
                <a:gd name="T13" fmla="*/ 15 h 31"/>
                <a:gd name="T14" fmla="*/ 28 w 30"/>
                <a:gd name="T15" fmla="*/ 15 h 31"/>
                <a:gd name="T16" fmla="*/ 26 w 30"/>
                <a:gd name="T17" fmla="*/ 15 h 31"/>
                <a:gd name="T18" fmla="*/ 15 w 30"/>
                <a:gd name="T19" fmla="*/ 27 h 31"/>
                <a:gd name="T20" fmla="*/ 4 w 30"/>
                <a:gd name="T21" fmla="*/ 15 h 31"/>
                <a:gd name="T22" fmla="*/ 15 w 30"/>
                <a:gd name="T23" fmla="*/ 4 h 31"/>
                <a:gd name="T24" fmla="*/ 26 w 30"/>
                <a:gd name="T25" fmla="*/ 15 h 31"/>
                <a:gd name="T26" fmla="*/ 28 w 30"/>
                <a:gd name="T27" fmla="*/ 15 h 31"/>
                <a:gd name="T28" fmla="*/ 30 w 30"/>
                <a:gd name="T29" fmla="*/ 15 h 31"/>
                <a:gd name="T30" fmla="*/ 30 w 30"/>
                <a:gd name="T31" fmla="*/ 15 h 31"/>
                <a:gd name="T32" fmla="*/ 15 w 30"/>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1">
                  <a:moveTo>
                    <a:pt x="30" y="15"/>
                  </a:moveTo>
                  <a:cubicBezTo>
                    <a:pt x="30" y="15"/>
                    <a:pt x="30" y="15"/>
                    <a:pt x="30" y="15"/>
                  </a:cubicBezTo>
                  <a:cubicBezTo>
                    <a:pt x="30" y="15"/>
                    <a:pt x="30" y="15"/>
                    <a:pt x="30" y="15"/>
                  </a:cubicBezTo>
                  <a:moveTo>
                    <a:pt x="15" y="0"/>
                  </a:moveTo>
                  <a:cubicBezTo>
                    <a:pt x="7" y="0"/>
                    <a:pt x="0" y="7"/>
                    <a:pt x="0" y="15"/>
                  </a:cubicBezTo>
                  <a:cubicBezTo>
                    <a:pt x="0" y="24"/>
                    <a:pt x="7" y="31"/>
                    <a:pt x="15" y="31"/>
                  </a:cubicBezTo>
                  <a:cubicBezTo>
                    <a:pt x="24" y="31"/>
                    <a:pt x="30" y="24"/>
                    <a:pt x="30" y="15"/>
                  </a:cubicBezTo>
                  <a:cubicBezTo>
                    <a:pt x="28" y="15"/>
                    <a:pt x="28" y="15"/>
                    <a:pt x="28" y="15"/>
                  </a:cubicBezTo>
                  <a:cubicBezTo>
                    <a:pt x="26" y="15"/>
                    <a:pt x="26" y="15"/>
                    <a:pt x="26" y="15"/>
                  </a:cubicBezTo>
                  <a:cubicBezTo>
                    <a:pt x="26" y="21"/>
                    <a:pt x="21" y="26"/>
                    <a:pt x="15" y="27"/>
                  </a:cubicBezTo>
                  <a:cubicBezTo>
                    <a:pt x="9" y="26"/>
                    <a:pt x="4" y="21"/>
                    <a:pt x="4" y="15"/>
                  </a:cubicBezTo>
                  <a:cubicBezTo>
                    <a:pt x="4" y="9"/>
                    <a:pt x="9" y="4"/>
                    <a:pt x="15" y="4"/>
                  </a:cubicBezTo>
                  <a:cubicBezTo>
                    <a:pt x="21" y="4"/>
                    <a:pt x="26" y="9"/>
                    <a:pt x="26" y="15"/>
                  </a:cubicBezTo>
                  <a:cubicBezTo>
                    <a:pt x="28" y="15"/>
                    <a:pt x="28" y="15"/>
                    <a:pt x="28" y="15"/>
                  </a:cubicBezTo>
                  <a:cubicBezTo>
                    <a:pt x="30" y="15"/>
                    <a:pt x="30" y="15"/>
                    <a:pt x="30" y="15"/>
                  </a:cubicBezTo>
                  <a:cubicBezTo>
                    <a:pt x="30" y="15"/>
                    <a:pt x="30" y="15"/>
                    <a:pt x="30" y="15"/>
                  </a:cubicBezTo>
                  <a:cubicBezTo>
                    <a:pt x="30" y="7"/>
                    <a:pt x="24" y="0"/>
                    <a:pt x="15"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9" name="Freeform 180"/>
            <p:cNvSpPr>
              <a:spLocks noEditPoints="1"/>
            </p:cNvSpPr>
            <p:nvPr userDrawn="1"/>
          </p:nvSpPr>
          <p:spPr bwMode="auto">
            <a:xfrm>
              <a:off x="3962400" y="4267200"/>
              <a:ext cx="666750" cy="665163"/>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3"/>
                    <a:pt x="4" y="248"/>
                    <a:pt x="4" y="241"/>
                  </a:cubicBezTo>
                  <a:cubicBezTo>
                    <a:pt x="4" y="27"/>
                    <a:pt x="4" y="27"/>
                    <a:pt x="4" y="27"/>
                  </a:cubicBezTo>
                  <a:cubicBezTo>
                    <a:pt x="4" y="21"/>
                    <a:pt x="7" y="15"/>
                    <a:pt x="11" y="11"/>
                  </a:cubicBezTo>
                  <a:cubicBezTo>
                    <a:pt x="15" y="6"/>
                    <a:pt x="21" y="4"/>
                    <a:pt x="27" y="4"/>
                  </a:cubicBezTo>
                  <a:cubicBezTo>
                    <a:pt x="242" y="4"/>
                    <a:pt x="242" y="4"/>
                    <a:pt x="242" y="4"/>
                  </a:cubicBezTo>
                  <a:cubicBezTo>
                    <a:pt x="248" y="4"/>
                    <a:pt x="254" y="6"/>
                    <a:pt x="258" y="11"/>
                  </a:cubicBezTo>
                  <a:cubicBezTo>
                    <a:pt x="262" y="15"/>
                    <a:pt x="265" y="21"/>
                    <a:pt x="265" y="27"/>
                  </a:cubicBezTo>
                  <a:cubicBezTo>
                    <a:pt x="265" y="241"/>
                    <a:pt x="265" y="241"/>
                    <a:pt x="265" y="241"/>
                  </a:cubicBezTo>
                  <a:cubicBezTo>
                    <a:pt x="265" y="248"/>
                    <a:pt x="262" y="253"/>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2" y="0"/>
                    <a:pt x="0" y="12"/>
                    <a:pt x="0" y="27"/>
                  </a:cubicBezTo>
                  <a:cubicBezTo>
                    <a:pt x="0" y="241"/>
                    <a:pt x="0" y="241"/>
                    <a:pt x="0" y="241"/>
                  </a:cubicBezTo>
                  <a:cubicBezTo>
                    <a:pt x="0" y="256"/>
                    <a:pt x="12" y="268"/>
                    <a:pt x="27" y="268"/>
                  </a:cubicBezTo>
                  <a:cubicBezTo>
                    <a:pt x="242" y="268"/>
                    <a:pt x="242" y="268"/>
                    <a:pt x="242" y="268"/>
                  </a:cubicBezTo>
                  <a:cubicBezTo>
                    <a:pt x="256" y="268"/>
                    <a:pt x="269" y="256"/>
                    <a:pt x="269" y="241"/>
                  </a:cubicBezTo>
                  <a:cubicBezTo>
                    <a:pt x="269" y="27"/>
                    <a:pt x="269" y="27"/>
                    <a:pt x="269" y="27"/>
                  </a:cubicBezTo>
                  <a:cubicBezTo>
                    <a:pt x="269" y="12"/>
                    <a:pt x="256"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0" name="Freeform 181"/>
            <p:cNvSpPr>
              <a:spLocks noEditPoints="1"/>
            </p:cNvSpPr>
            <p:nvPr userDrawn="1"/>
          </p:nvSpPr>
          <p:spPr bwMode="auto">
            <a:xfrm>
              <a:off x="4073525" y="4456113"/>
              <a:ext cx="327025" cy="314325"/>
            </a:xfrm>
            <a:custGeom>
              <a:avLst/>
              <a:gdLst>
                <a:gd name="T0" fmla="*/ 5 w 132"/>
                <a:gd name="T1" fmla="*/ 123 h 127"/>
                <a:gd name="T2" fmla="*/ 66 w 132"/>
                <a:gd name="T3" fmla="*/ 6 h 127"/>
                <a:gd name="T4" fmla="*/ 126 w 132"/>
                <a:gd name="T5" fmla="*/ 123 h 127"/>
                <a:gd name="T6" fmla="*/ 5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0 w 132"/>
                <a:gd name="T23" fmla="*/ 126 h 127"/>
                <a:gd name="T24" fmla="*/ 2 w 132"/>
                <a:gd name="T25" fmla="*/ 127 h 127"/>
                <a:gd name="T26" fmla="*/ 130 w 132"/>
                <a:gd name="T27" fmla="*/ 127 h 127"/>
                <a:gd name="T28" fmla="*/ 131 w 132"/>
                <a:gd name="T29" fmla="*/ 126 h 127"/>
                <a:gd name="T30" fmla="*/ 131 w 132"/>
                <a:gd name="T31" fmla="*/ 124 h 127"/>
                <a:gd name="T32" fmla="*/ 67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5" y="123"/>
                  </a:moveTo>
                  <a:cubicBezTo>
                    <a:pt x="66" y="6"/>
                    <a:pt x="66" y="6"/>
                    <a:pt x="66" y="6"/>
                  </a:cubicBezTo>
                  <a:cubicBezTo>
                    <a:pt x="126" y="123"/>
                    <a:pt x="126" y="123"/>
                    <a:pt x="126" y="123"/>
                  </a:cubicBezTo>
                  <a:cubicBezTo>
                    <a:pt x="5" y="123"/>
                    <a:pt x="5" y="123"/>
                    <a:pt x="5" y="123"/>
                  </a:cubicBezTo>
                  <a:moveTo>
                    <a:pt x="64" y="3"/>
                  </a:moveTo>
                  <a:cubicBezTo>
                    <a:pt x="66" y="2"/>
                    <a:pt x="66" y="2"/>
                    <a:pt x="66" y="2"/>
                  </a:cubicBezTo>
                  <a:cubicBezTo>
                    <a:pt x="64" y="3"/>
                    <a:pt x="64" y="3"/>
                    <a:pt x="64" y="3"/>
                  </a:cubicBezTo>
                  <a:moveTo>
                    <a:pt x="66" y="0"/>
                  </a:moveTo>
                  <a:cubicBezTo>
                    <a:pt x="65" y="0"/>
                    <a:pt x="64" y="0"/>
                    <a:pt x="64" y="1"/>
                  </a:cubicBezTo>
                  <a:cubicBezTo>
                    <a:pt x="64" y="1"/>
                    <a:pt x="64" y="1"/>
                    <a:pt x="64" y="1"/>
                  </a:cubicBezTo>
                  <a:cubicBezTo>
                    <a:pt x="0" y="124"/>
                    <a:pt x="0" y="124"/>
                    <a:pt x="0" y="124"/>
                  </a:cubicBezTo>
                  <a:cubicBezTo>
                    <a:pt x="0" y="125"/>
                    <a:pt x="0" y="126"/>
                    <a:pt x="0" y="126"/>
                  </a:cubicBezTo>
                  <a:cubicBezTo>
                    <a:pt x="0" y="127"/>
                    <a:pt x="1" y="127"/>
                    <a:pt x="2" y="127"/>
                  </a:cubicBezTo>
                  <a:cubicBezTo>
                    <a:pt x="130" y="127"/>
                    <a:pt x="130" y="127"/>
                    <a:pt x="130" y="127"/>
                  </a:cubicBezTo>
                  <a:cubicBezTo>
                    <a:pt x="130" y="127"/>
                    <a:pt x="131" y="127"/>
                    <a:pt x="131" y="126"/>
                  </a:cubicBezTo>
                  <a:cubicBezTo>
                    <a:pt x="132" y="126"/>
                    <a:pt x="132" y="125"/>
                    <a:pt x="131" y="124"/>
                  </a:cubicBezTo>
                  <a:cubicBezTo>
                    <a:pt x="67" y="1"/>
                    <a:pt x="67" y="1"/>
                    <a:pt x="67" y="1"/>
                  </a:cubicBezTo>
                  <a:cubicBezTo>
                    <a:pt x="67" y="0"/>
                    <a:pt x="66"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1" name="Freeform 182"/>
            <p:cNvSpPr>
              <a:spLocks noEditPoints="1"/>
            </p:cNvSpPr>
            <p:nvPr userDrawn="1"/>
          </p:nvSpPr>
          <p:spPr bwMode="auto">
            <a:xfrm>
              <a:off x="4360863" y="4556125"/>
              <a:ext cx="157163" cy="214313"/>
            </a:xfrm>
            <a:custGeom>
              <a:avLst/>
              <a:gdLst>
                <a:gd name="T0" fmla="*/ 31 w 63"/>
                <a:gd name="T1" fmla="*/ 83 h 87"/>
                <a:gd name="T2" fmla="*/ 5 w 63"/>
                <a:gd name="T3" fmla="*/ 32 h 87"/>
                <a:gd name="T4" fmla="*/ 18 w 63"/>
                <a:gd name="T5" fmla="*/ 7 h 87"/>
                <a:gd name="T6" fmla="*/ 57 w 63"/>
                <a:gd name="T7" fmla="*/ 83 h 87"/>
                <a:gd name="T8" fmla="*/ 31 w 63"/>
                <a:gd name="T9" fmla="*/ 83 h 87"/>
                <a:gd name="T10" fmla="*/ 16 w 63"/>
                <a:gd name="T11" fmla="*/ 3 h 87"/>
                <a:gd name="T12" fmla="*/ 18 w 63"/>
                <a:gd name="T13" fmla="*/ 2 h 87"/>
                <a:gd name="T14" fmla="*/ 16 w 63"/>
                <a:gd name="T15" fmla="*/ 3 h 87"/>
                <a:gd name="T16" fmla="*/ 18 w 63"/>
                <a:gd name="T17" fmla="*/ 0 h 87"/>
                <a:gd name="T18" fmla="*/ 16 w 63"/>
                <a:gd name="T19" fmla="*/ 1 h 87"/>
                <a:gd name="T20" fmla="*/ 16 w 63"/>
                <a:gd name="T21" fmla="*/ 1 h 87"/>
                <a:gd name="T22" fmla="*/ 1 w 63"/>
                <a:gd name="T23" fmla="*/ 31 h 87"/>
                <a:gd name="T24" fmla="*/ 1 w 63"/>
                <a:gd name="T25" fmla="*/ 33 h 87"/>
                <a:gd name="T26" fmla="*/ 28 w 63"/>
                <a:gd name="T27" fmla="*/ 86 h 87"/>
                <a:gd name="T28" fmla="*/ 30 w 63"/>
                <a:gd name="T29" fmla="*/ 87 h 87"/>
                <a:gd name="T30" fmla="*/ 61 w 63"/>
                <a:gd name="T31" fmla="*/ 87 h 87"/>
                <a:gd name="T32" fmla="*/ 62 w 63"/>
                <a:gd name="T33" fmla="*/ 86 h 87"/>
                <a:gd name="T34" fmla="*/ 63 w 63"/>
                <a:gd name="T35" fmla="*/ 84 h 87"/>
                <a:gd name="T36" fmla="*/ 20 w 63"/>
                <a:gd name="T37" fmla="*/ 1 h 87"/>
                <a:gd name="T38" fmla="*/ 18 w 63"/>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87">
                  <a:moveTo>
                    <a:pt x="31" y="83"/>
                  </a:moveTo>
                  <a:cubicBezTo>
                    <a:pt x="5" y="32"/>
                    <a:pt x="5" y="32"/>
                    <a:pt x="5" y="32"/>
                  </a:cubicBezTo>
                  <a:cubicBezTo>
                    <a:pt x="18" y="7"/>
                    <a:pt x="18" y="7"/>
                    <a:pt x="18" y="7"/>
                  </a:cubicBezTo>
                  <a:cubicBezTo>
                    <a:pt x="57" y="83"/>
                    <a:pt x="57" y="83"/>
                    <a:pt x="57" y="83"/>
                  </a:cubicBezTo>
                  <a:cubicBezTo>
                    <a:pt x="31" y="83"/>
                    <a:pt x="31" y="83"/>
                    <a:pt x="31" y="83"/>
                  </a:cubicBezTo>
                  <a:moveTo>
                    <a:pt x="16" y="3"/>
                  </a:moveTo>
                  <a:cubicBezTo>
                    <a:pt x="18" y="2"/>
                    <a:pt x="18" y="2"/>
                    <a:pt x="18" y="2"/>
                  </a:cubicBezTo>
                  <a:cubicBezTo>
                    <a:pt x="16" y="3"/>
                    <a:pt x="16" y="3"/>
                    <a:pt x="16" y="3"/>
                  </a:cubicBezTo>
                  <a:moveTo>
                    <a:pt x="18" y="0"/>
                  </a:moveTo>
                  <a:cubicBezTo>
                    <a:pt x="17" y="0"/>
                    <a:pt x="16" y="1"/>
                    <a:pt x="16" y="1"/>
                  </a:cubicBezTo>
                  <a:cubicBezTo>
                    <a:pt x="16" y="1"/>
                    <a:pt x="16" y="1"/>
                    <a:pt x="16" y="1"/>
                  </a:cubicBezTo>
                  <a:cubicBezTo>
                    <a:pt x="1" y="31"/>
                    <a:pt x="1" y="31"/>
                    <a:pt x="1" y="31"/>
                  </a:cubicBezTo>
                  <a:cubicBezTo>
                    <a:pt x="0" y="32"/>
                    <a:pt x="0" y="32"/>
                    <a:pt x="1" y="33"/>
                  </a:cubicBezTo>
                  <a:cubicBezTo>
                    <a:pt x="28" y="86"/>
                    <a:pt x="28" y="86"/>
                    <a:pt x="28" y="86"/>
                  </a:cubicBezTo>
                  <a:cubicBezTo>
                    <a:pt x="29" y="87"/>
                    <a:pt x="29" y="87"/>
                    <a:pt x="30" y="87"/>
                  </a:cubicBezTo>
                  <a:cubicBezTo>
                    <a:pt x="61" y="87"/>
                    <a:pt x="61" y="87"/>
                    <a:pt x="61" y="87"/>
                  </a:cubicBezTo>
                  <a:cubicBezTo>
                    <a:pt x="61" y="87"/>
                    <a:pt x="62" y="87"/>
                    <a:pt x="62" y="86"/>
                  </a:cubicBezTo>
                  <a:cubicBezTo>
                    <a:pt x="63" y="86"/>
                    <a:pt x="63" y="85"/>
                    <a:pt x="63" y="84"/>
                  </a:cubicBezTo>
                  <a:cubicBezTo>
                    <a:pt x="20" y="1"/>
                    <a:pt x="20" y="1"/>
                    <a:pt x="20" y="1"/>
                  </a:cubicBezTo>
                  <a:cubicBezTo>
                    <a:pt x="19" y="1"/>
                    <a:pt x="19" y="0"/>
                    <a:pt x="18"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2" name="Freeform 183"/>
            <p:cNvSpPr>
              <a:spLocks noEditPoints="1"/>
            </p:cNvSpPr>
            <p:nvPr userDrawn="1"/>
          </p:nvSpPr>
          <p:spPr bwMode="auto">
            <a:xfrm>
              <a:off x="4418013" y="4465638"/>
              <a:ext cx="76200" cy="77788"/>
            </a:xfrm>
            <a:custGeom>
              <a:avLst/>
              <a:gdLst>
                <a:gd name="T0" fmla="*/ 31 w 31"/>
                <a:gd name="T1" fmla="*/ 15 h 31"/>
                <a:gd name="T2" fmla="*/ 31 w 31"/>
                <a:gd name="T3" fmla="*/ 15 h 31"/>
                <a:gd name="T4" fmla="*/ 31 w 31"/>
                <a:gd name="T5" fmla="*/ 15 h 31"/>
                <a:gd name="T6" fmla="*/ 16 w 31"/>
                <a:gd name="T7" fmla="*/ 0 h 31"/>
                <a:gd name="T8" fmla="*/ 0 w 31"/>
                <a:gd name="T9" fmla="*/ 15 h 31"/>
                <a:gd name="T10" fmla="*/ 16 w 31"/>
                <a:gd name="T11" fmla="*/ 31 h 31"/>
                <a:gd name="T12" fmla="*/ 31 w 31"/>
                <a:gd name="T13" fmla="*/ 15 h 31"/>
                <a:gd name="T14" fmla="*/ 29 w 31"/>
                <a:gd name="T15" fmla="*/ 15 h 31"/>
                <a:gd name="T16" fmla="*/ 27 w 31"/>
                <a:gd name="T17" fmla="*/ 15 h 31"/>
                <a:gd name="T18" fmla="*/ 16 w 31"/>
                <a:gd name="T19" fmla="*/ 27 h 31"/>
                <a:gd name="T20" fmla="*/ 4 w 31"/>
                <a:gd name="T21" fmla="*/ 15 h 31"/>
                <a:gd name="T22" fmla="*/ 16 w 31"/>
                <a:gd name="T23" fmla="*/ 4 h 31"/>
                <a:gd name="T24" fmla="*/ 27 w 31"/>
                <a:gd name="T25" fmla="*/ 15 h 31"/>
                <a:gd name="T26" fmla="*/ 29 w 31"/>
                <a:gd name="T27" fmla="*/ 15 h 31"/>
                <a:gd name="T28" fmla="*/ 31 w 31"/>
                <a:gd name="T29" fmla="*/ 15 h 31"/>
                <a:gd name="T30" fmla="*/ 31 w 31"/>
                <a:gd name="T31" fmla="*/ 15 h 31"/>
                <a:gd name="T32" fmla="*/ 16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6" y="0"/>
                  </a:moveTo>
                  <a:cubicBezTo>
                    <a:pt x="7" y="0"/>
                    <a:pt x="0" y="7"/>
                    <a:pt x="0" y="15"/>
                  </a:cubicBezTo>
                  <a:cubicBezTo>
                    <a:pt x="0" y="24"/>
                    <a:pt x="7" y="31"/>
                    <a:pt x="16" y="31"/>
                  </a:cubicBezTo>
                  <a:cubicBezTo>
                    <a:pt x="24" y="31"/>
                    <a:pt x="31" y="24"/>
                    <a:pt x="31" y="15"/>
                  </a:cubicBezTo>
                  <a:cubicBezTo>
                    <a:pt x="29" y="15"/>
                    <a:pt x="29" y="15"/>
                    <a:pt x="29" y="15"/>
                  </a:cubicBezTo>
                  <a:cubicBezTo>
                    <a:pt x="27" y="15"/>
                    <a:pt x="27" y="15"/>
                    <a:pt x="27" y="15"/>
                  </a:cubicBezTo>
                  <a:cubicBezTo>
                    <a:pt x="27" y="21"/>
                    <a:pt x="22" y="26"/>
                    <a:pt x="16" y="27"/>
                  </a:cubicBezTo>
                  <a:cubicBezTo>
                    <a:pt x="9" y="26"/>
                    <a:pt x="4" y="21"/>
                    <a:pt x="4" y="15"/>
                  </a:cubicBezTo>
                  <a:cubicBezTo>
                    <a:pt x="4" y="9"/>
                    <a:pt x="9" y="4"/>
                    <a:pt x="16"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3" name="Freeform 184"/>
            <p:cNvSpPr>
              <a:spLocks noEditPoints="1"/>
            </p:cNvSpPr>
            <p:nvPr userDrawn="1"/>
          </p:nvSpPr>
          <p:spPr bwMode="auto">
            <a:xfrm>
              <a:off x="4965700" y="4267200"/>
              <a:ext cx="515938" cy="665163"/>
            </a:xfrm>
            <a:custGeom>
              <a:avLst/>
              <a:gdLst>
                <a:gd name="T0" fmla="*/ 0 w 208"/>
                <a:gd name="T1" fmla="*/ 55 h 268"/>
                <a:gd name="T2" fmla="*/ 0 w 208"/>
                <a:gd name="T3" fmla="*/ 241 h 268"/>
                <a:gd name="T4" fmla="*/ 27 w 208"/>
                <a:gd name="T5" fmla="*/ 268 h 268"/>
                <a:gd name="T6" fmla="*/ 207 w 208"/>
                <a:gd name="T7" fmla="*/ 268 h 268"/>
                <a:gd name="T8" fmla="*/ 208 w 208"/>
                <a:gd name="T9" fmla="*/ 264 h 268"/>
                <a:gd name="T10" fmla="*/ 27 w 208"/>
                <a:gd name="T11" fmla="*/ 264 h 268"/>
                <a:gd name="T12" fmla="*/ 10 w 208"/>
                <a:gd name="T13" fmla="*/ 258 h 268"/>
                <a:gd name="T14" fmla="*/ 4 w 208"/>
                <a:gd name="T15" fmla="*/ 241 h 268"/>
                <a:gd name="T16" fmla="*/ 4 w 208"/>
                <a:gd name="T17" fmla="*/ 56 h 268"/>
                <a:gd name="T18" fmla="*/ 0 w 208"/>
                <a:gd name="T19" fmla="*/ 55 h 268"/>
                <a:gd name="T20" fmla="*/ 0 w 208"/>
                <a:gd name="T21" fmla="*/ 49 h 268"/>
                <a:gd name="T22" fmla="*/ 0 w 208"/>
                <a:gd name="T23" fmla="*/ 52 h 268"/>
                <a:gd name="T24" fmla="*/ 4 w 208"/>
                <a:gd name="T25" fmla="*/ 51 h 268"/>
                <a:gd name="T26" fmla="*/ 4 w 208"/>
                <a:gd name="T27" fmla="*/ 50 h 268"/>
                <a:gd name="T28" fmla="*/ 0 w 208"/>
                <a:gd name="T29" fmla="*/ 49 h 268"/>
                <a:gd name="T30" fmla="*/ 0 w 208"/>
                <a:gd name="T31" fmla="*/ 42 h 268"/>
                <a:gd name="T32" fmla="*/ 0 w 208"/>
                <a:gd name="T33" fmla="*/ 44 h 268"/>
                <a:gd name="T34" fmla="*/ 4 w 208"/>
                <a:gd name="T35" fmla="*/ 43 h 268"/>
                <a:gd name="T36" fmla="*/ 4 w 208"/>
                <a:gd name="T37" fmla="*/ 42 h 268"/>
                <a:gd name="T38" fmla="*/ 0 w 208"/>
                <a:gd name="T39" fmla="*/ 42 h 268"/>
                <a:gd name="T40" fmla="*/ 0 w 208"/>
                <a:gd name="T41" fmla="*/ 34 h 268"/>
                <a:gd name="T42" fmla="*/ 0 w 208"/>
                <a:gd name="T43" fmla="*/ 35 h 268"/>
                <a:gd name="T44" fmla="*/ 4 w 208"/>
                <a:gd name="T45" fmla="*/ 35 h 268"/>
                <a:gd name="T46" fmla="*/ 4 w 208"/>
                <a:gd name="T47" fmla="*/ 34 h 268"/>
                <a:gd name="T48" fmla="*/ 0 w 208"/>
                <a:gd name="T49" fmla="*/ 34 h 268"/>
                <a:gd name="T50" fmla="*/ 0 w 208"/>
                <a:gd name="T51" fmla="*/ 22 h 268"/>
                <a:gd name="T52" fmla="*/ 0 w 208"/>
                <a:gd name="T53" fmla="*/ 27 h 268"/>
                <a:gd name="T54" fmla="*/ 0 w 208"/>
                <a:gd name="T55" fmla="*/ 29 h 268"/>
                <a:gd name="T56" fmla="*/ 4 w 208"/>
                <a:gd name="T57" fmla="*/ 28 h 268"/>
                <a:gd name="T58" fmla="*/ 4 w 208"/>
                <a:gd name="T59" fmla="*/ 27 h 268"/>
                <a:gd name="T60" fmla="*/ 4 w 208"/>
                <a:gd name="T61" fmla="*/ 24 h 268"/>
                <a:gd name="T62" fmla="*/ 0 w 208"/>
                <a:gd name="T63" fmla="*/ 22 h 268"/>
                <a:gd name="T64" fmla="*/ 73 w 208"/>
                <a:gd name="T65" fmla="*/ 0 h 268"/>
                <a:gd name="T66" fmla="*/ 27 w 208"/>
                <a:gd name="T67" fmla="*/ 0 h 268"/>
                <a:gd name="T68" fmla="*/ 0 w 208"/>
                <a:gd name="T69" fmla="*/ 21 h 268"/>
                <a:gd name="T70" fmla="*/ 5 w 208"/>
                <a:gd name="T71" fmla="*/ 20 h 268"/>
                <a:gd name="T72" fmla="*/ 10 w 208"/>
                <a:gd name="T73" fmla="*/ 11 h 268"/>
                <a:gd name="T74" fmla="*/ 27 w 208"/>
                <a:gd name="T75" fmla="*/ 4 h 268"/>
                <a:gd name="T76" fmla="*/ 73 w 208"/>
                <a:gd name="T77" fmla="*/ 4 h 268"/>
                <a:gd name="T78" fmla="*/ 73 w 208"/>
                <a:gd name="T7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8" h="268">
                  <a:moveTo>
                    <a:pt x="0" y="55"/>
                  </a:moveTo>
                  <a:cubicBezTo>
                    <a:pt x="0" y="241"/>
                    <a:pt x="0" y="241"/>
                    <a:pt x="0" y="241"/>
                  </a:cubicBezTo>
                  <a:cubicBezTo>
                    <a:pt x="0" y="256"/>
                    <a:pt x="12" y="268"/>
                    <a:pt x="27" y="268"/>
                  </a:cubicBezTo>
                  <a:cubicBezTo>
                    <a:pt x="207" y="268"/>
                    <a:pt x="207" y="268"/>
                    <a:pt x="207" y="268"/>
                  </a:cubicBezTo>
                  <a:cubicBezTo>
                    <a:pt x="208" y="267"/>
                    <a:pt x="208" y="266"/>
                    <a:pt x="208" y="264"/>
                  </a:cubicBezTo>
                  <a:cubicBezTo>
                    <a:pt x="27" y="264"/>
                    <a:pt x="27" y="264"/>
                    <a:pt x="27" y="264"/>
                  </a:cubicBezTo>
                  <a:cubicBezTo>
                    <a:pt x="20" y="264"/>
                    <a:pt x="15" y="262"/>
                    <a:pt x="10" y="258"/>
                  </a:cubicBezTo>
                  <a:cubicBezTo>
                    <a:pt x="6" y="253"/>
                    <a:pt x="4" y="248"/>
                    <a:pt x="4" y="241"/>
                  </a:cubicBezTo>
                  <a:cubicBezTo>
                    <a:pt x="4" y="56"/>
                    <a:pt x="4" y="56"/>
                    <a:pt x="4" y="56"/>
                  </a:cubicBezTo>
                  <a:cubicBezTo>
                    <a:pt x="2" y="55"/>
                    <a:pt x="1" y="55"/>
                    <a:pt x="0" y="55"/>
                  </a:cubicBezTo>
                  <a:moveTo>
                    <a:pt x="0" y="49"/>
                  </a:moveTo>
                  <a:cubicBezTo>
                    <a:pt x="0" y="52"/>
                    <a:pt x="0" y="52"/>
                    <a:pt x="0" y="52"/>
                  </a:cubicBezTo>
                  <a:cubicBezTo>
                    <a:pt x="1" y="52"/>
                    <a:pt x="2" y="51"/>
                    <a:pt x="4" y="51"/>
                  </a:cubicBezTo>
                  <a:cubicBezTo>
                    <a:pt x="4" y="50"/>
                    <a:pt x="4" y="50"/>
                    <a:pt x="4" y="50"/>
                  </a:cubicBezTo>
                  <a:cubicBezTo>
                    <a:pt x="2" y="50"/>
                    <a:pt x="1" y="49"/>
                    <a:pt x="0" y="49"/>
                  </a:cubicBezTo>
                  <a:moveTo>
                    <a:pt x="0" y="42"/>
                  </a:moveTo>
                  <a:cubicBezTo>
                    <a:pt x="0" y="44"/>
                    <a:pt x="0" y="44"/>
                    <a:pt x="0" y="44"/>
                  </a:cubicBezTo>
                  <a:cubicBezTo>
                    <a:pt x="1" y="43"/>
                    <a:pt x="2" y="43"/>
                    <a:pt x="4" y="43"/>
                  </a:cubicBezTo>
                  <a:cubicBezTo>
                    <a:pt x="4" y="42"/>
                    <a:pt x="4" y="42"/>
                    <a:pt x="4" y="42"/>
                  </a:cubicBezTo>
                  <a:cubicBezTo>
                    <a:pt x="2" y="42"/>
                    <a:pt x="1" y="42"/>
                    <a:pt x="0" y="42"/>
                  </a:cubicBezTo>
                  <a:moveTo>
                    <a:pt x="0" y="34"/>
                  </a:moveTo>
                  <a:cubicBezTo>
                    <a:pt x="0" y="35"/>
                    <a:pt x="0" y="35"/>
                    <a:pt x="0" y="35"/>
                  </a:cubicBezTo>
                  <a:cubicBezTo>
                    <a:pt x="1" y="35"/>
                    <a:pt x="2" y="35"/>
                    <a:pt x="4" y="35"/>
                  </a:cubicBezTo>
                  <a:cubicBezTo>
                    <a:pt x="4" y="34"/>
                    <a:pt x="4" y="34"/>
                    <a:pt x="4" y="34"/>
                  </a:cubicBezTo>
                  <a:cubicBezTo>
                    <a:pt x="2" y="34"/>
                    <a:pt x="1" y="34"/>
                    <a:pt x="0" y="34"/>
                  </a:cubicBezTo>
                  <a:moveTo>
                    <a:pt x="0" y="22"/>
                  </a:moveTo>
                  <a:cubicBezTo>
                    <a:pt x="0" y="24"/>
                    <a:pt x="0" y="25"/>
                    <a:pt x="0" y="27"/>
                  </a:cubicBezTo>
                  <a:cubicBezTo>
                    <a:pt x="0" y="29"/>
                    <a:pt x="0" y="29"/>
                    <a:pt x="0" y="29"/>
                  </a:cubicBezTo>
                  <a:cubicBezTo>
                    <a:pt x="1" y="28"/>
                    <a:pt x="2" y="28"/>
                    <a:pt x="4" y="28"/>
                  </a:cubicBezTo>
                  <a:cubicBezTo>
                    <a:pt x="4" y="27"/>
                    <a:pt x="4" y="27"/>
                    <a:pt x="4" y="27"/>
                  </a:cubicBezTo>
                  <a:cubicBezTo>
                    <a:pt x="4" y="26"/>
                    <a:pt x="4" y="25"/>
                    <a:pt x="4" y="24"/>
                  </a:cubicBezTo>
                  <a:cubicBezTo>
                    <a:pt x="2" y="23"/>
                    <a:pt x="1" y="23"/>
                    <a:pt x="0" y="22"/>
                  </a:cubicBezTo>
                  <a:moveTo>
                    <a:pt x="73" y="0"/>
                  </a:moveTo>
                  <a:cubicBezTo>
                    <a:pt x="27" y="0"/>
                    <a:pt x="27" y="0"/>
                    <a:pt x="27" y="0"/>
                  </a:cubicBezTo>
                  <a:cubicBezTo>
                    <a:pt x="14" y="0"/>
                    <a:pt x="3" y="9"/>
                    <a:pt x="0" y="21"/>
                  </a:cubicBezTo>
                  <a:cubicBezTo>
                    <a:pt x="1" y="20"/>
                    <a:pt x="3" y="20"/>
                    <a:pt x="5" y="20"/>
                  </a:cubicBezTo>
                  <a:cubicBezTo>
                    <a:pt x="6" y="16"/>
                    <a:pt x="8" y="13"/>
                    <a:pt x="10" y="11"/>
                  </a:cubicBezTo>
                  <a:cubicBezTo>
                    <a:pt x="15" y="6"/>
                    <a:pt x="20" y="4"/>
                    <a:pt x="27" y="4"/>
                  </a:cubicBezTo>
                  <a:cubicBezTo>
                    <a:pt x="73" y="4"/>
                    <a:pt x="73" y="4"/>
                    <a:pt x="73" y="4"/>
                  </a:cubicBezTo>
                  <a:cubicBezTo>
                    <a:pt x="73" y="0"/>
                    <a:pt x="73" y="0"/>
                    <a:pt x="73"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4" name="Freeform 185"/>
            <p:cNvSpPr/>
            <p:nvPr userDrawn="1"/>
          </p:nvSpPr>
          <p:spPr bwMode="auto">
            <a:xfrm>
              <a:off x="5075238" y="4508500"/>
              <a:ext cx="327025" cy="261938"/>
            </a:xfrm>
            <a:custGeom>
              <a:avLst/>
              <a:gdLst>
                <a:gd name="T0" fmla="*/ 79 w 132"/>
                <a:gd name="T1" fmla="*/ 0 h 106"/>
                <a:gd name="T2" fmla="*/ 74 w 132"/>
                <a:gd name="T3" fmla="*/ 1 h 106"/>
                <a:gd name="T4" fmla="*/ 127 w 132"/>
                <a:gd name="T5" fmla="*/ 102 h 106"/>
                <a:gd name="T6" fmla="*/ 6 w 132"/>
                <a:gd name="T7" fmla="*/ 102 h 106"/>
                <a:gd name="T8" fmla="*/ 57 w 132"/>
                <a:gd name="T9" fmla="*/ 3 h 106"/>
                <a:gd name="T10" fmla="*/ 52 w 132"/>
                <a:gd name="T11" fmla="*/ 4 h 106"/>
                <a:gd name="T12" fmla="*/ 1 w 132"/>
                <a:gd name="T13" fmla="*/ 103 h 106"/>
                <a:gd name="T14" fmla="*/ 1 w 132"/>
                <a:gd name="T15" fmla="*/ 105 h 106"/>
                <a:gd name="T16" fmla="*/ 2 w 132"/>
                <a:gd name="T17" fmla="*/ 106 h 106"/>
                <a:gd name="T18" fmla="*/ 130 w 132"/>
                <a:gd name="T19" fmla="*/ 106 h 106"/>
                <a:gd name="T20" fmla="*/ 132 w 132"/>
                <a:gd name="T21" fmla="*/ 105 h 106"/>
                <a:gd name="T22" fmla="*/ 132 w 132"/>
                <a:gd name="T23" fmla="*/ 103 h 106"/>
                <a:gd name="T24" fmla="*/ 79 w 132"/>
                <a:gd name="T2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06">
                  <a:moveTo>
                    <a:pt x="79" y="0"/>
                  </a:moveTo>
                  <a:cubicBezTo>
                    <a:pt x="77" y="0"/>
                    <a:pt x="76" y="0"/>
                    <a:pt x="74" y="1"/>
                  </a:cubicBezTo>
                  <a:cubicBezTo>
                    <a:pt x="127" y="102"/>
                    <a:pt x="127" y="102"/>
                    <a:pt x="127" y="102"/>
                  </a:cubicBezTo>
                  <a:cubicBezTo>
                    <a:pt x="6" y="102"/>
                    <a:pt x="6" y="102"/>
                    <a:pt x="6" y="102"/>
                  </a:cubicBezTo>
                  <a:cubicBezTo>
                    <a:pt x="57" y="3"/>
                    <a:pt x="57" y="3"/>
                    <a:pt x="57" y="3"/>
                  </a:cubicBezTo>
                  <a:cubicBezTo>
                    <a:pt x="55" y="4"/>
                    <a:pt x="54" y="4"/>
                    <a:pt x="52" y="4"/>
                  </a:cubicBezTo>
                  <a:cubicBezTo>
                    <a:pt x="1" y="103"/>
                    <a:pt x="1" y="103"/>
                    <a:pt x="1" y="103"/>
                  </a:cubicBezTo>
                  <a:cubicBezTo>
                    <a:pt x="0" y="104"/>
                    <a:pt x="0" y="105"/>
                    <a:pt x="1" y="105"/>
                  </a:cubicBezTo>
                  <a:cubicBezTo>
                    <a:pt x="1" y="106"/>
                    <a:pt x="2" y="106"/>
                    <a:pt x="2" y="106"/>
                  </a:cubicBezTo>
                  <a:cubicBezTo>
                    <a:pt x="130" y="106"/>
                    <a:pt x="130" y="106"/>
                    <a:pt x="130" y="106"/>
                  </a:cubicBezTo>
                  <a:cubicBezTo>
                    <a:pt x="131" y="106"/>
                    <a:pt x="132" y="106"/>
                    <a:pt x="132" y="105"/>
                  </a:cubicBezTo>
                  <a:cubicBezTo>
                    <a:pt x="132" y="105"/>
                    <a:pt x="132" y="104"/>
                    <a:pt x="132" y="103"/>
                  </a:cubicBezTo>
                  <a:cubicBezTo>
                    <a:pt x="79" y="0"/>
                    <a:pt x="79" y="0"/>
                    <a:pt x="79"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5" name="Freeform 186"/>
            <p:cNvSpPr>
              <a:spLocks noEditPoints="1"/>
            </p:cNvSpPr>
            <p:nvPr userDrawn="1"/>
          </p:nvSpPr>
          <p:spPr bwMode="auto">
            <a:xfrm>
              <a:off x="5365750" y="4556125"/>
              <a:ext cx="133350" cy="214313"/>
            </a:xfrm>
            <a:custGeom>
              <a:avLst/>
              <a:gdLst>
                <a:gd name="T0" fmla="*/ 16 w 54"/>
                <a:gd name="T1" fmla="*/ 3 h 87"/>
                <a:gd name="T2" fmla="*/ 17 w 54"/>
                <a:gd name="T3" fmla="*/ 2 h 87"/>
                <a:gd name="T4" fmla="*/ 16 w 54"/>
                <a:gd name="T5" fmla="*/ 3 h 87"/>
                <a:gd name="T6" fmla="*/ 17 w 54"/>
                <a:gd name="T7" fmla="*/ 0 h 87"/>
                <a:gd name="T8" fmla="*/ 17 w 54"/>
                <a:gd name="T9" fmla="*/ 0 h 87"/>
                <a:gd name="T10" fmla="*/ 16 w 54"/>
                <a:gd name="T11" fmla="*/ 1 h 87"/>
                <a:gd name="T12" fmla="*/ 16 w 54"/>
                <a:gd name="T13" fmla="*/ 1 h 87"/>
                <a:gd name="T14" fmla="*/ 0 w 54"/>
                <a:gd name="T15" fmla="*/ 31 h 87"/>
                <a:gd name="T16" fmla="*/ 0 w 54"/>
                <a:gd name="T17" fmla="*/ 33 h 87"/>
                <a:gd name="T18" fmla="*/ 28 w 54"/>
                <a:gd name="T19" fmla="*/ 86 h 87"/>
                <a:gd name="T20" fmla="*/ 30 w 54"/>
                <a:gd name="T21" fmla="*/ 87 h 87"/>
                <a:gd name="T22" fmla="*/ 54 w 54"/>
                <a:gd name="T23" fmla="*/ 87 h 87"/>
                <a:gd name="T24" fmla="*/ 54 w 54"/>
                <a:gd name="T25" fmla="*/ 83 h 87"/>
                <a:gd name="T26" fmla="*/ 31 w 54"/>
                <a:gd name="T27" fmla="*/ 83 h 87"/>
                <a:gd name="T28" fmla="*/ 4 w 54"/>
                <a:gd name="T29" fmla="*/ 32 h 87"/>
                <a:gd name="T30" fmla="*/ 17 w 54"/>
                <a:gd name="T31" fmla="*/ 7 h 87"/>
                <a:gd name="T32" fmla="*/ 53 w 54"/>
                <a:gd name="T33" fmla="*/ 75 h 87"/>
                <a:gd name="T34" fmla="*/ 51 w 54"/>
                <a:gd name="T35" fmla="*/ 63 h 87"/>
                <a:gd name="T36" fmla="*/ 19 w 54"/>
                <a:gd name="T37" fmla="*/ 1 h 87"/>
                <a:gd name="T38" fmla="*/ 17 w 54"/>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87">
                  <a:moveTo>
                    <a:pt x="16" y="3"/>
                  </a:moveTo>
                  <a:cubicBezTo>
                    <a:pt x="17" y="2"/>
                    <a:pt x="17" y="2"/>
                    <a:pt x="17" y="2"/>
                  </a:cubicBezTo>
                  <a:cubicBezTo>
                    <a:pt x="16" y="3"/>
                    <a:pt x="16" y="3"/>
                    <a:pt x="16" y="3"/>
                  </a:cubicBezTo>
                  <a:moveTo>
                    <a:pt x="17" y="0"/>
                  </a:moveTo>
                  <a:cubicBezTo>
                    <a:pt x="17" y="0"/>
                    <a:pt x="17" y="0"/>
                    <a:pt x="17" y="0"/>
                  </a:cubicBez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30" y="87"/>
                  </a:cubicBezTo>
                  <a:cubicBezTo>
                    <a:pt x="54" y="87"/>
                    <a:pt x="54" y="87"/>
                    <a:pt x="54" y="87"/>
                  </a:cubicBezTo>
                  <a:cubicBezTo>
                    <a:pt x="54" y="86"/>
                    <a:pt x="54" y="84"/>
                    <a:pt x="54" y="83"/>
                  </a:cubicBezTo>
                  <a:cubicBezTo>
                    <a:pt x="31" y="83"/>
                    <a:pt x="31" y="83"/>
                    <a:pt x="31" y="83"/>
                  </a:cubicBezTo>
                  <a:cubicBezTo>
                    <a:pt x="4" y="32"/>
                    <a:pt x="4" y="32"/>
                    <a:pt x="4" y="32"/>
                  </a:cubicBezTo>
                  <a:cubicBezTo>
                    <a:pt x="17" y="7"/>
                    <a:pt x="17" y="7"/>
                    <a:pt x="17" y="7"/>
                  </a:cubicBezTo>
                  <a:cubicBezTo>
                    <a:pt x="53" y="75"/>
                    <a:pt x="53" y="75"/>
                    <a:pt x="53" y="75"/>
                  </a:cubicBezTo>
                  <a:cubicBezTo>
                    <a:pt x="53" y="71"/>
                    <a:pt x="52" y="67"/>
                    <a:pt x="51" y="63"/>
                  </a:cubicBezTo>
                  <a:cubicBezTo>
                    <a:pt x="19" y="1"/>
                    <a:pt x="19" y="1"/>
                    <a:pt x="19" y="1"/>
                  </a:cubicBezTo>
                  <a:cubicBezTo>
                    <a:pt x="19" y="1"/>
                    <a:pt x="18" y="0"/>
                    <a:pt x="1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6" name="Rectangle 187"/>
            <p:cNvSpPr>
              <a:spLocks noChangeArrowheads="1"/>
            </p:cNvSpPr>
            <p:nvPr userDrawn="1"/>
          </p:nvSpPr>
          <p:spPr bwMode="auto">
            <a:xfrm>
              <a:off x="2438400" y="3081338"/>
              <a:ext cx="2708275" cy="9525"/>
            </a:xfrm>
            <a:prstGeom prst="rect">
              <a:avLst/>
            </a:prstGeom>
            <a:solidFill>
              <a:srgbClr val="3677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27" name="Rectangle 188"/>
            <p:cNvSpPr>
              <a:spLocks noChangeArrowheads="1"/>
            </p:cNvSpPr>
            <p:nvPr userDrawn="1"/>
          </p:nvSpPr>
          <p:spPr bwMode="auto">
            <a:xfrm>
              <a:off x="2438400" y="3081338"/>
              <a:ext cx="2708275" cy="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28" name="Freeform 189"/>
            <p:cNvSpPr/>
            <p:nvPr userDrawn="1"/>
          </p:nvSpPr>
          <p:spPr bwMode="auto">
            <a:xfrm>
              <a:off x="2438400" y="2847975"/>
              <a:ext cx="2708275" cy="141288"/>
            </a:xfrm>
            <a:custGeom>
              <a:avLst/>
              <a:gdLst>
                <a:gd name="T0" fmla="*/ 1092 w 1092"/>
                <a:gd name="T1" fmla="*/ 0 h 57"/>
                <a:gd name="T2" fmla="*/ 28 w 1092"/>
                <a:gd name="T3" fmla="*/ 0 h 57"/>
                <a:gd name="T4" fmla="*/ 0 w 1092"/>
                <a:gd name="T5" fmla="*/ 23 h 57"/>
                <a:gd name="T6" fmla="*/ 0 w 1092"/>
                <a:gd name="T7" fmla="*/ 34 h 57"/>
                <a:gd name="T8" fmla="*/ 28 w 1092"/>
                <a:gd name="T9" fmla="*/ 57 h 57"/>
                <a:gd name="T10" fmla="*/ 1092 w 1092"/>
                <a:gd name="T11" fmla="*/ 57 h 57"/>
                <a:gd name="T12" fmla="*/ 1092 w 109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092" h="57">
                  <a:moveTo>
                    <a:pt x="1092" y="0"/>
                  </a:moveTo>
                  <a:cubicBezTo>
                    <a:pt x="28" y="0"/>
                    <a:pt x="28" y="0"/>
                    <a:pt x="28" y="0"/>
                  </a:cubicBezTo>
                  <a:cubicBezTo>
                    <a:pt x="14" y="0"/>
                    <a:pt x="3" y="10"/>
                    <a:pt x="0" y="23"/>
                  </a:cubicBezTo>
                  <a:cubicBezTo>
                    <a:pt x="0" y="34"/>
                    <a:pt x="0" y="34"/>
                    <a:pt x="0" y="34"/>
                  </a:cubicBezTo>
                  <a:cubicBezTo>
                    <a:pt x="3" y="47"/>
                    <a:pt x="14" y="57"/>
                    <a:pt x="28" y="57"/>
                  </a:cubicBezTo>
                  <a:cubicBezTo>
                    <a:pt x="1092" y="57"/>
                    <a:pt x="1092" y="57"/>
                    <a:pt x="1092" y="57"/>
                  </a:cubicBezTo>
                  <a:cubicBezTo>
                    <a:pt x="1092" y="0"/>
                    <a:pt x="1092" y="0"/>
                    <a:pt x="1092" y="0"/>
                  </a:cubicBezTo>
                </a:path>
              </a:pathLst>
            </a:custGeom>
            <a:solidFill>
              <a:srgbClr val="97BB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9" name="Rectangle 190"/>
            <p:cNvSpPr>
              <a:spLocks noChangeArrowheads="1"/>
            </p:cNvSpPr>
            <p:nvPr userDrawn="1"/>
          </p:nvSpPr>
          <p:spPr bwMode="auto">
            <a:xfrm>
              <a:off x="5048250" y="3217863"/>
              <a:ext cx="98425" cy="9525"/>
            </a:xfrm>
            <a:prstGeom prst="rect">
              <a:avLst/>
            </a:prstGeom>
            <a:solidFill>
              <a:srgbClr val="ADCA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30" name="Rectangle 191"/>
            <p:cNvSpPr>
              <a:spLocks noChangeArrowheads="1"/>
            </p:cNvSpPr>
            <p:nvPr userDrawn="1"/>
          </p:nvSpPr>
          <p:spPr bwMode="auto">
            <a:xfrm>
              <a:off x="5048250" y="3217863"/>
              <a:ext cx="98425" cy="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31" name="Freeform 192"/>
            <p:cNvSpPr/>
            <p:nvPr userDrawn="1"/>
          </p:nvSpPr>
          <p:spPr bwMode="auto">
            <a:xfrm>
              <a:off x="2540000" y="4225925"/>
              <a:ext cx="157163" cy="133350"/>
            </a:xfrm>
            <a:custGeom>
              <a:avLst/>
              <a:gdLst>
                <a:gd name="T0" fmla="*/ 41 w 63"/>
                <a:gd name="T1" fmla="*/ 0 h 54"/>
                <a:gd name="T2" fmla="*/ 0 w 63"/>
                <a:gd name="T3" fmla="*/ 16 h 54"/>
                <a:gd name="T4" fmla="*/ 8 w 63"/>
                <a:gd name="T5" fmla="*/ 54 h 54"/>
                <a:gd name="T6" fmla="*/ 28 w 63"/>
                <a:gd name="T7" fmla="*/ 45 h 54"/>
                <a:gd name="T8" fmla="*/ 32 w 63"/>
                <a:gd name="T9" fmla="*/ 43 h 54"/>
                <a:gd name="T10" fmla="*/ 56 w 63"/>
                <a:gd name="T11" fmla="*/ 30 h 54"/>
                <a:gd name="T12" fmla="*/ 54 w 63"/>
                <a:gd name="T13" fmla="*/ 29 h 54"/>
                <a:gd name="T14" fmla="*/ 39 w 63"/>
                <a:gd name="T15" fmla="*/ 33 h 54"/>
                <a:gd name="T16" fmla="*/ 59 w 63"/>
                <a:gd name="T17" fmla="*/ 22 h 54"/>
                <a:gd name="T18" fmla="*/ 56 w 63"/>
                <a:gd name="T19" fmla="*/ 21 h 54"/>
                <a:gd name="T20" fmla="*/ 39 w 63"/>
                <a:gd name="T21" fmla="*/ 25 h 54"/>
                <a:gd name="T22" fmla="*/ 62 w 63"/>
                <a:gd name="T23" fmla="*/ 13 h 54"/>
                <a:gd name="T24" fmla="*/ 59 w 63"/>
                <a:gd name="T25" fmla="*/ 12 h 54"/>
                <a:gd name="T26" fmla="*/ 38 w 63"/>
                <a:gd name="T27" fmla="*/ 16 h 54"/>
                <a:gd name="T28" fmla="*/ 57 w 63"/>
                <a:gd name="T29" fmla="*/ 5 h 54"/>
                <a:gd name="T30" fmla="*/ 55 w 63"/>
                <a:gd name="T31" fmla="*/ 5 h 54"/>
                <a:gd name="T32" fmla="*/ 44 w 63"/>
                <a:gd name="T33" fmla="*/ 8 h 54"/>
                <a:gd name="T34" fmla="*/ 34 w 63"/>
                <a:gd name="T35" fmla="*/ 10 h 54"/>
                <a:gd name="T36" fmla="*/ 33 w 63"/>
                <a:gd name="T37" fmla="*/ 10 h 54"/>
                <a:gd name="T38" fmla="*/ 42 w 63"/>
                <a:gd name="T39" fmla="*/ 0 h 54"/>
                <a:gd name="T40" fmla="*/ 41 w 63"/>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54">
                  <a:moveTo>
                    <a:pt x="41" y="0"/>
                  </a:moveTo>
                  <a:cubicBezTo>
                    <a:pt x="37" y="0"/>
                    <a:pt x="15" y="10"/>
                    <a:pt x="0" y="16"/>
                  </a:cubicBezTo>
                  <a:cubicBezTo>
                    <a:pt x="8" y="54"/>
                    <a:pt x="8" y="54"/>
                    <a:pt x="8" y="54"/>
                  </a:cubicBezTo>
                  <a:cubicBezTo>
                    <a:pt x="15" y="51"/>
                    <a:pt x="22" y="48"/>
                    <a:pt x="28" y="45"/>
                  </a:cubicBezTo>
                  <a:cubicBezTo>
                    <a:pt x="30" y="45"/>
                    <a:pt x="31" y="44"/>
                    <a:pt x="32" y="43"/>
                  </a:cubicBezTo>
                  <a:cubicBezTo>
                    <a:pt x="46" y="37"/>
                    <a:pt x="57" y="31"/>
                    <a:pt x="56" y="30"/>
                  </a:cubicBezTo>
                  <a:cubicBezTo>
                    <a:pt x="56" y="29"/>
                    <a:pt x="55" y="29"/>
                    <a:pt x="54" y="29"/>
                  </a:cubicBezTo>
                  <a:cubicBezTo>
                    <a:pt x="50" y="29"/>
                    <a:pt x="43" y="31"/>
                    <a:pt x="39" y="33"/>
                  </a:cubicBezTo>
                  <a:cubicBezTo>
                    <a:pt x="48" y="29"/>
                    <a:pt x="60" y="24"/>
                    <a:pt x="59" y="22"/>
                  </a:cubicBezTo>
                  <a:cubicBezTo>
                    <a:pt x="59" y="21"/>
                    <a:pt x="58" y="21"/>
                    <a:pt x="56" y="21"/>
                  </a:cubicBezTo>
                  <a:cubicBezTo>
                    <a:pt x="52" y="21"/>
                    <a:pt x="44" y="23"/>
                    <a:pt x="39" y="25"/>
                  </a:cubicBezTo>
                  <a:cubicBezTo>
                    <a:pt x="45" y="21"/>
                    <a:pt x="63" y="15"/>
                    <a:pt x="62" y="13"/>
                  </a:cubicBezTo>
                  <a:cubicBezTo>
                    <a:pt x="62" y="12"/>
                    <a:pt x="61" y="12"/>
                    <a:pt x="59" y="12"/>
                  </a:cubicBezTo>
                  <a:cubicBezTo>
                    <a:pt x="53" y="12"/>
                    <a:pt x="38" y="16"/>
                    <a:pt x="38" y="16"/>
                  </a:cubicBezTo>
                  <a:cubicBezTo>
                    <a:pt x="38" y="16"/>
                    <a:pt x="59" y="9"/>
                    <a:pt x="57" y="5"/>
                  </a:cubicBezTo>
                  <a:cubicBezTo>
                    <a:pt x="57" y="5"/>
                    <a:pt x="56" y="5"/>
                    <a:pt x="55" y="5"/>
                  </a:cubicBezTo>
                  <a:cubicBezTo>
                    <a:pt x="53" y="5"/>
                    <a:pt x="49" y="6"/>
                    <a:pt x="44" y="8"/>
                  </a:cubicBezTo>
                  <a:cubicBezTo>
                    <a:pt x="40" y="9"/>
                    <a:pt x="36" y="10"/>
                    <a:pt x="34" y="10"/>
                  </a:cubicBezTo>
                  <a:cubicBezTo>
                    <a:pt x="34" y="10"/>
                    <a:pt x="34" y="10"/>
                    <a:pt x="33" y="10"/>
                  </a:cubicBezTo>
                  <a:cubicBezTo>
                    <a:pt x="31" y="9"/>
                    <a:pt x="44" y="2"/>
                    <a:pt x="42" y="0"/>
                  </a:cubicBezTo>
                  <a:cubicBezTo>
                    <a:pt x="42" y="0"/>
                    <a:pt x="42" y="0"/>
                    <a:pt x="41" y="0"/>
                  </a:cubicBezTo>
                </a:path>
              </a:pathLst>
            </a:custGeom>
            <a:solidFill>
              <a:srgbClr val="BAB0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2" name="Freeform 193"/>
            <p:cNvSpPr/>
            <p:nvPr userDrawn="1"/>
          </p:nvSpPr>
          <p:spPr bwMode="auto">
            <a:xfrm>
              <a:off x="2438400" y="4257675"/>
              <a:ext cx="149225" cy="287338"/>
            </a:xfrm>
            <a:custGeom>
              <a:avLst/>
              <a:gdLst>
                <a:gd name="T0" fmla="*/ 40 w 60"/>
                <a:gd name="T1" fmla="*/ 0 h 116"/>
                <a:gd name="T2" fmla="*/ 32 w 60"/>
                <a:gd name="T3" fmla="*/ 4 h 116"/>
                <a:gd name="T4" fmla="*/ 21 w 60"/>
                <a:gd name="T5" fmla="*/ 8 h 116"/>
                <a:gd name="T6" fmla="*/ 0 w 60"/>
                <a:gd name="T7" fmla="*/ 15 h 116"/>
                <a:gd name="T8" fmla="*/ 0 w 60"/>
                <a:gd name="T9" fmla="*/ 116 h 116"/>
                <a:gd name="T10" fmla="*/ 6 w 60"/>
                <a:gd name="T11" fmla="*/ 114 h 116"/>
                <a:gd name="T12" fmla="*/ 13 w 60"/>
                <a:gd name="T13" fmla="*/ 112 h 116"/>
                <a:gd name="T14" fmla="*/ 60 w 60"/>
                <a:gd name="T15" fmla="*/ 93 h 116"/>
                <a:gd name="T16" fmla="*/ 49 w 60"/>
                <a:gd name="T17" fmla="*/ 41 h 116"/>
                <a:gd name="T18" fmla="*/ 41 w 60"/>
                <a:gd name="T19" fmla="*/ 3 h 116"/>
                <a:gd name="T20" fmla="*/ 40 w 6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16">
                  <a:moveTo>
                    <a:pt x="40" y="0"/>
                  </a:moveTo>
                  <a:cubicBezTo>
                    <a:pt x="40" y="0"/>
                    <a:pt x="37" y="2"/>
                    <a:pt x="32" y="4"/>
                  </a:cubicBezTo>
                  <a:cubicBezTo>
                    <a:pt x="29" y="5"/>
                    <a:pt x="25" y="6"/>
                    <a:pt x="21" y="8"/>
                  </a:cubicBezTo>
                  <a:cubicBezTo>
                    <a:pt x="15" y="10"/>
                    <a:pt x="8" y="13"/>
                    <a:pt x="0" y="15"/>
                  </a:cubicBezTo>
                  <a:cubicBezTo>
                    <a:pt x="0" y="116"/>
                    <a:pt x="0" y="116"/>
                    <a:pt x="0" y="116"/>
                  </a:cubicBezTo>
                  <a:cubicBezTo>
                    <a:pt x="2" y="116"/>
                    <a:pt x="4" y="115"/>
                    <a:pt x="6" y="114"/>
                  </a:cubicBezTo>
                  <a:cubicBezTo>
                    <a:pt x="8" y="114"/>
                    <a:pt x="10" y="113"/>
                    <a:pt x="13" y="112"/>
                  </a:cubicBezTo>
                  <a:cubicBezTo>
                    <a:pt x="41" y="102"/>
                    <a:pt x="60" y="93"/>
                    <a:pt x="60" y="93"/>
                  </a:cubicBezTo>
                  <a:cubicBezTo>
                    <a:pt x="49" y="41"/>
                    <a:pt x="49" y="41"/>
                    <a:pt x="49" y="41"/>
                  </a:cubicBezTo>
                  <a:cubicBezTo>
                    <a:pt x="41" y="3"/>
                    <a:pt x="41" y="3"/>
                    <a:pt x="41" y="3"/>
                  </a:cubicBezTo>
                  <a:cubicBezTo>
                    <a:pt x="40" y="0"/>
                    <a:pt x="40" y="0"/>
                    <a:pt x="40" y="0"/>
                  </a:cubicBezTo>
                </a:path>
              </a:pathLst>
            </a:custGeom>
            <a:solidFill>
              <a:srgbClr val="B17A0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3" name="Freeform 195"/>
            <p:cNvSpPr/>
            <p:nvPr userDrawn="1"/>
          </p:nvSpPr>
          <p:spPr bwMode="auto">
            <a:xfrm>
              <a:off x="5087938" y="4305300"/>
              <a:ext cx="290513" cy="222250"/>
            </a:xfrm>
            <a:custGeom>
              <a:avLst/>
              <a:gdLst>
                <a:gd name="T0" fmla="*/ 24 w 117"/>
                <a:gd name="T1" fmla="*/ 0 h 90"/>
                <a:gd name="T2" fmla="*/ 0 w 117"/>
                <a:gd name="T3" fmla="*/ 4 h 90"/>
                <a:gd name="T4" fmla="*/ 0 w 117"/>
                <a:gd name="T5" fmla="*/ 5 h 90"/>
                <a:gd name="T6" fmla="*/ 5 w 117"/>
                <a:gd name="T7" fmla="*/ 43 h 90"/>
                <a:gd name="T8" fmla="*/ 11 w 117"/>
                <a:gd name="T9" fmla="*/ 90 h 90"/>
                <a:gd name="T10" fmla="*/ 47 w 117"/>
                <a:gd name="T11" fmla="*/ 86 h 90"/>
                <a:gd name="T12" fmla="*/ 52 w 117"/>
                <a:gd name="T13" fmla="*/ 85 h 90"/>
                <a:gd name="T14" fmla="*/ 69 w 117"/>
                <a:gd name="T15" fmla="*/ 83 h 90"/>
                <a:gd name="T16" fmla="*/ 74 w 117"/>
                <a:gd name="T17" fmla="*/ 82 h 90"/>
                <a:gd name="T18" fmla="*/ 117 w 117"/>
                <a:gd name="T19" fmla="*/ 73 h 90"/>
                <a:gd name="T20" fmla="*/ 24 w 117"/>
                <a:gd name="T21" fmla="*/ 18 h 90"/>
                <a:gd name="T22" fmla="*/ 24 w 117"/>
                <a:gd name="T2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90">
                  <a:moveTo>
                    <a:pt x="24" y="0"/>
                  </a:moveTo>
                  <a:cubicBezTo>
                    <a:pt x="16" y="2"/>
                    <a:pt x="8" y="3"/>
                    <a:pt x="0" y="4"/>
                  </a:cubicBezTo>
                  <a:cubicBezTo>
                    <a:pt x="0" y="5"/>
                    <a:pt x="0" y="5"/>
                    <a:pt x="0" y="5"/>
                  </a:cubicBezTo>
                  <a:cubicBezTo>
                    <a:pt x="5" y="43"/>
                    <a:pt x="5" y="43"/>
                    <a:pt x="5" y="43"/>
                  </a:cubicBezTo>
                  <a:cubicBezTo>
                    <a:pt x="11" y="90"/>
                    <a:pt x="11" y="90"/>
                    <a:pt x="11" y="90"/>
                  </a:cubicBezTo>
                  <a:cubicBezTo>
                    <a:pt x="11" y="90"/>
                    <a:pt x="25" y="89"/>
                    <a:pt x="47" y="86"/>
                  </a:cubicBezTo>
                  <a:cubicBezTo>
                    <a:pt x="49" y="86"/>
                    <a:pt x="50" y="86"/>
                    <a:pt x="52" y="85"/>
                  </a:cubicBezTo>
                  <a:cubicBezTo>
                    <a:pt x="57" y="85"/>
                    <a:pt x="63" y="84"/>
                    <a:pt x="69" y="83"/>
                  </a:cubicBezTo>
                  <a:cubicBezTo>
                    <a:pt x="71" y="82"/>
                    <a:pt x="72" y="82"/>
                    <a:pt x="74" y="82"/>
                  </a:cubicBezTo>
                  <a:cubicBezTo>
                    <a:pt x="87" y="80"/>
                    <a:pt x="102" y="77"/>
                    <a:pt x="117" y="73"/>
                  </a:cubicBezTo>
                  <a:cubicBezTo>
                    <a:pt x="93" y="46"/>
                    <a:pt x="61" y="27"/>
                    <a:pt x="24" y="18"/>
                  </a:cubicBezTo>
                  <a:cubicBezTo>
                    <a:pt x="24" y="0"/>
                    <a:pt x="24" y="0"/>
                    <a:pt x="24" y="0"/>
                  </a:cubicBezTo>
                </a:path>
              </a:pathLst>
            </a:custGeom>
            <a:solidFill>
              <a:srgbClr val="BE46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4" name="Rectangle 196"/>
            <p:cNvSpPr>
              <a:spLocks noChangeArrowheads="1"/>
            </p:cNvSpPr>
            <p:nvPr userDrawn="1"/>
          </p:nvSpPr>
          <p:spPr bwMode="auto">
            <a:xfrm>
              <a:off x="2438400" y="2525713"/>
              <a:ext cx="2708275" cy="24082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35" name="Freeform 197"/>
            <p:cNvSpPr/>
            <p:nvPr userDrawn="1"/>
          </p:nvSpPr>
          <p:spPr bwMode="auto">
            <a:xfrm>
              <a:off x="2433638" y="2520950"/>
              <a:ext cx="2717800" cy="2419350"/>
            </a:xfrm>
            <a:custGeom>
              <a:avLst/>
              <a:gdLst>
                <a:gd name="T0" fmla="*/ 2 w 1096"/>
                <a:gd name="T1" fmla="*/ 974 h 976"/>
                <a:gd name="T2" fmla="*/ 4 w 1096"/>
                <a:gd name="T3" fmla="*/ 974 h 976"/>
                <a:gd name="T4" fmla="*/ 4 w 1096"/>
                <a:gd name="T5" fmla="*/ 4 h 976"/>
                <a:gd name="T6" fmla="*/ 1092 w 1096"/>
                <a:gd name="T7" fmla="*/ 4 h 976"/>
                <a:gd name="T8" fmla="*/ 1092 w 1096"/>
                <a:gd name="T9" fmla="*/ 972 h 976"/>
                <a:gd name="T10" fmla="*/ 2 w 1096"/>
                <a:gd name="T11" fmla="*/ 972 h 976"/>
                <a:gd name="T12" fmla="*/ 2 w 1096"/>
                <a:gd name="T13" fmla="*/ 974 h 976"/>
                <a:gd name="T14" fmla="*/ 4 w 1096"/>
                <a:gd name="T15" fmla="*/ 974 h 976"/>
                <a:gd name="T16" fmla="*/ 2 w 1096"/>
                <a:gd name="T17" fmla="*/ 974 h 976"/>
                <a:gd name="T18" fmla="*/ 2 w 1096"/>
                <a:gd name="T19" fmla="*/ 976 h 976"/>
                <a:gd name="T20" fmla="*/ 1094 w 1096"/>
                <a:gd name="T21" fmla="*/ 976 h 976"/>
                <a:gd name="T22" fmla="*/ 1096 w 1096"/>
                <a:gd name="T23" fmla="*/ 976 h 976"/>
                <a:gd name="T24" fmla="*/ 1096 w 1096"/>
                <a:gd name="T25" fmla="*/ 974 h 976"/>
                <a:gd name="T26" fmla="*/ 1096 w 1096"/>
                <a:gd name="T27" fmla="*/ 2 h 976"/>
                <a:gd name="T28" fmla="*/ 1096 w 1096"/>
                <a:gd name="T29" fmla="*/ 1 h 976"/>
                <a:gd name="T30" fmla="*/ 1094 w 1096"/>
                <a:gd name="T31" fmla="*/ 0 h 976"/>
                <a:gd name="T32" fmla="*/ 2 w 1096"/>
                <a:gd name="T33" fmla="*/ 0 h 976"/>
                <a:gd name="T34" fmla="*/ 0 w 1096"/>
                <a:gd name="T35" fmla="*/ 1 h 976"/>
                <a:gd name="T36" fmla="*/ 0 w 1096"/>
                <a:gd name="T37" fmla="*/ 2 h 976"/>
                <a:gd name="T38" fmla="*/ 0 w 1096"/>
                <a:gd name="T39" fmla="*/ 974 h 976"/>
                <a:gd name="T40" fmla="*/ 0 w 1096"/>
                <a:gd name="T41" fmla="*/ 976 h 976"/>
                <a:gd name="T42" fmla="*/ 2 w 1096"/>
                <a:gd name="T43" fmla="*/ 976 h 976"/>
                <a:gd name="T44" fmla="*/ 2 w 1096"/>
                <a:gd name="T45" fmla="*/ 974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6" h="976">
                  <a:moveTo>
                    <a:pt x="2" y="974"/>
                  </a:moveTo>
                  <a:cubicBezTo>
                    <a:pt x="4" y="974"/>
                    <a:pt x="4" y="974"/>
                    <a:pt x="4" y="974"/>
                  </a:cubicBezTo>
                  <a:cubicBezTo>
                    <a:pt x="4" y="4"/>
                    <a:pt x="4" y="4"/>
                    <a:pt x="4" y="4"/>
                  </a:cubicBezTo>
                  <a:cubicBezTo>
                    <a:pt x="1092" y="4"/>
                    <a:pt x="1092" y="4"/>
                    <a:pt x="1092" y="4"/>
                  </a:cubicBezTo>
                  <a:cubicBezTo>
                    <a:pt x="1092" y="972"/>
                    <a:pt x="1092" y="972"/>
                    <a:pt x="1092" y="972"/>
                  </a:cubicBezTo>
                  <a:cubicBezTo>
                    <a:pt x="2" y="972"/>
                    <a:pt x="2" y="972"/>
                    <a:pt x="2" y="972"/>
                  </a:cubicBezTo>
                  <a:cubicBezTo>
                    <a:pt x="2" y="974"/>
                    <a:pt x="2" y="974"/>
                    <a:pt x="2" y="974"/>
                  </a:cubicBezTo>
                  <a:cubicBezTo>
                    <a:pt x="4" y="974"/>
                    <a:pt x="4" y="974"/>
                    <a:pt x="4" y="974"/>
                  </a:cubicBezTo>
                  <a:cubicBezTo>
                    <a:pt x="2" y="974"/>
                    <a:pt x="2" y="974"/>
                    <a:pt x="2" y="974"/>
                  </a:cubicBezTo>
                  <a:cubicBezTo>
                    <a:pt x="2" y="976"/>
                    <a:pt x="2" y="976"/>
                    <a:pt x="2" y="976"/>
                  </a:cubicBezTo>
                  <a:cubicBezTo>
                    <a:pt x="1094" y="976"/>
                    <a:pt x="1094" y="976"/>
                    <a:pt x="1094" y="976"/>
                  </a:cubicBezTo>
                  <a:cubicBezTo>
                    <a:pt x="1095" y="976"/>
                    <a:pt x="1095" y="976"/>
                    <a:pt x="1096" y="976"/>
                  </a:cubicBezTo>
                  <a:cubicBezTo>
                    <a:pt x="1096" y="975"/>
                    <a:pt x="1096" y="975"/>
                    <a:pt x="1096" y="974"/>
                  </a:cubicBezTo>
                  <a:cubicBezTo>
                    <a:pt x="1096" y="2"/>
                    <a:pt x="1096" y="2"/>
                    <a:pt x="1096" y="2"/>
                  </a:cubicBezTo>
                  <a:cubicBezTo>
                    <a:pt x="1096" y="2"/>
                    <a:pt x="1096" y="1"/>
                    <a:pt x="1096" y="1"/>
                  </a:cubicBezTo>
                  <a:cubicBezTo>
                    <a:pt x="1095" y="1"/>
                    <a:pt x="1095" y="0"/>
                    <a:pt x="1094" y="0"/>
                  </a:cubicBezTo>
                  <a:cubicBezTo>
                    <a:pt x="2" y="0"/>
                    <a:pt x="2" y="0"/>
                    <a:pt x="2" y="0"/>
                  </a:cubicBezTo>
                  <a:cubicBezTo>
                    <a:pt x="1" y="0"/>
                    <a:pt x="1" y="1"/>
                    <a:pt x="0" y="1"/>
                  </a:cubicBezTo>
                  <a:cubicBezTo>
                    <a:pt x="0" y="1"/>
                    <a:pt x="0" y="2"/>
                    <a:pt x="0" y="2"/>
                  </a:cubicBezTo>
                  <a:cubicBezTo>
                    <a:pt x="0" y="974"/>
                    <a:pt x="0" y="974"/>
                    <a:pt x="0" y="974"/>
                  </a:cubicBezTo>
                  <a:cubicBezTo>
                    <a:pt x="0" y="975"/>
                    <a:pt x="0" y="975"/>
                    <a:pt x="0" y="976"/>
                  </a:cubicBezTo>
                  <a:cubicBezTo>
                    <a:pt x="1" y="976"/>
                    <a:pt x="1" y="976"/>
                    <a:pt x="2" y="976"/>
                  </a:cubicBezTo>
                  <a:lnTo>
                    <a:pt x="2" y="974"/>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6" name="Freeform 198"/>
            <p:cNvSpPr/>
            <p:nvPr userDrawn="1"/>
          </p:nvSpPr>
          <p:spPr bwMode="auto">
            <a:xfrm>
              <a:off x="2562225" y="2649538"/>
              <a:ext cx="2460625" cy="2160588"/>
            </a:xfrm>
            <a:custGeom>
              <a:avLst/>
              <a:gdLst>
                <a:gd name="T0" fmla="*/ 2 w 992"/>
                <a:gd name="T1" fmla="*/ 872 h 872"/>
                <a:gd name="T2" fmla="*/ 0 w 992"/>
                <a:gd name="T3" fmla="*/ 870 h 872"/>
                <a:gd name="T4" fmla="*/ 0 w 992"/>
                <a:gd name="T5" fmla="*/ 2 h 872"/>
                <a:gd name="T6" fmla="*/ 2 w 992"/>
                <a:gd name="T7" fmla="*/ 0 h 872"/>
                <a:gd name="T8" fmla="*/ 990 w 992"/>
                <a:gd name="T9" fmla="*/ 0 h 872"/>
                <a:gd name="T10" fmla="*/ 992 w 992"/>
                <a:gd name="T11" fmla="*/ 2 h 872"/>
                <a:gd name="T12" fmla="*/ 992 w 992"/>
                <a:gd name="T13" fmla="*/ 870 h 872"/>
                <a:gd name="T14" fmla="*/ 990 w 992"/>
                <a:gd name="T15" fmla="*/ 872 h 872"/>
                <a:gd name="T16" fmla="*/ 2 w 992"/>
                <a:gd name="T17" fmla="*/ 87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2" h="872">
                  <a:moveTo>
                    <a:pt x="2" y="872"/>
                  </a:moveTo>
                  <a:cubicBezTo>
                    <a:pt x="1" y="872"/>
                    <a:pt x="0" y="871"/>
                    <a:pt x="0" y="870"/>
                  </a:cubicBezTo>
                  <a:cubicBezTo>
                    <a:pt x="0" y="2"/>
                    <a:pt x="0" y="2"/>
                    <a:pt x="0" y="2"/>
                  </a:cubicBezTo>
                  <a:cubicBezTo>
                    <a:pt x="0" y="1"/>
                    <a:pt x="1" y="0"/>
                    <a:pt x="2" y="0"/>
                  </a:cubicBezTo>
                  <a:cubicBezTo>
                    <a:pt x="990" y="0"/>
                    <a:pt x="990" y="0"/>
                    <a:pt x="990" y="0"/>
                  </a:cubicBezTo>
                  <a:cubicBezTo>
                    <a:pt x="991" y="0"/>
                    <a:pt x="992" y="1"/>
                    <a:pt x="992" y="2"/>
                  </a:cubicBezTo>
                  <a:cubicBezTo>
                    <a:pt x="992" y="870"/>
                    <a:pt x="992" y="870"/>
                    <a:pt x="992" y="870"/>
                  </a:cubicBezTo>
                  <a:cubicBezTo>
                    <a:pt x="992" y="871"/>
                    <a:pt x="991" y="872"/>
                    <a:pt x="990" y="872"/>
                  </a:cubicBezTo>
                  <a:lnTo>
                    <a:pt x="2" y="872"/>
                  </a:lnTo>
                  <a:close/>
                </a:path>
              </a:pathLst>
            </a:custGeom>
            <a:solidFill>
              <a:srgbClr val="97D3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7" name="Freeform 199"/>
            <p:cNvSpPr>
              <a:spLocks noEditPoints="1"/>
            </p:cNvSpPr>
            <p:nvPr userDrawn="1"/>
          </p:nvSpPr>
          <p:spPr bwMode="auto">
            <a:xfrm>
              <a:off x="2557463" y="2644775"/>
              <a:ext cx="2470150" cy="2170113"/>
            </a:xfrm>
            <a:custGeom>
              <a:avLst/>
              <a:gdLst>
                <a:gd name="T0" fmla="*/ 992 w 996"/>
                <a:gd name="T1" fmla="*/ 4 h 876"/>
                <a:gd name="T2" fmla="*/ 992 w 996"/>
                <a:gd name="T3" fmla="*/ 872 h 876"/>
                <a:gd name="T4" fmla="*/ 4 w 996"/>
                <a:gd name="T5" fmla="*/ 872 h 876"/>
                <a:gd name="T6" fmla="*/ 4 w 996"/>
                <a:gd name="T7" fmla="*/ 4 h 876"/>
                <a:gd name="T8" fmla="*/ 992 w 996"/>
                <a:gd name="T9" fmla="*/ 4 h 876"/>
                <a:gd name="T10" fmla="*/ 992 w 996"/>
                <a:gd name="T11" fmla="*/ 0 h 876"/>
                <a:gd name="T12" fmla="*/ 4 w 996"/>
                <a:gd name="T13" fmla="*/ 0 h 876"/>
                <a:gd name="T14" fmla="*/ 0 w 996"/>
                <a:gd name="T15" fmla="*/ 4 h 876"/>
                <a:gd name="T16" fmla="*/ 0 w 996"/>
                <a:gd name="T17" fmla="*/ 872 h 876"/>
                <a:gd name="T18" fmla="*/ 4 w 996"/>
                <a:gd name="T19" fmla="*/ 876 h 876"/>
                <a:gd name="T20" fmla="*/ 992 w 996"/>
                <a:gd name="T21" fmla="*/ 876 h 876"/>
                <a:gd name="T22" fmla="*/ 996 w 996"/>
                <a:gd name="T23" fmla="*/ 872 h 876"/>
                <a:gd name="T24" fmla="*/ 996 w 996"/>
                <a:gd name="T25" fmla="*/ 4 h 876"/>
                <a:gd name="T26" fmla="*/ 992 w 996"/>
                <a:gd name="T2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6" h="876">
                  <a:moveTo>
                    <a:pt x="992" y="4"/>
                  </a:moveTo>
                  <a:cubicBezTo>
                    <a:pt x="992" y="872"/>
                    <a:pt x="992" y="872"/>
                    <a:pt x="992" y="872"/>
                  </a:cubicBezTo>
                  <a:cubicBezTo>
                    <a:pt x="4" y="872"/>
                    <a:pt x="4" y="872"/>
                    <a:pt x="4" y="872"/>
                  </a:cubicBezTo>
                  <a:cubicBezTo>
                    <a:pt x="4" y="4"/>
                    <a:pt x="4" y="4"/>
                    <a:pt x="4" y="4"/>
                  </a:cubicBezTo>
                  <a:cubicBezTo>
                    <a:pt x="992" y="4"/>
                    <a:pt x="992" y="4"/>
                    <a:pt x="992" y="4"/>
                  </a:cubicBezTo>
                  <a:moveTo>
                    <a:pt x="992" y="0"/>
                  </a:moveTo>
                  <a:cubicBezTo>
                    <a:pt x="4" y="0"/>
                    <a:pt x="4" y="0"/>
                    <a:pt x="4" y="0"/>
                  </a:cubicBezTo>
                  <a:cubicBezTo>
                    <a:pt x="2" y="0"/>
                    <a:pt x="0" y="2"/>
                    <a:pt x="0" y="4"/>
                  </a:cubicBezTo>
                  <a:cubicBezTo>
                    <a:pt x="0" y="872"/>
                    <a:pt x="0" y="872"/>
                    <a:pt x="0" y="872"/>
                  </a:cubicBezTo>
                  <a:cubicBezTo>
                    <a:pt x="0" y="875"/>
                    <a:pt x="2" y="876"/>
                    <a:pt x="4" y="876"/>
                  </a:cubicBezTo>
                  <a:cubicBezTo>
                    <a:pt x="992" y="876"/>
                    <a:pt x="992" y="876"/>
                    <a:pt x="992" y="876"/>
                  </a:cubicBezTo>
                  <a:cubicBezTo>
                    <a:pt x="994" y="876"/>
                    <a:pt x="996" y="875"/>
                    <a:pt x="996" y="872"/>
                  </a:cubicBezTo>
                  <a:cubicBezTo>
                    <a:pt x="996" y="4"/>
                    <a:pt x="996" y="4"/>
                    <a:pt x="996" y="4"/>
                  </a:cubicBezTo>
                  <a:cubicBezTo>
                    <a:pt x="996" y="2"/>
                    <a:pt x="994" y="0"/>
                    <a:pt x="992" y="0"/>
                  </a:cubicBez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8" name="Rectangle 207"/>
            <p:cNvSpPr>
              <a:spLocks noChangeArrowheads="1"/>
            </p:cNvSpPr>
            <p:nvPr userDrawn="1"/>
          </p:nvSpPr>
          <p:spPr bwMode="auto">
            <a:xfrm>
              <a:off x="712788" y="6094413"/>
              <a:ext cx="6161088" cy="9525"/>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39" name="Freeform 208"/>
            <p:cNvSpPr/>
            <p:nvPr userDrawn="1"/>
          </p:nvSpPr>
          <p:spPr bwMode="auto">
            <a:xfrm>
              <a:off x="712788" y="6094413"/>
              <a:ext cx="6161088" cy="9525"/>
            </a:xfrm>
            <a:custGeom>
              <a:avLst/>
              <a:gdLst>
                <a:gd name="T0" fmla="*/ 0 w 3881"/>
                <a:gd name="T1" fmla="*/ 6 h 6"/>
                <a:gd name="T2" fmla="*/ 3881 w 3881"/>
                <a:gd name="T3" fmla="*/ 6 h 6"/>
                <a:gd name="T4" fmla="*/ 3881 w 3881"/>
                <a:gd name="T5" fmla="*/ 0 h 6"/>
                <a:gd name="T6" fmla="*/ 0 w 3881"/>
                <a:gd name="T7" fmla="*/ 0 h 6"/>
              </a:gdLst>
              <a:ahLst/>
              <a:cxnLst>
                <a:cxn ang="0">
                  <a:pos x="T0" y="T1"/>
                </a:cxn>
                <a:cxn ang="0">
                  <a:pos x="T2" y="T3"/>
                </a:cxn>
                <a:cxn ang="0">
                  <a:pos x="T4" y="T5"/>
                </a:cxn>
                <a:cxn ang="0">
                  <a:pos x="T6" y="T7"/>
                </a:cxn>
              </a:cxnLst>
              <a:rect l="0" t="0" r="r" b="b"/>
              <a:pathLst>
                <a:path w="3881" h="6">
                  <a:moveTo>
                    <a:pt x="0" y="6"/>
                  </a:moveTo>
                  <a:lnTo>
                    <a:pt x="3881" y="6"/>
                  </a:lnTo>
                  <a:lnTo>
                    <a:pt x="38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0" name="Freeform 209"/>
            <p:cNvSpPr/>
            <p:nvPr userDrawn="1"/>
          </p:nvSpPr>
          <p:spPr bwMode="auto">
            <a:xfrm>
              <a:off x="5741988" y="3703638"/>
              <a:ext cx="215900" cy="266700"/>
            </a:xfrm>
            <a:custGeom>
              <a:avLst/>
              <a:gdLst>
                <a:gd name="T0" fmla="*/ 54 w 87"/>
                <a:gd name="T1" fmla="*/ 0 h 108"/>
                <a:gd name="T2" fmla="*/ 26 w 87"/>
                <a:gd name="T3" fmla="*/ 16 h 108"/>
                <a:gd name="T4" fmla="*/ 19 w 87"/>
                <a:gd name="T5" fmla="*/ 35 h 108"/>
                <a:gd name="T6" fmla="*/ 15 w 87"/>
                <a:gd name="T7" fmla="*/ 55 h 108"/>
                <a:gd name="T8" fmla="*/ 0 w 87"/>
                <a:gd name="T9" fmla="*/ 94 h 108"/>
                <a:gd name="T10" fmla="*/ 87 w 87"/>
                <a:gd name="T11" fmla="*/ 97 h 108"/>
              </a:gdLst>
              <a:ahLst/>
              <a:cxnLst>
                <a:cxn ang="0">
                  <a:pos x="T0" y="T1"/>
                </a:cxn>
                <a:cxn ang="0">
                  <a:pos x="T2" y="T3"/>
                </a:cxn>
                <a:cxn ang="0">
                  <a:pos x="T4" y="T5"/>
                </a:cxn>
                <a:cxn ang="0">
                  <a:pos x="T6" y="T7"/>
                </a:cxn>
                <a:cxn ang="0">
                  <a:pos x="T8" y="T9"/>
                </a:cxn>
                <a:cxn ang="0">
                  <a:pos x="T10" y="T11"/>
                </a:cxn>
              </a:cxnLst>
              <a:rect l="0" t="0" r="r" b="b"/>
              <a:pathLst>
                <a:path w="87" h="108">
                  <a:moveTo>
                    <a:pt x="54" y="0"/>
                  </a:moveTo>
                  <a:cubicBezTo>
                    <a:pt x="42" y="2"/>
                    <a:pt x="32" y="6"/>
                    <a:pt x="26" y="16"/>
                  </a:cubicBezTo>
                  <a:cubicBezTo>
                    <a:pt x="22" y="22"/>
                    <a:pt x="20" y="29"/>
                    <a:pt x="19" y="35"/>
                  </a:cubicBezTo>
                  <a:cubicBezTo>
                    <a:pt x="17" y="42"/>
                    <a:pt x="17" y="49"/>
                    <a:pt x="15" y="55"/>
                  </a:cubicBezTo>
                  <a:cubicBezTo>
                    <a:pt x="11" y="69"/>
                    <a:pt x="6" y="81"/>
                    <a:pt x="0" y="94"/>
                  </a:cubicBezTo>
                  <a:cubicBezTo>
                    <a:pt x="22" y="108"/>
                    <a:pt x="61" y="103"/>
                    <a:pt x="87" y="97"/>
                  </a:cubicBezTo>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1" name="Freeform 210"/>
            <p:cNvSpPr/>
            <p:nvPr userDrawn="1"/>
          </p:nvSpPr>
          <p:spPr bwMode="auto">
            <a:xfrm>
              <a:off x="5891213" y="3700463"/>
              <a:ext cx="225425" cy="260350"/>
            </a:xfrm>
            <a:custGeom>
              <a:avLst/>
              <a:gdLst>
                <a:gd name="T0" fmla="*/ 80 w 91"/>
                <a:gd name="T1" fmla="*/ 71 h 105"/>
                <a:gd name="T2" fmla="*/ 62 w 91"/>
                <a:gd name="T3" fmla="*/ 29 h 105"/>
                <a:gd name="T4" fmla="*/ 50 w 91"/>
                <a:gd name="T5" fmla="*/ 7 h 105"/>
                <a:gd name="T6" fmla="*/ 37 w 91"/>
                <a:gd name="T7" fmla="*/ 1 h 105"/>
                <a:gd name="T8" fmla="*/ 0 w 91"/>
                <a:gd name="T9" fmla="*/ 102 h 105"/>
                <a:gd name="T10" fmla="*/ 91 w 91"/>
                <a:gd name="T11" fmla="*/ 87 h 105"/>
                <a:gd name="T12" fmla="*/ 80 w 91"/>
                <a:gd name="T13" fmla="*/ 71 h 105"/>
              </a:gdLst>
              <a:ahLst/>
              <a:cxnLst>
                <a:cxn ang="0">
                  <a:pos x="T0" y="T1"/>
                </a:cxn>
                <a:cxn ang="0">
                  <a:pos x="T2" y="T3"/>
                </a:cxn>
                <a:cxn ang="0">
                  <a:pos x="T4" y="T5"/>
                </a:cxn>
                <a:cxn ang="0">
                  <a:pos x="T6" y="T7"/>
                </a:cxn>
                <a:cxn ang="0">
                  <a:pos x="T8" y="T9"/>
                </a:cxn>
                <a:cxn ang="0">
                  <a:pos x="T10" y="T11"/>
                </a:cxn>
                <a:cxn ang="0">
                  <a:pos x="T12" y="T13"/>
                </a:cxn>
              </a:cxnLst>
              <a:rect l="0" t="0" r="r" b="b"/>
              <a:pathLst>
                <a:path w="91" h="105">
                  <a:moveTo>
                    <a:pt x="80" y="71"/>
                  </a:moveTo>
                  <a:cubicBezTo>
                    <a:pt x="73" y="57"/>
                    <a:pt x="67" y="43"/>
                    <a:pt x="62" y="29"/>
                  </a:cubicBezTo>
                  <a:cubicBezTo>
                    <a:pt x="59" y="21"/>
                    <a:pt x="55" y="13"/>
                    <a:pt x="50" y="7"/>
                  </a:cubicBezTo>
                  <a:cubicBezTo>
                    <a:pt x="46" y="3"/>
                    <a:pt x="42" y="0"/>
                    <a:pt x="37" y="1"/>
                  </a:cubicBezTo>
                  <a:cubicBezTo>
                    <a:pt x="0" y="102"/>
                    <a:pt x="0" y="102"/>
                    <a:pt x="0" y="102"/>
                  </a:cubicBezTo>
                  <a:cubicBezTo>
                    <a:pt x="16" y="105"/>
                    <a:pt x="79" y="99"/>
                    <a:pt x="91" y="87"/>
                  </a:cubicBezTo>
                  <a:cubicBezTo>
                    <a:pt x="86" y="83"/>
                    <a:pt x="82" y="77"/>
                    <a:pt x="80" y="71"/>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2" name="Freeform 211"/>
            <p:cNvSpPr/>
            <p:nvPr userDrawn="1"/>
          </p:nvSpPr>
          <p:spPr bwMode="auto">
            <a:xfrm>
              <a:off x="5516563" y="5281613"/>
              <a:ext cx="428625" cy="887413"/>
            </a:xfrm>
            <a:custGeom>
              <a:avLst/>
              <a:gdLst>
                <a:gd name="T0" fmla="*/ 59 w 173"/>
                <a:gd name="T1" fmla="*/ 27 h 358"/>
                <a:gd name="T2" fmla="*/ 42 w 173"/>
                <a:gd name="T3" fmla="*/ 325 h 358"/>
                <a:gd name="T4" fmla="*/ 0 w 173"/>
                <a:gd name="T5" fmla="*/ 352 h 358"/>
                <a:gd name="T6" fmla="*/ 119 w 173"/>
                <a:gd name="T7" fmla="*/ 355 h 358"/>
                <a:gd name="T8" fmla="*/ 114 w 173"/>
                <a:gd name="T9" fmla="*/ 325 h 358"/>
                <a:gd name="T10" fmla="*/ 160 w 173"/>
                <a:gd name="T11" fmla="*/ 145 h 358"/>
                <a:gd name="T12" fmla="*/ 173 w 173"/>
                <a:gd name="T13" fmla="*/ 32 h 358"/>
                <a:gd name="T14" fmla="*/ 59 w 173"/>
                <a:gd name="T15" fmla="*/ 27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58">
                  <a:moveTo>
                    <a:pt x="59" y="27"/>
                  </a:moveTo>
                  <a:cubicBezTo>
                    <a:pt x="40" y="81"/>
                    <a:pt x="42" y="325"/>
                    <a:pt x="42" y="325"/>
                  </a:cubicBezTo>
                  <a:cubicBezTo>
                    <a:pt x="0" y="352"/>
                    <a:pt x="0" y="352"/>
                    <a:pt x="0" y="352"/>
                  </a:cubicBezTo>
                  <a:cubicBezTo>
                    <a:pt x="0" y="352"/>
                    <a:pt x="115" y="358"/>
                    <a:pt x="119" y="355"/>
                  </a:cubicBezTo>
                  <a:cubicBezTo>
                    <a:pt x="122" y="351"/>
                    <a:pt x="114" y="325"/>
                    <a:pt x="114" y="325"/>
                  </a:cubicBezTo>
                  <a:cubicBezTo>
                    <a:pt x="114" y="325"/>
                    <a:pt x="153" y="187"/>
                    <a:pt x="160" y="145"/>
                  </a:cubicBezTo>
                  <a:cubicBezTo>
                    <a:pt x="165" y="116"/>
                    <a:pt x="173" y="32"/>
                    <a:pt x="173" y="32"/>
                  </a:cubicBezTo>
                  <a:cubicBezTo>
                    <a:pt x="173" y="32"/>
                    <a:pt x="69" y="0"/>
                    <a:pt x="59" y="27"/>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3" name="Freeform 212"/>
            <p:cNvSpPr/>
            <p:nvPr userDrawn="1"/>
          </p:nvSpPr>
          <p:spPr bwMode="auto">
            <a:xfrm>
              <a:off x="5468938" y="6094413"/>
              <a:ext cx="357188" cy="114300"/>
            </a:xfrm>
            <a:custGeom>
              <a:avLst/>
              <a:gdLst>
                <a:gd name="T0" fmla="*/ 123 w 144"/>
                <a:gd name="T1" fmla="*/ 26 h 46"/>
                <a:gd name="T2" fmla="*/ 141 w 144"/>
                <a:gd name="T3" fmla="*/ 9 h 46"/>
                <a:gd name="T4" fmla="*/ 138 w 144"/>
                <a:gd name="T5" fmla="*/ 0 h 46"/>
                <a:gd name="T6" fmla="*/ 112 w 144"/>
                <a:gd name="T7" fmla="*/ 26 h 46"/>
                <a:gd name="T8" fmla="*/ 99 w 144"/>
                <a:gd name="T9" fmla="*/ 26 h 46"/>
                <a:gd name="T10" fmla="*/ 54 w 144"/>
                <a:gd name="T11" fmla="*/ 4 h 46"/>
                <a:gd name="T12" fmla="*/ 6 w 144"/>
                <a:gd name="T13" fmla="*/ 34 h 46"/>
                <a:gd name="T14" fmla="*/ 9 w 144"/>
                <a:gd name="T15" fmla="*/ 46 h 46"/>
                <a:gd name="T16" fmla="*/ 74 w 144"/>
                <a:gd name="T17" fmla="*/ 46 h 46"/>
                <a:gd name="T18" fmla="*/ 95 w 144"/>
                <a:gd name="T19" fmla="*/ 32 h 46"/>
                <a:gd name="T20" fmla="*/ 101 w 144"/>
                <a:gd name="T21" fmla="*/ 32 h 46"/>
                <a:gd name="T22" fmla="*/ 101 w 144"/>
                <a:gd name="T23" fmla="*/ 46 h 46"/>
                <a:gd name="T24" fmla="*/ 144 w 144"/>
                <a:gd name="T25" fmla="*/ 46 h 46"/>
                <a:gd name="T26" fmla="*/ 144 w 144"/>
                <a:gd name="T27" fmla="*/ 26 h 46"/>
                <a:gd name="T28" fmla="*/ 123 w 144"/>
                <a:gd name="T29" fmla="*/ 2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46">
                  <a:moveTo>
                    <a:pt x="123" y="26"/>
                  </a:moveTo>
                  <a:cubicBezTo>
                    <a:pt x="141" y="9"/>
                    <a:pt x="141" y="9"/>
                    <a:pt x="141" y="9"/>
                  </a:cubicBezTo>
                  <a:cubicBezTo>
                    <a:pt x="138" y="0"/>
                    <a:pt x="138" y="0"/>
                    <a:pt x="138" y="0"/>
                  </a:cubicBezTo>
                  <a:cubicBezTo>
                    <a:pt x="112" y="26"/>
                    <a:pt x="112" y="26"/>
                    <a:pt x="112" y="26"/>
                  </a:cubicBezTo>
                  <a:cubicBezTo>
                    <a:pt x="99" y="26"/>
                    <a:pt x="99" y="26"/>
                    <a:pt x="99" y="26"/>
                  </a:cubicBezTo>
                  <a:cubicBezTo>
                    <a:pt x="54" y="4"/>
                    <a:pt x="54" y="4"/>
                    <a:pt x="54" y="4"/>
                  </a:cubicBezTo>
                  <a:cubicBezTo>
                    <a:pt x="6" y="34"/>
                    <a:pt x="6" y="34"/>
                    <a:pt x="6" y="34"/>
                  </a:cubicBezTo>
                  <a:cubicBezTo>
                    <a:pt x="0" y="38"/>
                    <a:pt x="3" y="46"/>
                    <a:pt x="9" y="46"/>
                  </a:cubicBezTo>
                  <a:cubicBezTo>
                    <a:pt x="74" y="46"/>
                    <a:pt x="74" y="46"/>
                    <a:pt x="74" y="46"/>
                  </a:cubicBezTo>
                  <a:cubicBezTo>
                    <a:pt x="95" y="32"/>
                    <a:pt x="95" y="32"/>
                    <a:pt x="95" y="32"/>
                  </a:cubicBezTo>
                  <a:cubicBezTo>
                    <a:pt x="101" y="32"/>
                    <a:pt x="101" y="32"/>
                    <a:pt x="101" y="32"/>
                  </a:cubicBezTo>
                  <a:cubicBezTo>
                    <a:pt x="101" y="46"/>
                    <a:pt x="101" y="46"/>
                    <a:pt x="101" y="46"/>
                  </a:cubicBezTo>
                  <a:cubicBezTo>
                    <a:pt x="144" y="46"/>
                    <a:pt x="144" y="46"/>
                    <a:pt x="144" y="46"/>
                  </a:cubicBezTo>
                  <a:cubicBezTo>
                    <a:pt x="144" y="26"/>
                    <a:pt x="144" y="26"/>
                    <a:pt x="144" y="26"/>
                  </a:cubicBezTo>
                  <a:lnTo>
                    <a:pt x="123" y="26"/>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4" name="Freeform 213"/>
            <p:cNvSpPr/>
            <p:nvPr userDrawn="1"/>
          </p:nvSpPr>
          <p:spPr bwMode="auto">
            <a:xfrm>
              <a:off x="6019800" y="5202238"/>
              <a:ext cx="458788" cy="966788"/>
            </a:xfrm>
            <a:custGeom>
              <a:avLst/>
              <a:gdLst>
                <a:gd name="T0" fmla="*/ 20 w 185"/>
                <a:gd name="T1" fmla="*/ 27 h 390"/>
                <a:gd name="T2" fmla="*/ 104 w 185"/>
                <a:gd name="T3" fmla="*/ 357 h 390"/>
                <a:gd name="T4" fmla="*/ 62 w 185"/>
                <a:gd name="T5" fmla="*/ 384 h 390"/>
                <a:gd name="T6" fmla="*/ 181 w 185"/>
                <a:gd name="T7" fmla="*/ 387 h 390"/>
                <a:gd name="T8" fmla="*/ 176 w 185"/>
                <a:gd name="T9" fmla="*/ 357 h 390"/>
                <a:gd name="T10" fmla="*/ 156 w 185"/>
                <a:gd name="T11" fmla="*/ 140 h 390"/>
                <a:gd name="T12" fmla="*/ 126 w 185"/>
                <a:gd name="T13" fmla="*/ 33 h 390"/>
                <a:gd name="T14" fmla="*/ 20 w 185"/>
                <a:gd name="T15" fmla="*/ 27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390">
                  <a:moveTo>
                    <a:pt x="20" y="27"/>
                  </a:moveTo>
                  <a:cubicBezTo>
                    <a:pt x="0" y="81"/>
                    <a:pt x="104" y="357"/>
                    <a:pt x="104" y="357"/>
                  </a:cubicBezTo>
                  <a:cubicBezTo>
                    <a:pt x="62" y="384"/>
                    <a:pt x="62" y="384"/>
                    <a:pt x="62" y="384"/>
                  </a:cubicBezTo>
                  <a:cubicBezTo>
                    <a:pt x="62" y="384"/>
                    <a:pt x="177" y="390"/>
                    <a:pt x="181" y="387"/>
                  </a:cubicBezTo>
                  <a:cubicBezTo>
                    <a:pt x="185" y="383"/>
                    <a:pt x="176" y="357"/>
                    <a:pt x="176" y="357"/>
                  </a:cubicBezTo>
                  <a:cubicBezTo>
                    <a:pt x="176" y="357"/>
                    <a:pt x="160" y="167"/>
                    <a:pt x="156" y="140"/>
                  </a:cubicBezTo>
                  <a:cubicBezTo>
                    <a:pt x="144" y="74"/>
                    <a:pt x="126" y="33"/>
                    <a:pt x="126" y="33"/>
                  </a:cubicBezTo>
                  <a:cubicBezTo>
                    <a:pt x="126" y="33"/>
                    <a:pt x="29" y="0"/>
                    <a:pt x="20" y="27"/>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5" name="Freeform 214"/>
            <p:cNvSpPr/>
            <p:nvPr userDrawn="1"/>
          </p:nvSpPr>
          <p:spPr bwMode="auto">
            <a:xfrm>
              <a:off x="6126163" y="6094413"/>
              <a:ext cx="357188" cy="114300"/>
            </a:xfrm>
            <a:custGeom>
              <a:avLst/>
              <a:gdLst>
                <a:gd name="T0" fmla="*/ 123 w 144"/>
                <a:gd name="T1" fmla="*/ 26 h 46"/>
                <a:gd name="T2" fmla="*/ 141 w 144"/>
                <a:gd name="T3" fmla="*/ 9 h 46"/>
                <a:gd name="T4" fmla="*/ 138 w 144"/>
                <a:gd name="T5" fmla="*/ 0 h 46"/>
                <a:gd name="T6" fmla="*/ 112 w 144"/>
                <a:gd name="T7" fmla="*/ 26 h 46"/>
                <a:gd name="T8" fmla="*/ 99 w 144"/>
                <a:gd name="T9" fmla="*/ 26 h 46"/>
                <a:gd name="T10" fmla="*/ 55 w 144"/>
                <a:gd name="T11" fmla="*/ 4 h 46"/>
                <a:gd name="T12" fmla="*/ 6 w 144"/>
                <a:gd name="T13" fmla="*/ 34 h 46"/>
                <a:gd name="T14" fmla="*/ 9 w 144"/>
                <a:gd name="T15" fmla="*/ 46 h 46"/>
                <a:gd name="T16" fmla="*/ 75 w 144"/>
                <a:gd name="T17" fmla="*/ 46 h 46"/>
                <a:gd name="T18" fmla="*/ 95 w 144"/>
                <a:gd name="T19" fmla="*/ 32 h 46"/>
                <a:gd name="T20" fmla="*/ 101 w 144"/>
                <a:gd name="T21" fmla="*/ 32 h 46"/>
                <a:gd name="T22" fmla="*/ 101 w 144"/>
                <a:gd name="T23" fmla="*/ 46 h 46"/>
                <a:gd name="T24" fmla="*/ 144 w 144"/>
                <a:gd name="T25" fmla="*/ 46 h 46"/>
                <a:gd name="T26" fmla="*/ 144 w 144"/>
                <a:gd name="T27" fmla="*/ 26 h 46"/>
                <a:gd name="T28" fmla="*/ 123 w 144"/>
                <a:gd name="T29" fmla="*/ 2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46">
                  <a:moveTo>
                    <a:pt x="123" y="26"/>
                  </a:moveTo>
                  <a:cubicBezTo>
                    <a:pt x="141" y="9"/>
                    <a:pt x="141" y="9"/>
                    <a:pt x="141" y="9"/>
                  </a:cubicBezTo>
                  <a:cubicBezTo>
                    <a:pt x="138" y="0"/>
                    <a:pt x="138" y="0"/>
                    <a:pt x="138" y="0"/>
                  </a:cubicBezTo>
                  <a:cubicBezTo>
                    <a:pt x="112" y="26"/>
                    <a:pt x="112" y="26"/>
                    <a:pt x="112" y="26"/>
                  </a:cubicBezTo>
                  <a:cubicBezTo>
                    <a:pt x="99" y="26"/>
                    <a:pt x="99" y="26"/>
                    <a:pt x="99" y="26"/>
                  </a:cubicBezTo>
                  <a:cubicBezTo>
                    <a:pt x="55" y="4"/>
                    <a:pt x="55" y="4"/>
                    <a:pt x="55" y="4"/>
                  </a:cubicBezTo>
                  <a:cubicBezTo>
                    <a:pt x="6" y="34"/>
                    <a:pt x="6" y="34"/>
                    <a:pt x="6" y="34"/>
                  </a:cubicBezTo>
                  <a:cubicBezTo>
                    <a:pt x="0" y="38"/>
                    <a:pt x="3" y="46"/>
                    <a:pt x="9" y="46"/>
                  </a:cubicBezTo>
                  <a:cubicBezTo>
                    <a:pt x="75" y="46"/>
                    <a:pt x="75" y="46"/>
                    <a:pt x="75" y="46"/>
                  </a:cubicBezTo>
                  <a:cubicBezTo>
                    <a:pt x="95" y="32"/>
                    <a:pt x="95" y="32"/>
                    <a:pt x="95" y="32"/>
                  </a:cubicBezTo>
                  <a:cubicBezTo>
                    <a:pt x="101" y="32"/>
                    <a:pt x="101" y="32"/>
                    <a:pt x="101" y="32"/>
                  </a:cubicBezTo>
                  <a:cubicBezTo>
                    <a:pt x="101" y="46"/>
                    <a:pt x="101" y="46"/>
                    <a:pt x="101" y="46"/>
                  </a:cubicBezTo>
                  <a:cubicBezTo>
                    <a:pt x="144" y="46"/>
                    <a:pt x="144" y="46"/>
                    <a:pt x="144" y="46"/>
                  </a:cubicBezTo>
                  <a:cubicBezTo>
                    <a:pt x="144" y="26"/>
                    <a:pt x="144" y="26"/>
                    <a:pt x="144" y="26"/>
                  </a:cubicBezTo>
                  <a:lnTo>
                    <a:pt x="123" y="26"/>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6" name="Freeform 215"/>
            <p:cNvSpPr/>
            <p:nvPr userDrawn="1"/>
          </p:nvSpPr>
          <p:spPr bwMode="auto">
            <a:xfrm>
              <a:off x="5645150" y="4494213"/>
              <a:ext cx="762000" cy="1027113"/>
            </a:xfrm>
            <a:custGeom>
              <a:avLst/>
              <a:gdLst>
                <a:gd name="T0" fmla="*/ 237 w 307"/>
                <a:gd name="T1" fmla="*/ 51 h 415"/>
                <a:gd name="T2" fmla="*/ 248 w 307"/>
                <a:gd name="T3" fmla="*/ 80 h 415"/>
                <a:gd name="T4" fmla="*/ 304 w 307"/>
                <a:gd name="T5" fmla="*/ 389 h 415"/>
                <a:gd name="T6" fmla="*/ 150 w 307"/>
                <a:gd name="T7" fmla="*/ 412 h 415"/>
                <a:gd name="T8" fmla="*/ 0 w 307"/>
                <a:gd name="T9" fmla="*/ 392 h 415"/>
                <a:gd name="T10" fmla="*/ 44 w 307"/>
                <a:gd name="T11" fmla="*/ 41 h 415"/>
                <a:gd name="T12" fmla="*/ 237 w 307"/>
                <a:gd name="T13" fmla="*/ 51 h 415"/>
              </a:gdLst>
              <a:ahLst/>
              <a:cxnLst>
                <a:cxn ang="0">
                  <a:pos x="T0" y="T1"/>
                </a:cxn>
                <a:cxn ang="0">
                  <a:pos x="T2" y="T3"/>
                </a:cxn>
                <a:cxn ang="0">
                  <a:pos x="T4" y="T5"/>
                </a:cxn>
                <a:cxn ang="0">
                  <a:pos x="T6" y="T7"/>
                </a:cxn>
                <a:cxn ang="0">
                  <a:pos x="T8" y="T9"/>
                </a:cxn>
                <a:cxn ang="0">
                  <a:pos x="T10" y="T11"/>
                </a:cxn>
                <a:cxn ang="0">
                  <a:pos x="T12" y="T13"/>
                </a:cxn>
              </a:cxnLst>
              <a:rect l="0" t="0" r="r" b="b"/>
              <a:pathLst>
                <a:path w="307" h="415">
                  <a:moveTo>
                    <a:pt x="237" y="51"/>
                  </a:moveTo>
                  <a:cubicBezTo>
                    <a:pt x="243" y="63"/>
                    <a:pt x="243" y="65"/>
                    <a:pt x="248" y="80"/>
                  </a:cubicBezTo>
                  <a:cubicBezTo>
                    <a:pt x="307" y="149"/>
                    <a:pt x="304" y="389"/>
                    <a:pt x="304" y="389"/>
                  </a:cubicBezTo>
                  <a:cubicBezTo>
                    <a:pt x="304" y="389"/>
                    <a:pt x="239" y="415"/>
                    <a:pt x="150" y="412"/>
                  </a:cubicBezTo>
                  <a:cubicBezTo>
                    <a:pt x="54" y="409"/>
                    <a:pt x="0" y="392"/>
                    <a:pt x="0" y="392"/>
                  </a:cubicBezTo>
                  <a:cubicBezTo>
                    <a:pt x="0" y="392"/>
                    <a:pt x="17" y="82"/>
                    <a:pt x="44" y="41"/>
                  </a:cubicBezTo>
                  <a:cubicBezTo>
                    <a:pt x="72" y="0"/>
                    <a:pt x="237" y="51"/>
                    <a:pt x="237" y="51"/>
                  </a:cubicBezTo>
                  <a:close/>
                </a:path>
              </a:pathLst>
            </a:custGeom>
            <a:solidFill>
              <a:srgbClr val="103B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7" name="Freeform 216"/>
            <p:cNvSpPr/>
            <p:nvPr userDrawn="1"/>
          </p:nvSpPr>
          <p:spPr bwMode="auto">
            <a:xfrm>
              <a:off x="6102350" y="4686300"/>
              <a:ext cx="150813" cy="96838"/>
            </a:xfrm>
            <a:custGeom>
              <a:avLst/>
              <a:gdLst>
                <a:gd name="T0" fmla="*/ 0 w 61"/>
                <a:gd name="T1" fmla="*/ 1 h 39"/>
                <a:gd name="T2" fmla="*/ 12 w 61"/>
                <a:gd name="T3" fmla="*/ 21 h 39"/>
                <a:gd name="T4" fmla="*/ 43 w 61"/>
                <a:gd name="T5" fmla="*/ 36 h 39"/>
                <a:gd name="T6" fmla="*/ 60 w 61"/>
                <a:gd name="T7" fmla="*/ 39 h 39"/>
                <a:gd name="T8" fmla="*/ 61 w 61"/>
                <a:gd name="T9" fmla="*/ 35 h 39"/>
                <a:gd name="T10" fmla="*/ 60 w 61"/>
                <a:gd name="T11" fmla="*/ 35 h 39"/>
                <a:gd name="T12" fmla="*/ 31 w 61"/>
                <a:gd name="T13" fmla="*/ 28 h 39"/>
                <a:gd name="T14" fmla="*/ 13 w 61"/>
                <a:gd name="T15" fmla="*/ 17 h 39"/>
                <a:gd name="T16" fmla="*/ 4 w 61"/>
                <a:gd name="T17" fmla="*/ 0 h 39"/>
                <a:gd name="T18" fmla="*/ 0 w 61"/>
                <a:gd name="T19"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39">
                  <a:moveTo>
                    <a:pt x="0" y="1"/>
                  </a:moveTo>
                  <a:cubicBezTo>
                    <a:pt x="1" y="9"/>
                    <a:pt x="6" y="16"/>
                    <a:pt x="12" y="21"/>
                  </a:cubicBezTo>
                  <a:cubicBezTo>
                    <a:pt x="21" y="29"/>
                    <a:pt x="33" y="33"/>
                    <a:pt x="43" y="36"/>
                  </a:cubicBezTo>
                  <a:cubicBezTo>
                    <a:pt x="52" y="38"/>
                    <a:pt x="60" y="39"/>
                    <a:pt x="60" y="39"/>
                  </a:cubicBezTo>
                  <a:cubicBezTo>
                    <a:pt x="61" y="35"/>
                    <a:pt x="61" y="35"/>
                    <a:pt x="61" y="35"/>
                  </a:cubicBezTo>
                  <a:cubicBezTo>
                    <a:pt x="61" y="35"/>
                    <a:pt x="60" y="35"/>
                    <a:pt x="60" y="35"/>
                  </a:cubicBezTo>
                  <a:cubicBezTo>
                    <a:pt x="57" y="35"/>
                    <a:pt x="44" y="33"/>
                    <a:pt x="31" y="28"/>
                  </a:cubicBezTo>
                  <a:cubicBezTo>
                    <a:pt x="25" y="25"/>
                    <a:pt x="18" y="22"/>
                    <a:pt x="13" y="17"/>
                  </a:cubicBezTo>
                  <a:cubicBezTo>
                    <a:pt x="8" y="13"/>
                    <a:pt x="5" y="7"/>
                    <a:pt x="4" y="0"/>
                  </a:cubicBezTo>
                  <a:cubicBezTo>
                    <a:pt x="0" y="1"/>
                    <a:pt x="0" y="1"/>
                    <a:pt x="0" y="1"/>
                  </a:cubicBezTo>
                  <a:close/>
                </a:path>
              </a:pathLst>
            </a:custGeom>
            <a:solidFill>
              <a:srgbClr val="0028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8" name="Freeform 217"/>
            <p:cNvSpPr/>
            <p:nvPr userDrawn="1"/>
          </p:nvSpPr>
          <p:spPr bwMode="auto">
            <a:xfrm>
              <a:off x="6176963" y="4659313"/>
              <a:ext cx="185738" cy="804863"/>
            </a:xfrm>
            <a:custGeom>
              <a:avLst/>
              <a:gdLst>
                <a:gd name="T0" fmla="*/ 0 w 75"/>
                <a:gd name="T1" fmla="*/ 3 h 325"/>
                <a:gd name="T2" fmla="*/ 38 w 75"/>
                <a:gd name="T3" fmla="*/ 76 h 325"/>
                <a:gd name="T4" fmla="*/ 65 w 75"/>
                <a:gd name="T5" fmla="*/ 237 h 325"/>
                <a:gd name="T6" fmla="*/ 70 w 75"/>
                <a:gd name="T7" fmla="*/ 300 h 325"/>
                <a:gd name="T8" fmla="*/ 70 w 75"/>
                <a:gd name="T9" fmla="*/ 318 h 325"/>
                <a:gd name="T10" fmla="*/ 71 w 75"/>
                <a:gd name="T11" fmla="*/ 325 h 325"/>
                <a:gd name="T12" fmla="*/ 75 w 75"/>
                <a:gd name="T13" fmla="*/ 325 h 325"/>
                <a:gd name="T14" fmla="*/ 63 w 75"/>
                <a:gd name="T15" fmla="*/ 184 h 325"/>
                <a:gd name="T16" fmla="*/ 42 w 75"/>
                <a:gd name="T17" fmla="*/ 75 h 325"/>
                <a:gd name="T18" fmla="*/ 3 w 75"/>
                <a:gd name="T19" fmla="*/ 0 h 325"/>
                <a:gd name="T20" fmla="*/ 0 w 75"/>
                <a:gd name="T21" fmla="*/ 3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5">
                  <a:moveTo>
                    <a:pt x="0" y="3"/>
                  </a:moveTo>
                  <a:cubicBezTo>
                    <a:pt x="16" y="16"/>
                    <a:pt x="28" y="43"/>
                    <a:pt x="38" y="76"/>
                  </a:cubicBezTo>
                  <a:cubicBezTo>
                    <a:pt x="52" y="125"/>
                    <a:pt x="60" y="187"/>
                    <a:pt x="65" y="237"/>
                  </a:cubicBezTo>
                  <a:cubicBezTo>
                    <a:pt x="67" y="262"/>
                    <a:pt x="69" y="284"/>
                    <a:pt x="70" y="300"/>
                  </a:cubicBezTo>
                  <a:cubicBezTo>
                    <a:pt x="70" y="308"/>
                    <a:pt x="70" y="314"/>
                    <a:pt x="70" y="318"/>
                  </a:cubicBezTo>
                  <a:cubicBezTo>
                    <a:pt x="71" y="323"/>
                    <a:pt x="71" y="325"/>
                    <a:pt x="71" y="325"/>
                  </a:cubicBezTo>
                  <a:cubicBezTo>
                    <a:pt x="75" y="325"/>
                    <a:pt x="75" y="325"/>
                    <a:pt x="75" y="325"/>
                  </a:cubicBezTo>
                  <a:cubicBezTo>
                    <a:pt x="75" y="325"/>
                    <a:pt x="73" y="258"/>
                    <a:pt x="63" y="184"/>
                  </a:cubicBezTo>
                  <a:cubicBezTo>
                    <a:pt x="58" y="147"/>
                    <a:pt x="51" y="108"/>
                    <a:pt x="42" y="75"/>
                  </a:cubicBezTo>
                  <a:cubicBezTo>
                    <a:pt x="32" y="42"/>
                    <a:pt x="19" y="14"/>
                    <a:pt x="3" y="0"/>
                  </a:cubicBezTo>
                  <a:cubicBezTo>
                    <a:pt x="0" y="3"/>
                    <a:pt x="0" y="3"/>
                    <a:pt x="0" y="3"/>
                  </a:cubicBezTo>
                  <a:close/>
                </a:path>
              </a:pathLst>
            </a:custGeom>
            <a:solidFill>
              <a:srgbClr val="0028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9" name="Freeform 219"/>
            <p:cNvSpPr/>
            <p:nvPr userDrawn="1"/>
          </p:nvSpPr>
          <p:spPr bwMode="auto">
            <a:xfrm>
              <a:off x="5688013" y="3962400"/>
              <a:ext cx="603250" cy="785813"/>
            </a:xfrm>
            <a:custGeom>
              <a:avLst/>
              <a:gdLst>
                <a:gd name="T0" fmla="*/ 41 w 243"/>
                <a:gd name="T1" fmla="*/ 31 h 317"/>
                <a:gd name="T2" fmla="*/ 8 w 243"/>
                <a:gd name="T3" fmla="*/ 300 h 317"/>
                <a:gd name="T4" fmla="*/ 231 w 243"/>
                <a:gd name="T5" fmla="*/ 294 h 317"/>
                <a:gd name="T6" fmla="*/ 128 w 243"/>
                <a:gd name="T7" fmla="*/ 14 h 317"/>
                <a:gd name="T8" fmla="*/ 112 w 243"/>
                <a:gd name="T9" fmla="*/ 0 h 317"/>
                <a:gd name="T10" fmla="*/ 71 w 243"/>
                <a:gd name="T11" fmla="*/ 7 h 317"/>
                <a:gd name="T12" fmla="*/ 41 w 243"/>
                <a:gd name="T13" fmla="*/ 31 h 317"/>
              </a:gdLst>
              <a:ahLst/>
              <a:cxnLst>
                <a:cxn ang="0">
                  <a:pos x="T0" y="T1"/>
                </a:cxn>
                <a:cxn ang="0">
                  <a:pos x="T2" y="T3"/>
                </a:cxn>
                <a:cxn ang="0">
                  <a:pos x="T4" y="T5"/>
                </a:cxn>
                <a:cxn ang="0">
                  <a:pos x="T6" y="T7"/>
                </a:cxn>
                <a:cxn ang="0">
                  <a:pos x="T8" y="T9"/>
                </a:cxn>
                <a:cxn ang="0">
                  <a:pos x="T10" y="T11"/>
                </a:cxn>
                <a:cxn ang="0">
                  <a:pos x="T12" y="T13"/>
                </a:cxn>
              </a:cxnLst>
              <a:rect l="0" t="0" r="r" b="b"/>
              <a:pathLst>
                <a:path w="243" h="317">
                  <a:moveTo>
                    <a:pt x="41" y="31"/>
                  </a:moveTo>
                  <a:cubicBezTo>
                    <a:pt x="1" y="130"/>
                    <a:pt x="8" y="300"/>
                    <a:pt x="8" y="300"/>
                  </a:cubicBezTo>
                  <a:cubicBezTo>
                    <a:pt x="0" y="300"/>
                    <a:pt x="119" y="317"/>
                    <a:pt x="231" y="294"/>
                  </a:cubicBezTo>
                  <a:cubicBezTo>
                    <a:pt x="231" y="294"/>
                    <a:pt x="243" y="49"/>
                    <a:pt x="128" y="14"/>
                  </a:cubicBezTo>
                  <a:cubicBezTo>
                    <a:pt x="112" y="0"/>
                    <a:pt x="112" y="0"/>
                    <a:pt x="112" y="0"/>
                  </a:cubicBezTo>
                  <a:cubicBezTo>
                    <a:pt x="71" y="7"/>
                    <a:pt x="71" y="7"/>
                    <a:pt x="71" y="7"/>
                  </a:cubicBezTo>
                  <a:lnTo>
                    <a:pt x="41" y="31"/>
                  </a:lnTo>
                  <a:close/>
                </a:path>
              </a:pathLst>
            </a:cu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0" name="Freeform 223"/>
            <p:cNvSpPr/>
            <p:nvPr userDrawn="1"/>
          </p:nvSpPr>
          <p:spPr bwMode="auto">
            <a:xfrm>
              <a:off x="5715000" y="4106863"/>
              <a:ext cx="52388" cy="247650"/>
            </a:xfrm>
            <a:custGeom>
              <a:avLst/>
              <a:gdLst>
                <a:gd name="T0" fmla="*/ 17 w 21"/>
                <a:gd name="T1" fmla="*/ 0 h 100"/>
                <a:gd name="T2" fmla="*/ 0 w 21"/>
                <a:gd name="T3" fmla="*/ 99 h 100"/>
                <a:gd name="T4" fmla="*/ 4 w 21"/>
                <a:gd name="T5" fmla="*/ 100 h 100"/>
                <a:gd name="T6" fmla="*/ 4 w 21"/>
                <a:gd name="T7" fmla="*/ 97 h 100"/>
                <a:gd name="T8" fmla="*/ 21 w 21"/>
                <a:gd name="T9" fmla="*/ 2 h 100"/>
                <a:gd name="T10" fmla="*/ 17 w 21"/>
                <a:gd name="T11" fmla="*/ 0 h 100"/>
              </a:gdLst>
              <a:ahLst/>
              <a:cxnLst>
                <a:cxn ang="0">
                  <a:pos x="T0" y="T1"/>
                </a:cxn>
                <a:cxn ang="0">
                  <a:pos x="T2" y="T3"/>
                </a:cxn>
                <a:cxn ang="0">
                  <a:pos x="T4" y="T5"/>
                </a:cxn>
                <a:cxn ang="0">
                  <a:pos x="T6" y="T7"/>
                </a:cxn>
                <a:cxn ang="0">
                  <a:pos x="T8" y="T9"/>
                </a:cxn>
                <a:cxn ang="0">
                  <a:pos x="T10" y="T11"/>
                </a:cxn>
              </a:cxnLst>
              <a:rect l="0" t="0" r="r" b="b"/>
              <a:pathLst>
                <a:path w="21" h="100">
                  <a:moveTo>
                    <a:pt x="17" y="0"/>
                  </a:moveTo>
                  <a:cubicBezTo>
                    <a:pt x="2" y="46"/>
                    <a:pt x="0" y="99"/>
                    <a:pt x="0" y="99"/>
                  </a:cubicBezTo>
                  <a:cubicBezTo>
                    <a:pt x="4" y="100"/>
                    <a:pt x="4" y="100"/>
                    <a:pt x="4" y="100"/>
                  </a:cubicBezTo>
                  <a:cubicBezTo>
                    <a:pt x="4" y="100"/>
                    <a:pt x="4" y="99"/>
                    <a:pt x="4" y="97"/>
                  </a:cubicBezTo>
                  <a:cubicBezTo>
                    <a:pt x="5" y="86"/>
                    <a:pt x="8" y="41"/>
                    <a:pt x="21" y="2"/>
                  </a:cubicBezTo>
                  <a:cubicBezTo>
                    <a:pt x="17" y="0"/>
                    <a:pt x="17" y="0"/>
                    <a:pt x="17" y="0"/>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1" name="Freeform 224"/>
            <p:cNvSpPr/>
            <p:nvPr userDrawn="1"/>
          </p:nvSpPr>
          <p:spPr bwMode="auto">
            <a:xfrm>
              <a:off x="5842000" y="3859213"/>
              <a:ext cx="114300" cy="142875"/>
            </a:xfrm>
            <a:custGeom>
              <a:avLst/>
              <a:gdLst>
                <a:gd name="T0" fmla="*/ 39 w 46"/>
                <a:gd name="T1" fmla="*/ 0 h 58"/>
                <a:gd name="T2" fmla="*/ 46 w 46"/>
                <a:gd name="T3" fmla="*/ 42 h 58"/>
                <a:gd name="T4" fmla="*/ 21 w 46"/>
                <a:gd name="T5" fmla="*/ 56 h 58"/>
                <a:gd name="T6" fmla="*/ 5 w 46"/>
                <a:gd name="T7" fmla="*/ 49 h 58"/>
                <a:gd name="T8" fmla="*/ 0 w 46"/>
                <a:gd name="T9" fmla="*/ 10 h 58"/>
                <a:gd name="T10" fmla="*/ 39 w 46"/>
                <a:gd name="T11" fmla="*/ 0 h 58"/>
              </a:gdLst>
              <a:ahLst/>
              <a:cxnLst>
                <a:cxn ang="0">
                  <a:pos x="T0" y="T1"/>
                </a:cxn>
                <a:cxn ang="0">
                  <a:pos x="T2" y="T3"/>
                </a:cxn>
                <a:cxn ang="0">
                  <a:pos x="T4" y="T5"/>
                </a:cxn>
                <a:cxn ang="0">
                  <a:pos x="T6" y="T7"/>
                </a:cxn>
                <a:cxn ang="0">
                  <a:pos x="T8" y="T9"/>
                </a:cxn>
                <a:cxn ang="0">
                  <a:pos x="T10" y="T11"/>
                </a:cxn>
              </a:cxnLst>
              <a:rect l="0" t="0" r="r" b="b"/>
              <a:pathLst>
                <a:path w="46" h="58">
                  <a:moveTo>
                    <a:pt x="39" y="0"/>
                  </a:moveTo>
                  <a:cubicBezTo>
                    <a:pt x="46" y="42"/>
                    <a:pt x="46" y="42"/>
                    <a:pt x="46" y="42"/>
                  </a:cubicBezTo>
                  <a:cubicBezTo>
                    <a:pt x="46" y="42"/>
                    <a:pt x="34" y="53"/>
                    <a:pt x="21" y="56"/>
                  </a:cubicBezTo>
                  <a:cubicBezTo>
                    <a:pt x="8" y="58"/>
                    <a:pt x="5" y="49"/>
                    <a:pt x="5" y="49"/>
                  </a:cubicBezTo>
                  <a:cubicBezTo>
                    <a:pt x="0" y="10"/>
                    <a:pt x="0" y="10"/>
                    <a:pt x="0" y="10"/>
                  </a:cubicBezTo>
                  <a:lnTo>
                    <a:pt x="39" y="0"/>
                  </a:ln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2" name="Freeform 225"/>
            <p:cNvSpPr/>
            <p:nvPr userDrawn="1"/>
          </p:nvSpPr>
          <p:spPr bwMode="auto">
            <a:xfrm>
              <a:off x="5749925" y="3695700"/>
              <a:ext cx="242888" cy="265113"/>
            </a:xfrm>
            <a:custGeom>
              <a:avLst/>
              <a:gdLst>
                <a:gd name="T0" fmla="*/ 27 w 98"/>
                <a:gd name="T1" fmla="*/ 23 h 107"/>
                <a:gd name="T2" fmla="*/ 31 w 98"/>
                <a:gd name="T3" fmla="*/ 97 h 107"/>
                <a:gd name="T4" fmla="*/ 77 w 98"/>
                <a:gd name="T5" fmla="*/ 82 h 107"/>
                <a:gd name="T6" fmla="*/ 91 w 98"/>
                <a:gd name="T7" fmla="*/ 33 h 107"/>
                <a:gd name="T8" fmla="*/ 27 w 98"/>
                <a:gd name="T9" fmla="*/ 23 h 107"/>
              </a:gdLst>
              <a:ahLst/>
              <a:cxnLst>
                <a:cxn ang="0">
                  <a:pos x="T0" y="T1"/>
                </a:cxn>
                <a:cxn ang="0">
                  <a:pos x="T2" y="T3"/>
                </a:cxn>
                <a:cxn ang="0">
                  <a:pos x="T4" y="T5"/>
                </a:cxn>
                <a:cxn ang="0">
                  <a:pos x="T6" y="T7"/>
                </a:cxn>
                <a:cxn ang="0">
                  <a:pos x="T8" y="T9"/>
                </a:cxn>
              </a:cxnLst>
              <a:rect l="0" t="0" r="r" b="b"/>
              <a:pathLst>
                <a:path w="98" h="107">
                  <a:moveTo>
                    <a:pt x="27" y="23"/>
                  </a:moveTo>
                  <a:cubicBezTo>
                    <a:pt x="25" y="30"/>
                    <a:pt x="0" y="71"/>
                    <a:pt x="31" y="97"/>
                  </a:cubicBezTo>
                  <a:cubicBezTo>
                    <a:pt x="43" y="107"/>
                    <a:pt x="68" y="94"/>
                    <a:pt x="77" y="82"/>
                  </a:cubicBezTo>
                  <a:cubicBezTo>
                    <a:pt x="87" y="74"/>
                    <a:pt x="98" y="41"/>
                    <a:pt x="91" y="33"/>
                  </a:cubicBezTo>
                  <a:cubicBezTo>
                    <a:pt x="67" y="0"/>
                    <a:pt x="27" y="23"/>
                    <a:pt x="27" y="23"/>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3" name="Freeform 226"/>
            <p:cNvSpPr/>
            <p:nvPr userDrawn="1"/>
          </p:nvSpPr>
          <p:spPr bwMode="auto">
            <a:xfrm>
              <a:off x="5876925" y="3816350"/>
              <a:ext cx="14288" cy="25400"/>
            </a:xfrm>
            <a:custGeom>
              <a:avLst/>
              <a:gdLst>
                <a:gd name="T0" fmla="*/ 0 w 6"/>
                <a:gd name="T1" fmla="*/ 5 h 10"/>
                <a:gd name="T2" fmla="*/ 4 w 6"/>
                <a:gd name="T3" fmla="*/ 0 h 10"/>
                <a:gd name="T4" fmla="*/ 6 w 6"/>
                <a:gd name="T5" fmla="*/ 5 h 10"/>
                <a:gd name="T6" fmla="*/ 2 w 6"/>
                <a:gd name="T7" fmla="*/ 10 h 10"/>
                <a:gd name="T8" fmla="*/ 0 w 6"/>
                <a:gd name="T9" fmla="*/ 5 h 10"/>
              </a:gdLst>
              <a:ahLst/>
              <a:cxnLst>
                <a:cxn ang="0">
                  <a:pos x="T0" y="T1"/>
                </a:cxn>
                <a:cxn ang="0">
                  <a:pos x="T2" y="T3"/>
                </a:cxn>
                <a:cxn ang="0">
                  <a:pos x="T4" y="T5"/>
                </a:cxn>
                <a:cxn ang="0">
                  <a:pos x="T6" y="T7"/>
                </a:cxn>
                <a:cxn ang="0">
                  <a:pos x="T8" y="T9"/>
                </a:cxn>
              </a:cxnLst>
              <a:rect l="0" t="0" r="r" b="b"/>
              <a:pathLst>
                <a:path w="6" h="10">
                  <a:moveTo>
                    <a:pt x="0" y="5"/>
                  </a:moveTo>
                  <a:cubicBezTo>
                    <a:pt x="1" y="2"/>
                    <a:pt x="2" y="0"/>
                    <a:pt x="4" y="0"/>
                  </a:cubicBezTo>
                  <a:cubicBezTo>
                    <a:pt x="5" y="0"/>
                    <a:pt x="6" y="2"/>
                    <a:pt x="6" y="5"/>
                  </a:cubicBezTo>
                  <a:cubicBezTo>
                    <a:pt x="5" y="8"/>
                    <a:pt x="4" y="10"/>
                    <a:pt x="2" y="10"/>
                  </a:cubicBezTo>
                  <a:cubicBezTo>
                    <a:pt x="1" y="10"/>
                    <a:pt x="0" y="7"/>
                    <a:pt x="0" y="5"/>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4" name="Freeform 227"/>
            <p:cNvSpPr/>
            <p:nvPr userDrawn="1"/>
          </p:nvSpPr>
          <p:spPr bwMode="auto">
            <a:xfrm>
              <a:off x="5815013" y="3806825"/>
              <a:ext cx="11113" cy="22225"/>
            </a:xfrm>
            <a:custGeom>
              <a:avLst/>
              <a:gdLst>
                <a:gd name="T0" fmla="*/ 0 w 5"/>
                <a:gd name="T1" fmla="*/ 4 h 9"/>
                <a:gd name="T2" fmla="*/ 3 w 5"/>
                <a:gd name="T3" fmla="*/ 0 h 9"/>
                <a:gd name="T4" fmla="*/ 5 w 5"/>
                <a:gd name="T5" fmla="*/ 4 h 9"/>
                <a:gd name="T6" fmla="*/ 2 w 5"/>
                <a:gd name="T7" fmla="*/ 8 h 9"/>
                <a:gd name="T8" fmla="*/ 0 w 5"/>
                <a:gd name="T9" fmla="*/ 4 h 9"/>
              </a:gdLst>
              <a:ahLst/>
              <a:cxnLst>
                <a:cxn ang="0">
                  <a:pos x="T0" y="T1"/>
                </a:cxn>
                <a:cxn ang="0">
                  <a:pos x="T2" y="T3"/>
                </a:cxn>
                <a:cxn ang="0">
                  <a:pos x="T4" y="T5"/>
                </a:cxn>
                <a:cxn ang="0">
                  <a:pos x="T6" y="T7"/>
                </a:cxn>
                <a:cxn ang="0">
                  <a:pos x="T8" y="T9"/>
                </a:cxn>
              </a:cxnLst>
              <a:rect l="0" t="0" r="r" b="b"/>
              <a:pathLst>
                <a:path w="5" h="9">
                  <a:moveTo>
                    <a:pt x="0" y="4"/>
                  </a:moveTo>
                  <a:cubicBezTo>
                    <a:pt x="0" y="1"/>
                    <a:pt x="2" y="0"/>
                    <a:pt x="3" y="0"/>
                  </a:cubicBezTo>
                  <a:cubicBezTo>
                    <a:pt x="4" y="0"/>
                    <a:pt x="5" y="2"/>
                    <a:pt x="5" y="4"/>
                  </a:cubicBezTo>
                  <a:cubicBezTo>
                    <a:pt x="4" y="7"/>
                    <a:pt x="3" y="9"/>
                    <a:pt x="2" y="8"/>
                  </a:cubicBezTo>
                  <a:cubicBezTo>
                    <a:pt x="1" y="8"/>
                    <a:pt x="0" y="6"/>
                    <a:pt x="0" y="4"/>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5" name="Freeform 228"/>
            <p:cNvSpPr/>
            <p:nvPr userDrawn="1"/>
          </p:nvSpPr>
          <p:spPr bwMode="auto">
            <a:xfrm>
              <a:off x="5816600" y="3884613"/>
              <a:ext cx="42863" cy="26988"/>
            </a:xfrm>
            <a:custGeom>
              <a:avLst/>
              <a:gdLst>
                <a:gd name="T0" fmla="*/ 0 w 17"/>
                <a:gd name="T1" fmla="*/ 0 h 11"/>
                <a:gd name="T2" fmla="*/ 17 w 17"/>
                <a:gd name="T3" fmla="*/ 2 h 11"/>
                <a:gd name="T4" fmla="*/ 6 w 17"/>
                <a:gd name="T5" fmla="*/ 10 h 11"/>
                <a:gd name="T6" fmla="*/ 0 w 17"/>
                <a:gd name="T7" fmla="*/ 0 h 11"/>
              </a:gdLst>
              <a:ahLst/>
              <a:cxnLst>
                <a:cxn ang="0">
                  <a:pos x="T0" y="T1"/>
                </a:cxn>
                <a:cxn ang="0">
                  <a:pos x="T2" y="T3"/>
                </a:cxn>
                <a:cxn ang="0">
                  <a:pos x="T4" y="T5"/>
                </a:cxn>
                <a:cxn ang="0">
                  <a:pos x="T6" y="T7"/>
                </a:cxn>
              </a:cxnLst>
              <a:rect l="0" t="0" r="r" b="b"/>
              <a:pathLst>
                <a:path w="17" h="11">
                  <a:moveTo>
                    <a:pt x="0" y="0"/>
                  </a:moveTo>
                  <a:cubicBezTo>
                    <a:pt x="17" y="2"/>
                    <a:pt x="17" y="2"/>
                    <a:pt x="17" y="2"/>
                  </a:cubicBezTo>
                  <a:cubicBezTo>
                    <a:pt x="17" y="2"/>
                    <a:pt x="14" y="11"/>
                    <a:pt x="6" y="10"/>
                  </a:cubicBezTo>
                  <a:cubicBezTo>
                    <a:pt x="0" y="1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6" name="Freeform 229"/>
            <p:cNvSpPr/>
            <p:nvPr userDrawn="1"/>
          </p:nvSpPr>
          <p:spPr bwMode="auto">
            <a:xfrm>
              <a:off x="5819775" y="3829050"/>
              <a:ext cx="26988" cy="42863"/>
            </a:xfrm>
            <a:custGeom>
              <a:avLst/>
              <a:gdLst>
                <a:gd name="T0" fmla="*/ 6 w 11"/>
                <a:gd name="T1" fmla="*/ 0 h 17"/>
                <a:gd name="T2" fmla="*/ 2 w 11"/>
                <a:gd name="T3" fmla="*/ 8 h 17"/>
                <a:gd name="T4" fmla="*/ 0 w 11"/>
                <a:gd name="T5" fmla="*/ 13 h 17"/>
                <a:gd name="T6" fmla="*/ 0 w 11"/>
                <a:gd name="T7" fmla="*/ 14 h 17"/>
                <a:gd name="T8" fmla="*/ 0 w 11"/>
                <a:gd name="T9" fmla="*/ 14 h 17"/>
                <a:gd name="T10" fmla="*/ 1 w 11"/>
                <a:gd name="T11" fmla="*/ 15 h 17"/>
                <a:gd name="T12" fmla="*/ 3 w 11"/>
                <a:gd name="T13" fmla="*/ 16 h 17"/>
                <a:gd name="T14" fmla="*/ 10 w 11"/>
                <a:gd name="T15" fmla="*/ 17 h 17"/>
                <a:gd name="T16" fmla="*/ 11 w 11"/>
                <a:gd name="T17" fmla="*/ 17 h 17"/>
                <a:gd name="T18" fmla="*/ 11 w 11"/>
                <a:gd name="T19" fmla="*/ 14 h 17"/>
                <a:gd name="T20" fmla="*/ 10 w 11"/>
                <a:gd name="T21" fmla="*/ 14 h 17"/>
                <a:gd name="T22" fmla="*/ 5 w 11"/>
                <a:gd name="T23" fmla="*/ 14 h 17"/>
                <a:gd name="T24" fmla="*/ 3 w 11"/>
                <a:gd name="T25" fmla="*/ 13 h 17"/>
                <a:gd name="T26" fmla="*/ 3 w 11"/>
                <a:gd name="T27" fmla="*/ 13 h 17"/>
                <a:gd name="T28" fmla="*/ 3 w 11"/>
                <a:gd name="T29" fmla="*/ 13 h 17"/>
                <a:gd name="T30" fmla="*/ 3 w 11"/>
                <a:gd name="T31" fmla="*/ 13 h 17"/>
                <a:gd name="T32" fmla="*/ 3 w 11"/>
                <a:gd name="T33" fmla="*/ 13 h 17"/>
                <a:gd name="T34" fmla="*/ 3 w 11"/>
                <a:gd name="T35" fmla="*/ 13 h 17"/>
                <a:gd name="T36" fmla="*/ 3 w 11"/>
                <a:gd name="T37" fmla="*/ 13 h 17"/>
                <a:gd name="T38" fmla="*/ 3 w 11"/>
                <a:gd name="T39" fmla="*/ 14 h 17"/>
                <a:gd name="T40" fmla="*/ 3 w 11"/>
                <a:gd name="T41" fmla="*/ 13 h 17"/>
                <a:gd name="T42" fmla="*/ 3 w 11"/>
                <a:gd name="T43" fmla="*/ 13 h 17"/>
                <a:gd name="T44" fmla="*/ 3 w 11"/>
                <a:gd name="T45" fmla="*/ 14 h 17"/>
                <a:gd name="T46" fmla="*/ 3 w 11"/>
                <a:gd name="T47" fmla="*/ 13 h 17"/>
                <a:gd name="T48" fmla="*/ 3 w 11"/>
                <a:gd name="T49" fmla="*/ 13 h 17"/>
                <a:gd name="T50" fmla="*/ 3 w 11"/>
                <a:gd name="T51" fmla="*/ 13 h 17"/>
                <a:gd name="T52" fmla="*/ 3 w 11"/>
                <a:gd name="T53" fmla="*/ 13 h 17"/>
                <a:gd name="T54" fmla="*/ 4 w 11"/>
                <a:gd name="T55" fmla="*/ 9 h 17"/>
                <a:gd name="T56" fmla="*/ 9 w 11"/>
                <a:gd name="T57" fmla="*/ 1 h 17"/>
                <a:gd name="T58" fmla="*/ 7 w 11"/>
                <a:gd name="T59" fmla="*/ 0 h 17"/>
                <a:gd name="T60" fmla="*/ 6 w 11"/>
                <a:gd name="T6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17">
                  <a:moveTo>
                    <a:pt x="6" y="0"/>
                  </a:moveTo>
                  <a:cubicBezTo>
                    <a:pt x="4" y="3"/>
                    <a:pt x="3" y="6"/>
                    <a:pt x="2" y="8"/>
                  </a:cubicBezTo>
                  <a:cubicBezTo>
                    <a:pt x="1" y="10"/>
                    <a:pt x="0" y="12"/>
                    <a:pt x="0" y="13"/>
                  </a:cubicBezTo>
                  <a:cubicBezTo>
                    <a:pt x="0" y="14"/>
                    <a:pt x="0" y="14"/>
                    <a:pt x="0" y="14"/>
                  </a:cubicBezTo>
                  <a:cubicBezTo>
                    <a:pt x="0" y="14"/>
                    <a:pt x="0" y="14"/>
                    <a:pt x="0" y="14"/>
                  </a:cubicBezTo>
                  <a:cubicBezTo>
                    <a:pt x="0" y="14"/>
                    <a:pt x="1" y="15"/>
                    <a:pt x="1" y="15"/>
                  </a:cubicBezTo>
                  <a:cubicBezTo>
                    <a:pt x="2" y="16"/>
                    <a:pt x="2" y="16"/>
                    <a:pt x="3" y="16"/>
                  </a:cubicBezTo>
                  <a:cubicBezTo>
                    <a:pt x="6" y="17"/>
                    <a:pt x="9" y="17"/>
                    <a:pt x="10" y="17"/>
                  </a:cubicBezTo>
                  <a:cubicBezTo>
                    <a:pt x="10" y="17"/>
                    <a:pt x="11" y="17"/>
                    <a:pt x="11" y="17"/>
                  </a:cubicBezTo>
                  <a:cubicBezTo>
                    <a:pt x="11" y="14"/>
                    <a:pt x="11" y="14"/>
                    <a:pt x="11" y="14"/>
                  </a:cubicBezTo>
                  <a:cubicBezTo>
                    <a:pt x="10" y="14"/>
                    <a:pt x="10" y="14"/>
                    <a:pt x="10" y="14"/>
                  </a:cubicBezTo>
                  <a:cubicBezTo>
                    <a:pt x="9" y="14"/>
                    <a:pt x="7" y="14"/>
                    <a:pt x="5" y="14"/>
                  </a:cubicBezTo>
                  <a:cubicBezTo>
                    <a:pt x="5" y="14"/>
                    <a:pt x="4"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4"/>
                    <a:pt x="3" y="14"/>
                    <a:pt x="3" y="14"/>
                  </a:cubicBezTo>
                  <a:cubicBezTo>
                    <a:pt x="3" y="13"/>
                    <a:pt x="3" y="13"/>
                    <a:pt x="3" y="13"/>
                  </a:cubicBezTo>
                  <a:cubicBezTo>
                    <a:pt x="3" y="13"/>
                    <a:pt x="3" y="13"/>
                    <a:pt x="3" y="13"/>
                  </a:cubicBezTo>
                  <a:cubicBezTo>
                    <a:pt x="3" y="14"/>
                    <a:pt x="3" y="14"/>
                    <a:pt x="3" y="14"/>
                  </a:cubicBezTo>
                  <a:cubicBezTo>
                    <a:pt x="3" y="13"/>
                    <a:pt x="3" y="13"/>
                    <a:pt x="3" y="13"/>
                  </a:cubicBezTo>
                  <a:cubicBezTo>
                    <a:pt x="3" y="13"/>
                    <a:pt x="3" y="13"/>
                    <a:pt x="3" y="13"/>
                  </a:cubicBezTo>
                  <a:cubicBezTo>
                    <a:pt x="3" y="13"/>
                    <a:pt x="3" y="13"/>
                    <a:pt x="3" y="13"/>
                  </a:cubicBezTo>
                  <a:cubicBezTo>
                    <a:pt x="3" y="13"/>
                    <a:pt x="3" y="13"/>
                    <a:pt x="3" y="13"/>
                  </a:cubicBezTo>
                  <a:cubicBezTo>
                    <a:pt x="3" y="12"/>
                    <a:pt x="4" y="11"/>
                    <a:pt x="4" y="9"/>
                  </a:cubicBezTo>
                  <a:cubicBezTo>
                    <a:pt x="5" y="7"/>
                    <a:pt x="7" y="5"/>
                    <a:pt x="9" y="1"/>
                  </a:cubicBezTo>
                  <a:cubicBezTo>
                    <a:pt x="7" y="0"/>
                    <a:pt x="7" y="0"/>
                    <a:pt x="7" y="0"/>
                  </a:cubicBezTo>
                  <a:lnTo>
                    <a:pt x="6" y="0"/>
                  </a:lnTo>
                  <a:close/>
                </a:path>
              </a:pathLst>
            </a:custGeom>
            <a:solidFill>
              <a:srgbClr val="EA99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7" name="Freeform 230"/>
            <p:cNvSpPr/>
            <p:nvPr userDrawn="1"/>
          </p:nvSpPr>
          <p:spPr bwMode="auto">
            <a:xfrm>
              <a:off x="5811838" y="3783013"/>
              <a:ext cx="34925" cy="19050"/>
            </a:xfrm>
            <a:custGeom>
              <a:avLst/>
              <a:gdLst>
                <a:gd name="T0" fmla="*/ 12 w 14"/>
                <a:gd name="T1" fmla="*/ 8 h 8"/>
                <a:gd name="T2" fmla="*/ 11 w 14"/>
                <a:gd name="T3" fmla="*/ 8 h 8"/>
                <a:gd name="T4" fmla="*/ 2 w 14"/>
                <a:gd name="T5" fmla="*/ 5 h 8"/>
                <a:gd name="T6" fmla="*/ 0 w 14"/>
                <a:gd name="T7" fmla="*/ 4 h 8"/>
                <a:gd name="T8" fmla="*/ 1 w 14"/>
                <a:gd name="T9" fmla="*/ 3 h 8"/>
                <a:gd name="T10" fmla="*/ 13 w 14"/>
                <a:gd name="T11" fmla="*/ 6 h 8"/>
                <a:gd name="T12" fmla="*/ 13 w 14"/>
                <a:gd name="T13" fmla="*/ 8 h 8"/>
                <a:gd name="T14" fmla="*/ 12 w 1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8">
                  <a:moveTo>
                    <a:pt x="12" y="8"/>
                  </a:moveTo>
                  <a:cubicBezTo>
                    <a:pt x="12" y="8"/>
                    <a:pt x="11" y="8"/>
                    <a:pt x="11" y="8"/>
                  </a:cubicBezTo>
                  <a:cubicBezTo>
                    <a:pt x="7" y="4"/>
                    <a:pt x="2" y="5"/>
                    <a:pt x="2" y="5"/>
                  </a:cubicBezTo>
                  <a:cubicBezTo>
                    <a:pt x="1" y="6"/>
                    <a:pt x="0" y="5"/>
                    <a:pt x="0" y="4"/>
                  </a:cubicBezTo>
                  <a:cubicBezTo>
                    <a:pt x="0" y="4"/>
                    <a:pt x="0" y="3"/>
                    <a:pt x="1" y="3"/>
                  </a:cubicBezTo>
                  <a:cubicBezTo>
                    <a:pt x="1" y="2"/>
                    <a:pt x="8" y="0"/>
                    <a:pt x="13" y="6"/>
                  </a:cubicBezTo>
                  <a:cubicBezTo>
                    <a:pt x="14" y="7"/>
                    <a:pt x="14" y="8"/>
                    <a:pt x="13" y="8"/>
                  </a:cubicBezTo>
                  <a:lnTo>
                    <a:pt x="12" y="8"/>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8" name="Freeform 231"/>
            <p:cNvSpPr/>
            <p:nvPr userDrawn="1"/>
          </p:nvSpPr>
          <p:spPr bwMode="auto">
            <a:xfrm>
              <a:off x="5865813" y="3787775"/>
              <a:ext cx="47625" cy="28575"/>
            </a:xfrm>
            <a:custGeom>
              <a:avLst/>
              <a:gdLst>
                <a:gd name="T0" fmla="*/ 17 w 19"/>
                <a:gd name="T1" fmla="*/ 12 h 12"/>
                <a:gd name="T2" fmla="*/ 16 w 19"/>
                <a:gd name="T3" fmla="*/ 12 h 12"/>
                <a:gd name="T4" fmla="*/ 3 w 19"/>
                <a:gd name="T5" fmla="*/ 8 h 12"/>
                <a:gd name="T6" fmla="*/ 1 w 19"/>
                <a:gd name="T7" fmla="*/ 7 h 12"/>
                <a:gd name="T8" fmla="*/ 1 w 19"/>
                <a:gd name="T9" fmla="*/ 5 h 12"/>
                <a:gd name="T10" fmla="*/ 19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6" y="12"/>
                    <a:pt x="16" y="12"/>
                  </a:cubicBezTo>
                  <a:cubicBezTo>
                    <a:pt x="16" y="11"/>
                    <a:pt x="11" y="3"/>
                    <a:pt x="3" y="8"/>
                  </a:cubicBezTo>
                  <a:cubicBezTo>
                    <a:pt x="2" y="8"/>
                    <a:pt x="1" y="8"/>
                    <a:pt x="1" y="7"/>
                  </a:cubicBezTo>
                  <a:cubicBezTo>
                    <a:pt x="0" y="7"/>
                    <a:pt x="1" y="6"/>
                    <a:pt x="1" y="5"/>
                  </a:cubicBezTo>
                  <a:cubicBezTo>
                    <a:pt x="10" y="0"/>
                    <a:pt x="16" y="6"/>
                    <a:pt x="19" y="10"/>
                  </a:cubicBezTo>
                  <a:cubicBezTo>
                    <a:pt x="19" y="11"/>
                    <a:pt x="19" y="12"/>
                    <a:pt x="18" y="12"/>
                  </a:cubicBezTo>
                  <a:lnTo>
                    <a:pt x="17" y="12"/>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 name="Freeform 232"/>
            <p:cNvSpPr/>
            <p:nvPr userDrawn="1"/>
          </p:nvSpPr>
          <p:spPr bwMode="auto">
            <a:xfrm>
              <a:off x="5772150" y="3665538"/>
              <a:ext cx="273050" cy="203200"/>
            </a:xfrm>
            <a:custGeom>
              <a:avLst/>
              <a:gdLst>
                <a:gd name="T0" fmla="*/ 20 w 110"/>
                <a:gd name="T1" fmla="*/ 47 h 82"/>
                <a:gd name="T2" fmla="*/ 56 w 110"/>
                <a:gd name="T3" fmla="*/ 46 h 82"/>
                <a:gd name="T4" fmla="*/ 66 w 110"/>
                <a:gd name="T5" fmla="*/ 69 h 82"/>
                <a:gd name="T6" fmla="*/ 74 w 110"/>
                <a:gd name="T7" fmla="*/ 70 h 82"/>
                <a:gd name="T8" fmla="*/ 82 w 110"/>
                <a:gd name="T9" fmla="*/ 81 h 82"/>
                <a:gd name="T10" fmla="*/ 98 w 110"/>
                <a:gd name="T11" fmla="*/ 71 h 82"/>
                <a:gd name="T12" fmla="*/ 109 w 110"/>
                <a:gd name="T13" fmla="*/ 50 h 82"/>
                <a:gd name="T14" fmla="*/ 87 w 110"/>
                <a:gd name="T15" fmla="*/ 19 h 82"/>
                <a:gd name="T16" fmla="*/ 55 w 110"/>
                <a:gd name="T17" fmla="*/ 1 h 82"/>
                <a:gd name="T18" fmla="*/ 0 w 110"/>
                <a:gd name="T19" fmla="*/ 25 h 82"/>
                <a:gd name="T20" fmla="*/ 1 w 110"/>
                <a:gd name="T21" fmla="*/ 30 h 82"/>
                <a:gd name="T22" fmla="*/ 4 w 110"/>
                <a:gd name="T23" fmla="*/ 36 h 82"/>
                <a:gd name="T24" fmla="*/ 12 w 110"/>
                <a:gd name="T25" fmla="*/ 44 h 82"/>
                <a:gd name="T26" fmla="*/ 20 w 110"/>
                <a:gd name="T27"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82">
                  <a:moveTo>
                    <a:pt x="20" y="47"/>
                  </a:moveTo>
                  <a:cubicBezTo>
                    <a:pt x="31" y="51"/>
                    <a:pt x="44" y="50"/>
                    <a:pt x="56" y="46"/>
                  </a:cubicBezTo>
                  <a:cubicBezTo>
                    <a:pt x="56" y="54"/>
                    <a:pt x="60" y="64"/>
                    <a:pt x="66" y="69"/>
                  </a:cubicBezTo>
                  <a:cubicBezTo>
                    <a:pt x="68" y="71"/>
                    <a:pt x="71" y="70"/>
                    <a:pt x="74" y="70"/>
                  </a:cubicBezTo>
                  <a:cubicBezTo>
                    <a:pt x="77" y="70"/>
                    <a:pt x="80" y="82"/>
                    <a:pt x="82" y="81"/>
                  </a:cubicBezTo>
                  <a:cubicBezTo>
                    <a:pt x="87" y="76"/>
                    <a:pt x="92" y="74"/>
                    <a:pt x="98" y="71"/>
                  </a:cubicBezTo>
                  <a:cubicBezTo>
                    <a:pt x="103" y="67"/>
                    <a:pt x="110" y="57"/>
                    <a:pt x="109" y="50"/>
                  </a:cubicBezTo>
                  <a:cubicBezTo>
                    <a:pt x="107" y="37"/>
                    <a:pt x="98" y="23"/>
                    <a:pt x="87" y="19"/>
                  </a:cubicBezTo>
                  <a:cubicBezTo>
                    <a:pt x="85" y="6"/>
                    <a:pt x="63" y="1"/>
                    <a:pt x="55" y="1"/>
                  </a:cubicBezTo>
                  <a:cubicBezTo>
                    <a:pt x="34" y="0"/>
                    <a:pt x="15" y="10"/>
                    <a:pt x="0" y="25"/>
                  </a:cubicBezTo>
                  <a:cubicBezTo>
                    <a:pt x="0" y="27"/>
                    <a:pt x="1" y="28"/>
                    <a:pt x="1" y="30"/>
                  </a:cubicBezTo>
                  <a:cubicBezTo>
                    <a:pt x="2" y="32"/>
                    <a:pt x="3" y="34"/>
                    <a:pt x="4" y="36"/>
                  </a:cubicBezTo>
                  <a:cubicBezTo>
                    <a:pt x="6" y="39"/>
                    <a:pt x="9" y="42"/>
                    <a:pt x="12" y="44"/>
                  </a:cubicBezTo>
                  <a:cubicBezTo>
                    <a:pt x="14" y="45"/>
                    <a:pt x="17" y="46"/>
                    <a:pt x="20" y="47"/>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 name="Freeform 233"/>
            <p:cNvSpPr/>
            <p:nvPr userDrawn="1"/>
          </p:nvSpPr>
          <p:spPr bwMode="auto">
            <a:xfrm>
              <a:off x="5926138" y="3824288"/>
              <a:ext cx="52388" cy="76200"/>
            </a:xfrm>
            <a:custGeom>
              <a:avLst/>
              <a:gdLst>
                <a:gd name="T0" fmla="*/ 3 w 21"/>
                <a:gd name="T1" fmla="*/ 8 h 31"/>
                <a:gd name="T2" fmla="*/ 17 w 21"/>
                <a:gd name="T3" fmla="*/ 4 h 31"/>
                <a:gd name="T4" fmla="*/ 13 w 21"/>
                <a:gd name="T5" fmla="*/ 25 h 31"/>
                <a:gd name="T6" fmla="*/ 0 w 21"/>
                <a:gd name="T7" fmla="*/ 25 h 31"/>
                <a:gd name="T8" fmla="*/ 3 w 21"/>
                <a:gd name="T9" fmla="*/ 8 h 31"/>
              </a:gdLst>
              <a:ahLst/>
              <a:cxnLst>
                <a:cxn ang="0">
                  <a:pos x="T0" y="T1"/>
                </a:cxn>
                <a:cxn ang="0">
                  <a:pos x="T2" y="T3"/>
                </a:cxn>
                <a:cxn ang="0">
                  <a:pos x="T4" y="T5"/>
                </a:cxn>
                <a:cxn ang="0">
                  <a:pos x="T6" y="T7"/>
                </a:cxn>
                <a:cxn ang="0">
                  <a:pos x="T8" y="T9"/>
                </a:cxn>
              </a:cxnLst>
              <a:rect l="0" t="0" r="r" b="b"/>
              <a:pathLst>
                <a:path w="21" h="31">
                  <a:moveTo>
                    <a:pt x="3" y="8"/>
                  </a:moveTo>
                  <a:cubicBezTo>
                    <a:pt x="4" y="1"/>
                    <a:pt x="14" y="0"/>
                    <a:pt x="17" y="4"/>
                  </a:cubicBezTo>
                  <a:cubicBezTo>
                    <a:pt x="21" y="10"/>
                    <a:pt x="19" y="20"/>
                    <a:pt x="13" y="25"/>
                  </a:cubicBezTo>
                  <a:cubicBezTo>
                    <a:pt x="7" y="31"/>
                    <a:pt x="2" y="30"/>
                    <a:pt x="0" y="25"/>
                  </a:cubicBezTo>
                  <a:cubicBezTo>
                    <a:pt x="0" y="25"/>
                    <a:pt x="2" y="15"/>
                    <a:pt x="3" y="8"/>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 name="Freeform 234"/>
            <p:cNvSpPr/>
            <p:nvPr userDrawn="1"/>
          </p:nvSpPr>
          <p:spPr bwMode="auto">
            <a:xfrm>
              <a:off x="5861050" y="3911600"/>
              <a:ext cx="69850" cy="36513"/>
            </a:xfrm>
            <a:custGeom>
              <a:avLst/>
              <a:gdLst>
                <a:gd name="T0" fmla="*/ 0 w 28"/>
                <a:gd name="T1" fmla="*/ 15 h 15"/>
                <a:gd name="T2" fmla="*/ 28 w 28"/>
                <a:gd name="T3" fmla="*/ 2 h 15"/>
                <a:gd name="T4" fmla="*/ 26 w 28"/>
                <a:gd name="T5" fmla="*/ 0 h 15"/>
                <a:gd name="T6" fmla="*/ 9 w 28"/>
                <a:gd name="T7" fmla="*/ 10 h 15"/>
                <a:gd name="T8" fmla="*/ 2 w 28"/>
                <a:gd name="T9" fmla="*/ 12 h 15"/>
                <a:gd name="T10" fmla="*/ 0 w 28"/>
                <a:gd name="T11" fmla="*/ 12 h 15"/>
                <a:gd name="T12" fmla="*/ 0 w 28"/>
                <a:gd name="T13" fmla="*/ 12 h 15"/>
                <a:gd name="T14" fmla="*/ 0 w 28"/>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5">
                  <a:moveTo>
                    <a:pt x="0" y="15"/>
                  </a:moveTo>
                  <a:cubicBezTo>
                    <a:pt x="0" y="15"/>
                    <a:pt x="16" y="14"/>
                    <a:pt x="28" y="2"/>
                  </a:cubicBezTo>
                  <a:cubicBezTo>
                    <a:pt x="26" y="0"/>
                    <a:pt x="26" y="0"/>
                    <a:pt x="26" y="0"/>
                  </a:cubicBezTo>
                  <a:cubicBezTo>
                    <a:pt x="21" y="6"/>
                    <a:pt x="14" y="9"/>
                    <a:pt x="9" y="10"/>
                  </a:cubicBezTo>
                  <a:cubicBezTo>
                    <a:pt x="6" y="11"/>
                    <a:pt x="4" y="12"/>
                    <a:pt x="2" y="12"/>
                  </a:cubicBezTo>
                  <a:cubicBezTo>
                    <a:pt x="1" y="12"/>
                    <a:pt x="1" y="12"/>
                    <a:pt x="0" y="12"/>
                  </a:cubicBezTo>
                  <a:cubicBezTo>
                    <a:pt x="0" y="12"/>
                    <a:pt x="0" y="12"/>
                    <a:pt x="0" y="12"/>
                  </a:cubicBezTo>
                  <a:cubicBezTo>
                    <a:pt x="0" y="15"/>
                    <a:pt x="0" y="15"/>
                    <a:pt x="0" y="15"/>
                  </a:cubicBezTo>
                  <a:close/>
                </a:path>
              </a:pathLst>
            </a:custGeom>
            <a:solidFill>
              <a:srgbClr val="EA99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 name="Rectangle 235"/>
            <p:cNvSpPr>
              <a:spLocks noChangeArrowheads="1"/>
            </p:cNvSpPr>
            <p:nvPr userDrawn="1"/>
          </p:nvSpPr>
          <p:spPr bwMode="auto">
            <a:xfrm>
              <a:off x="5526088" y="4535488"/>
              <a:ext cx="11113" cy="212725"/>
            </a:xfrm>
            <a:prstGeom prst="rect">
              <a:avLst/>
            </a:prstGeom>
            <a:solidFill>
              <a:srgbClr val="B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63" name="Freeform 237"/>
            <p:cNvSpPr/>
            <p:nvPr userDrawn="1"/>
          </p:nvSpPr>
          <p:spPr bwMode="auto">
            <a:xfrm>
              <a:off x="5829300" y="3960813"/>
              <a:ext cx="158750" cy="65088"/>
            </a:xfrm>
            <a:custGeom>
              <a:avLst/>
              <a:gdLst>
                <a:gd name="T0" fmla="*/ 0 w 64"/>
                <a:gd name="T1" fmla="*/ 9 h 26"/>
                <a:gd name="T2" fmla="*/ 5 w 64"/>
                <a:gd name="T3" fmla="*/ 17 h 26"/>
                <a:gd name="T4" fmla="*/ 25 w 64"/>
                <a:gd name="T5" fmla="*/ 26 h 26"/>
                <a:gd name="T6" fmla="*/ 26 w 64"/>
                <a:gd name="T7" fmla="*/ 26 h 26"/>
                <a:gd name="T8" fmla="*/ 55 w 64"/>
                <a:gd name="T9" fmla="*/ 14 h 26"/>
                <a:gd name="T10" fmla="*/ 64 w 64"/>
                <a:gd name="T11" fmla="*/ 1 h 26"/>
                <a:gd name="T12" fmla="*/ 61 w 64"/>
                <a:gd name="T13" fmla="*/ 0 h 26"/>
                <a:gd name="T14" fmla="*/ 61 w 64"/>
                <a:gd name="T15" fmla="*/ 0 h 26"/>
                <a:gd name="T16" fmla="*/ 51 w 64"/>
                <a:gd name="T17" fmla="*/ 12 h 26"/>
                <a:gd name="T18" fmla="*/ 26 w 64"/>
                <a:gd name="T19" fmla="*/ 22 h 26"/>
                <a:gd name="T20" fmla="*/ 25 w 64"/>
                <a:gd name="T21" fmla="*/ 22 h 26"/>
                <a:gd name="T22" fmla="*/ 8 w 64"/>
                <a:gd name="T23" fmla="*/ 15 h 26"/>
                <a:gd name="T24" fmla="*/ 5 w 64"/>
                <a:gd name="T25" fmla="*/ 10 h 26"/>
                <a:gd name="T26" fmla="*/ 4 w 64"/>
                <a:gd name="T27" fmla="*/ 8 h 26"/>
                <a:gd name="T28" fmla="*/ 4 w 64"/>
                <a:gd name="T29" fmla="*/ 8 h 26"/>
                <a:gd name="T30" fmla="*/ 4 w 64"/>
                <a:gd name="T31" fmla="*/ 8 h 26"/>
                <a:gd name="T32" fmla="*/ 4 w 64"/>
                <a:gd name="T33" fmla="*/ 8 h 26"/>
                <a:gd name="T34" fmla="*/ 0 w 64"/>
                <a:gd name="T35"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6">
                  <a:moveTo>
                    <a:pt x="0" y="9"/>
                  </a:moveTo>
                  <a:cubicBezTo>
                    <a:pt x="0" y="9"/>
                    <a:pt x="1" y="13"/>
                    <a:pt x="5" y="17"/>
                  </a:cubicBezTo>
                  <a:cubicBezTo>
                    <a:pt x="9" y="21"/>
                    <a:pt x="15" y="25"/>
                    <a:pt x="25" y="26"/>
                  </a:cubicBezTo>
                  <a:cubicBezTo>
                    <a:pt x="26" y="26"/>
                    <a:pt x="26" y="26"/>
                    <a:pt x="26" y="26"/>
                  </a:cubicBezTo>
                  <a:cubicBezTo>
                    <a:pt x="39" y="26"/>
                    <a:pt x="48" y="20"/>
                    <a:pt x="55" y="14"/>
                  </a:cubicBezTo>
                  <a:cubicBezTo>
                    <a:pt x="61" y="8"/>
                    <a:pt x="64" y="2"/>
                    <a:pt x="64" y="1"/>
                  </a:cubicBezTo>
                  <a:cubicBezTo>
                    <a:pt x="61" y="0"/>
                    <a:pt x="61" y="0"/>
                    <a:pt x="61" y="0"/>
                  </a:cubicBezTo>
                  <a:cubicBezTo>
                    <a:pt x="61" y="0"/>
                    <a:pt x="61" y="0"/>
                    <a:pt x="61" y="0"/>
                  </a:cubicBezTo>
                  <a:cubicBezTo>
                    <a:pt x="60" y="1"/>
                    <a:pt x="57" y="7"/>
                    <a:pt x="51" y="12"/>
                  </a:cubicBezTo>
                  <a:cubicBezTo>
                    <a:pt x="45" y="17"/>
                    <a:pt x="37" y="22"/>
                    <a:pt x="26" y="22"/>
                  </a:cubicBezTo>
                  <a:cubicBezTo>
                    <a:pt x="25" y="22"/>
                    <a:pt x="25" y="22"/>
                    <a:pt x="25" y="22"/>
                  </a:cubicBezTo>
                  <a:cubicBezTo>
                    <a:pt x="16" y="21"/>
                    <a:pt x="11" y="18"/>
                    <a:pt x="8" y="15"/>
                  </a:cubicBezTo>
                  <a:cubicBezTo>
                    <a:pt x="7" y="13"/>
                    <a:pt x="6" y="11"/>
                    <a:pt x="5" y="10"/>
                  </a:cubicBezTo>
                  <a:cubicBezTo>
                    <a:pt x="5" y="9"/>
                    <a:pt x="4" y="9"/>
                    <a:pt x="4" y="8"/>
                  </a:cubicBezTo>
                  <a:cubicBezTo>
                    <a:pt x="4" y="8"/>
                    <a:pt x="4" y="8"/>
                    <a:pt x="4" y="8"/>
                  </a:cubicBezTo>
                  <a:cubicBezTo>
                    <a:pt x="4" y="8"/>
                    <a:pt x="4" y="8"/>
                    <a:pt x="4" y="8"/>
                  </a:cubicBezTo>
                  <a:cubicBezTo>
                    <a:pt x="4" y="8"/>
                    <a:pt x="4" y="8"/>
                    <a:pt x="4" y="8"/>
                  </a:cubicBezTo>
                  <a:cubicBezTo>
                    <a:pt x="0" y="9"/>
                    <a:pt x="0" y="9"/>
                    <a:pt x="0" y="9"/>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4" name="Rectangle 238"/>
            <p:cNvSpPr>
              <a:spLocks noChangeArrowheads="1"/>
            </p:cNvSpPr>
            <p:nvPr userDrawn="1"/>
          </p:nvSpPr>
          <p:spPr bwMode="auto">
            <a:xfrm>
              <a:off x="2097088" y="6223000"/>
              <a:ext cx="381000" cy="14288"/>
            </a:xfrm>
            <a:prstGeom prst="rect">
              <a:avLst/>
            </a:prstGeom>
            <a:solidFill>
              <a:srgbClr val="FFAC0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65" name="Freeform 239"/>
            <p:cNvSpPr/>
            <p:nvPr userDrawn="1"/>
          </p:nvSpPr>
          <p:spPr bwMode="auto">
            <a:xfrm>
              <a:off x="2093913" y="6086475"/>
              <a:ext cx="384175" cy="136525"/>
            </a:xfrm>
            <a:custGeom>
              <a:avLst/>
              <a:gdLst>
                <a:gd name="T0" fmla="*/ 21 w 155"/>
                <a:gd name="T1" fmla="*/ 0 h 55"/>
                <a:gd name="T2" fmla="*/ 9 w 155"/>
                <a:gd name="T3" fmla="*/ 3 h 55"/>
                <a:gd name="T4" fmla="*/ 2 w 155"/>
                <a:gd name="T5" fmla="*/ 31 h 55"/>
                <a:gd name="T6" fmla="*/ 1 w 155"/>
                <a:gd name="T7" fmla="*/ 55 h 55"/>
                <a:gd name="T8" fmla="*/ 155 w 155"/>
                <a:gd name="T9" fmla="*/ 55 h 55"/>
                <a:gd name="T10" fmla="*/ 108 w 155"/>
                <a:gd name="T11" fmla="*/ 19 h 55"/>
                <a:gd name="T12" fmla="*/ 87 w 155"/>
                <a:gd name="T13" fmla="*/ 4 h 55"/>
                <a:gd name="T14" fmla="*/ 21 w 155"/>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55">
                  <a:moveTo>
                    <a:pt x="21" y="0"/>
                  </a:moveTo>
                  <a:cubicBezTo>
                    <a:pt x="9" y="3"/>
                    <a:pt x="9" y="3"/>
                    <a:pt x="9" y="3"/>
                  </a:cubicBezTo>
                  <a:cubicBezTo>
                    <a:pt x="9" y="3"/>
                    <a:pt x="4" y="20"/>
                    <a:pt x="2" y="31"/>
                  </a:cubicBezTo>
                  <a:cubicBezTo>
                    <a:pt x="0" y="43"/>
                    <a:pt x="1" y="55"/>
                    <a:pt x="1" y="55"/>
                  </a:cubicBezTo>
                  <a:cubicBezTo>
                    <a:pt x="155" y="55"/>
                    <a:pt x="155" y="55"/>
                    <a:pt x="155" y="55"/>
                  </a:cubicBezTo>
                  <a:cubicBezTo>
                    <a:pt x="155" y="55"/>
                    <a:pt x="148" y="36"/>
                    <a:pt x="108" y="19"/>
                  </a:cubicBezTo>
                  <a:cubicBezTo>
                    <a:pt x="93" y="13"/>
                    <a:pt x="87" y="4"/>
                    <a:pt x="87" y="4"/>
                  </a:cubicBezTo>
                  <a:lnTo>
                    <a:pt x="21" y="0"/>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6" name="Freeform 240"/>
            <p:cNvSpPr/>
            <p:nvPr userDrawn="1"/>
          </p:nvSpPr>
          <p:spPr bwMode="auto">
            <a:xfrm>
              <a:off x="2093913" y="5899150"/>
              <a:ext cx="215900" cy="214313"/>
            </a:xfrm>
            <a:custGeom>
              <a:avLst/>
              <a:gdLst>
                <a:gd name="T0" fmla="*/ 0 w 87"/>
                <a:gd name="T1" fmla="*/ 31 h 87"/>
                <a:gd name="T2" fmla="*/ 9 w 87"/>
                <a:gd name="T3" fmla="*/ 79 h 87"/>
                <a:gd name="T4" fmla="*/ 40 w 87"/>
                <a:gd name="T5" fmla="*/ 87 h 87"/>
                <a:gd name="T6" fmla="*/ 87 w 87"/>
                <a:gd name="T7" fmla="*/ 80 h 87"/>
                <a:gd name="T8" fmla="*/ 86 w 87"/>
                <a:gd name="T9" fmla="*/ 0 h 87"/>
              </a:gdLst>
              <a:ahLst/>
              <a:cxnLst>
                <a:cxn ang="0">
                  <a:pos x="T0" y="T1"/>
                </a:cxn>
                <a:cxn ang="0">
                  <a:pos x="T2" y="T3"/>
                </a:cxn>
                <a:cxn ang="0">
                  <a:pos x="T4" y="T5"/>
                </a:cxn>
                <a:cxn ang="0">
                  <a:pos x="T6" y="T7"/>
                </a:cxn>
                <a:cxn ang="0">
                  <a:pos x="T8" y="T9"/>
                </a:cxn>
              </a:cxnLst>
              <a:rect l="0" t="0" r="r" b="b"/>
              <a:pathLst>
                <a:path w="87" h="87">
                  <a:moveTo>
                    <a:pt x="0" y="31"/>
                  </a:moveTo>
                  <a:cubicBezTo>
                    <a:pt x="9" y="79"/>
                    <a:pt x="9" y="79"/>
                    <a:pt x="9" y="79"/>
                  </a:cubicBezTo>
                  <a:cubicBezTo>
                    <a:pt x="9" y="79"/>
                    <a:pt x="15" y="87"/>
                    <a:pt x="40" y="87"/>
                  </a:cubicBezTo>
                  <a:cubicBezTo>
                    <a:pt x="64" y="87"/>
                    <a:pt x="87" y="80"/>
                    <a:pt x="87" y="80"/>
                  </a:cubicBezTo>
                  <a:cubicBezTo>
                    <a:pt x="86" y="0"/>
                    <a:pt x="86" y="0"/>
                    <a:pt x="86" y="0"/>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7" name="Freeform 241"/>
            <p:cNvSpPr/>
            <p:nvPr userDrawn="1"/>
          </p:nvSpPr>
          <p:spPr bwMode="auto">
            <a:xfrm>
              <a:off x="1665288" y="4667250"/>
              <a:ext cx="723900" cy="1382713"/>
            </a:xfrm>
            <a:custGeom>
              <a:avLst/>
              <a:gdLst>
                <a:gd name="T0" fmla="*/ 0 w 292"/>
                <a:gd name="T1" fmla="*/ 46 h 558"/>
                <a:gd name="T2" fmla="*/ 46 w 292"/>
                <a:gd name="T3" fmla="*/ 123 h 558"/>
                <a:gd name="T4" fmla="*/ 129 w 292"/>
                <a:gd name="T5" fmla="*/ 341 h 558"/>
                <a:gd name="T6" fmla="*/ 169 w 292"/>
                <a:gd name="T7" fmla="*/ 557 h 558"/>
                <a:gd name="T8" fmla="*/ 292 w 292"/>
                <a:gd name="T9" fmla="*/ 558 h 558"/>
                <a:gd name="T10" fmla="*/ 255 w 292"/>
                <a:gd name="T11" fmla="*/ 287 h 558"/>
                <a:gd name="T12" fmla="*/ 183 w 292"/>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292" h="558">
                  <a:moveTo>
                    <a:pt x="0" y="46"/>
                  </a:moveTo>
                  <a:cubicBezTo>
                    <a:pt x="10" y="81"/>
                    <a:pt x="46" y="123"/>
                    <a:pt x="46" y="123"/>
                  </a:cubicBezTo>
                  <a:cubicBezTo>
                    <a:pt x="129" y="341"/>
                    <a:pt x="129" y="341"/>
                    <a:pt x="129" y="341"/>
                  </a:cubicBezTo>
                  <a:cubicBezTo>
                    <a:pt x="169" y="557"/>
                    <a:pt x="169" y="557"/>
                    <a:pt x="169" y="557"/>
                  </a:cubicBezTo>
                  <a:cubicBezTo>
                    <a:pt x="292" y="558"/>
                    <a:pt x="292" y="558"/>
                    <a:pt x="292" y="558"/>
                  </a:cubicBezTo>
                  <a:cubicBezTo>
                    <a:pt x="292" y="558"/>
                    <a:pt x="267" y="351"/>
                    <a:pt x="255" y="287"/>
                  </a:cubicBezTo>
                  <a:cubicBezTo>
                    <a:pt x="237" y="194"/>
                    <a:pt x="183" y="0"/>
                    <a:pt x="183" y="0"/>
                  </a:cubicBezTo>
                </a:path>
              </a:pathLst>
            </a:custGeom>
            <a:solidFill>
              <a:srgbClr val="162F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8" name="Rectangle 242"/>
            <p:cNvSpPr>
              <a:spLocks noChangeArrowheads="1"/>
            </p:cNvSpPr>
            <p:nvPr userDrawn="1"/>
          </p:nvSpPr>
          <p:spPr bwMode="auto">
            <a:xfrm>
              <a:off x="1377950" y="6223000"/>
              <a:ext cx="379413" cy="14288"/>
            </a:xfrm>
            <a:prstGeom prst="rect">
              <a:avLst/>
            </a:prstGeom>
            <a:solidFill>
              <a:srgbClr val="FFAC0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69" name="Freeform 243"/>
            <p:cNvSpPr/>
            <p:nvPr userDrawn="1"/>
          </p:nvSpPr>
          <p:spPr bwMode="auto">
            <a:xfrm>
              <a:off x="1377950" y="6086475"/>
              <a:ext cx="379413" cy="136525"/>
            </a:xfrm>
            <a:custGeom>
              <a:avLst/>
              <a:gdLst>
                <a:gd name="T0" fmla="*/ 28 w 153"/>
                <a:gd name="T1" fmla="*/ 0 h 55"/>
                <a:gd name="T2" fmla="*/ 15 w 153"/>
                <a:gd name="T3" fmla="*/ 3 h 55"/>
                <a:gd name="T4" fmla="*/ 5 w 153"/>
                <a:gd name="T5" fmla="*/ 30 h 55"/>
                <a:gd name="T6" fmla="*/ 0 w 153"/>
                <a:gd name="T7" fmla="*/ 55 h 55"/>
                <a:gd name="T8" fmla="*/ 153 w 153"/>
                <a:gd name="T9" fmla="*/ 55 h 55"/>
                <a:gd name="T10" fmla="*/ 114 w 153"/>
                <a:gd name="T11" fmla="*/ 21 h 55"/>
                <a:gd name="T12" fmla="*/ 94 w 153"/>
                <a:gd name="T13" fmla="*/ 4 h 55"/>
                <a:gd name="T14" fmla="*/ 28 w 153"/>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55">
                  <a:moveTo>
                    <a:pt x="28" y="0"/>
                  </a:moveTo>
                  <a:cubicBezTo>
                    <a:pt x="15" y="3"/>
                    <a:pt x="15" y="3"/>
                    <a:pt x="15" y="3"/>
                  </a:cubicBezTo>
                  <a:cubicBezTo>
                    <a:pt x="15" y="3"/>
                    <a:pt x="7" y="20"/>
                    <a:pt x="5" y="30"/>
                  </a:cubicBezTo>
                  <a:cubicBezTo>
                    <a:pt x="1" y="42"/>
                    <a:pt x="0" y="55"/>
                    <a:pt x="0" y="55"/>
                  </a:cubicBezTo>
                  <a:cubicBezTo>
                    <a:pt x="153" y="55"/>
                    <a:pt x="153" y="55"/>
                    <a:pt x="153" y="55"/>
                  </a:cubicBezTo>
                  <a:cubicBezTo>
                    <a:pt x="153" y="55"/>
                    <a:pt x="149" y="42"/>
                    <a:pt x="114" y="21"/>
                  </a:cubicBezTo>
                  <a:cubicBezTo>
                    <a:pt x="100" y="13"/>
                    <a:pt x="94" y="4"/>
                    <a:pt x="94" y="4"/>
                  </a:cubicBezTo>
                  <a:lnTo>
                    <a:pt x="28" y="0"/>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0" name="Freeform 244"/>
            <p:cNvSpPr/>
            <p:nvPr userDrawn="1"/>
          </p:nvSpPr>
          <p:spPr bwMode="auto">
            <a:xfrm>
              <a:off x="1414463" y="5916613"/>
              <a:ext cx="265113" cy="196850"/>
            </a:xfrm>
            <a:custGeom>
              <a:avLst/>
              <a:gdLst>
                <a:gd name="T0" fmla="*/ 21 w 107"/>
                <a:gd name="T1" fmla="*/ 7 h 80"/>
                <a:gd name="T2" fmla="*/ 0 w 107"/>
                <a:gd name="T3" fmla="*/ 72 h 80"/>
                <a:gd name="T4" fmla="*/ 31 w 107"/>
                <a:gd name="T5" fmla="*/ 80 h 80"/>
                <a:gd name="T6" fmla="*/ 79 w 107"/>
                <a:gd name="T7" fmla="*/ 73 h 80"/>
                <a:gd name="T8" fmla="*/ 107 w 107"/>
                <a:gd name="T9" fmla="*/ 0 h 80"/>
              </a:gdLst>
              <a:ahLst/>
              <a:cxnLst>
                <a:cxn ang="0">
                  <a:pos x="T0" y="T1"/>
                </a:cxn>
                <a:cxn ang="0">
                  <a:pos x="T2" y="T3"/>
                </a:cxn>
                <a:cxn ang="0">
                  <a:pos x="T4" y="T5"/>
                </a:cxn>
                <a:cxn ang="0">
                  <a:pos x="T6" y="T7"/>
                </a:cxn>
                <a:cxn ang="0">
                  <a:pos x="T8" y="T9"/>
                </a:cxn>
              </a:cxnLst>
              <a:rect l="0" t="0" r="r" b="b"/>
              <a:pathLst>
                <a:path w="107" h="80">
                  <a:moveTo>
                    <a:pt x="21" y="7"/>
                  </a:moveTo>
                  <a:cubicBezTo>
                    <a:pt x="0" y="72"/>
                    <a:pt x="0" y="72"/>
                    <a:pt x="0" y="72"/>
                  </a:cubicBezTo>
                  <a:cubicBezTo>
                    <a:pt x="0" y="72"/>
                    <a:pt x="6" y="80"/>
                    <a:pt x="31" y="80"/>
                  </a:cubicBezTo>
                  <a:cubicBezTo>
                    <a:pt x="56" y="80"/>
                    <a:pt x="79" y="73"/>
                    <a:pt x="79" y="73"/>
                  </a:cubicBezTo>
                  <a:cubicBezTo>
                    <a:pt x="107" y="0"/>
                    <a:pt x="107" y="0"/>
                    <a:pt x="107" y="0"/>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1" name="Freeform 245"/>
            <p:cNvSpPr/>
            <p:nvPr userDrawn="1"/>
          </p:nvSpPr>
          <p:spPr bwMode="auto">
            <a:xfrm>
              <a:off x="1377950" y="4684713"/>
              <a:ext cx="663575" cy="1365250"/>
            </a:xfrm>
            <a:custGeom>
              <a:avLst/>
              <a:gdLst>
                <a:gd name="T0" fmla="*/ 89 w 268"/>
                <a:gd name="T1" fmla="*/ 50 h 551"/>
                <a:gd name="T2" fmla="*/ 91 w 268"/>
                <a:gd name="T3" fmla="*/ 129 h 551"/>
                <a:gd name="T4" fmla="*/ 68 w 268"/>
                <a:gd name="T5" fmla="*/ 288 h 551"/>
                <a:gd name="T6" fmla="*/ 0 w 268"/>
                <a:gd name="T7" fmla="*/ 549 h 551"/>
                <a:gd name="T8" fmla="*/ 134 w 268"/>
                <a:gd name="T9" fmla="*/ 551 h 551"/>
                <a:gd name="T10" fmla="*/ 219 w 268"/>
                <a:gd name="T11" fmla="*/ 318 h 551"/>
                <a:gd name="T12" fmla="*/ 268 w 268"/>
                <a:gd name="T13" fmla="*/ 0 h 551"/>
              </a:gdLst>
              <a:ahLst/>
              <a:cxnLst>
                <a:cxn ang="0">
                  <a:pos x="T0" y="T1"/>
                </a:cxn>
                <a:cxn ang="0">
                  <a:pos x="T2" y="T3"/>
                </a:cxn>
                <a:cxn ang="0">
                  <a:pos x="T4" y="T5"/>
                </a:cxn>
                <a:cxn ang="0">
                  <a:pos x="T6" y="T7"/>
                </a:cxn>
                <a:cxn ang="0">
                  <a:pos x="T8" y="T9"/>
                </a:cxn>
                <a:cxn ang="0">
                  <a:pos x="T10" y="T11"/>
                </a:cxn>
                <a:cxn ang="0">
                  <a:pos x="T12" y="T13"/>
                </a:cxn>
              </a:cxnLst>
              <a:rect l="0" t="0" r="r" b="b"/>
              <a:pathLst>
                <a:path w="268" h="551">
                  <a:moveTo>
                    <a:pt x="89" y="50"/>
                  </a:moveTo>
                  <a:cubicBezTo>
                    <a:pt x="76" y="90"/>
                    <a:pt x="91" y="129"/>
                    <a:pt x="91" y="129"/>
                  </a:cubicBezTo>
                  <a:cubicBezTo>
                    <a:pt x="68" y="288"/>
                    <a:pt x="68" y="288"/>
                    <a:pt x="68" y="288"/>
                  </a:cubicBezTo>
                  <a:cubicBezTo>
                    <a:pt x="0" y="549"/>
                    <a:pt x="0" y="549"/>
                    <a:pt x="0" y="549"/>
                  </a:cubicBezTo>
                  <a:cubicBezTo>
                    <a:pt x="134" y="551"/>
                    <a:pt x="134" y="551"/>
                    <a:pt x="134" y="551"/>
                  </a:cubicBezTo>
                  <a:cubicBezTo>
                    <a:pt x="134" y="551"/>
                    <a:pt x="193" y="384"/>
                    <a:pt x="219" y="318"/>
                  </a:cubicBezTo>
                  <a:cubicBezTo>
                    <a:pt x="251" y="238"/>
                    <a:pt x="268" y="0"/>
                    <a:pt x="268" y="0"/>
                  </a:cubicBezTo>
                </a:path>
              </a:pathLst>
            </a:custGeom>
            <a:solidFill>
              <a:srgbClr val="103B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2" name="Freeform 246"/>
            <p:cNvSpPr/>
            <p:nvPr userDrawn="1"/>
          </p:nvSpPr>
          <p:spPr bwMode="auto">
            <a:xfrm>
              <a:off x="1938338" y="4852988"/>
              <a:ext cx="101600" cy="549275"/>
            </a:xfrm>
            <a:custGeom>
              <a:avLst/>
              <a:gdLst>
                <a:gd name="T0" fmla="*/ 37 w 41"/>
                <a:gd name="T1" fmla="*/ 0 h 222"/>
                <a:gd name="T2" fmla="*/ 0 w 41"/>
                <a:gd name="T3" fmla="*/ 221 h 222"/>
                <a:gd name="T4" fmla="*/ 4 w 41"/>
                <a:gd name="T5" fmla="*/ 222 h 222"/>
                <a:gd name="T6" fmla="*/ 41 w 41"/>
                <a:gd name="T7" fmla="*/ 1 h 222"/>
                <a:gd name="T8" fmla="*/ 37 w 41"/>
                <a:gd name="T9" fmla="*/ 0 h 222"/>
              </a:gdLst>
              <a:ahLst/>
              <a:cxnLst>
                <a:cxn ang="0">
                  <a:pos x="T0" y="T1"/>
                </a:cxn>
                <a:cxn ang="0">
                  <a:pos x="T2" y="T3"/>
                </a:cxn>
                <a:cxn ang="0">
                  <a:pos x="T4" y="T5"/>
                </a:cxn>
                <a:cxn ang="0">
                  <a:pos x="T6" y="T7"/>
                </a:cxn>
                <a:cxn ang="0">
                  <a:pos x="T8" y="T9"/>
                </a:cxn>
              </a:cxnLst>
              <a:rect l="0" t="0" r="r" b="b"/>
              <a:pathLst>
                <a:path w="41" h="222">
                  <a:moveTo>
                    <a:pt x="37" y="0"/>
                  </a:moveTo>
                  <a:cubicBezTo>
                    <a:pt x="29" y="82"/>
                    <a:pt x="9" y="185"/>
                    <a:pt x="0" y="221"/>
                  </a:cubicBezTo>
                  <a:cubicBezTo>
                    <a:pt x="4" y="222"/>
                    <a:pt x="4" y="222"/>
                    <a:pt x="4" y="222"/>
                  </a:cubicBezTo>
                  <a:cubicBezTo>
                    <a:pt x="13" y="186"/>
                    <a:pt x="32" y="82"/>
                    <a:pt x="41" y="1"/>
                  </a:cubicBezTo>
                  <a:cubicBezTo>
                    <a:pt x="37" y="0"/>
                    <a:pt x="37" y="0"/>
                    <a:pt x="37" y="0"/>
                  </a:cubicBezTo>
                  <a:close/>
                </a:path>
              </a:pathLst>
            </a:custGeom>
            <a:solidFill>
              <a:srgbClr val="025FB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3" name="Freeform 247"/>
            <p:cNvSpPr/>
            <p:nvPr userDrawn="1"/>
          </p:nvSpPr>
          <p:spPr bwMode="auto">
            <a:xfrm>
              <a:off x="2019300" y="4843463"/>
              <a:ext cx="68263" cy="142875"/>
            </a:xfrm>
            <a:custGeom>
              <a:avLst/>
              <a:gdLst>
                <a:gd name="T0" fmla="*/ 0 w 27"/>
                <a:gd name="T1" fmla="*/ 58 h 58"/>
                <a:gd name="T2" fmla="*/ 0 w 27"/>
                <a:gd name="T3" fmla="*/ 58 h 58"/>
                <a:gd name="T4" fmla="*/ 9 w 27"/>
                <a:gd name="T5" fmla="*/ 56 h 58"/>
                <a:gd name="T6" fmla="*/ 16 w 27"/>
                <a:gd name="T7" fmla="*/ 53 h 58"/>
                <a:gd name="T8" fmla="*/ 20 w 27"/>
                <a:gd name="T9" fmla="*/ 47 h 58"/>
                <a:gd name="T10" fmla="*/ 24 w 27"/>
                <a:gd name="T11" fmla="*/ 20 h 58"/>
                <a:gd name="T12" fmla="*/ 27 w 27"/>
                <a:gd name="T13" fmla="*/ 0 h 58"/>
                <a:gd name="T14" fmla="*/ 23 w 27"/>
                <a:gd name="T15" fmla="*/ 0 h 58"/>
                <a:gd name="T16" fmla="*/ 23 w 27"/>
                <a:gd name="T17" fmla="*/ 6 h 58"/>
                <a:gd name="T18" fmla="*/ 19 w 27"/>
                <a:gd name="T19" fmla="*/ 27 h 58"/>
                <a:gd name="T20" fmla="*/ 16 w 27"/>
                <a:gd name="T21" fmla="*/ 46 h 58"/>
                <a:gd name="T22" fmla="*/ 13 w 27"/>
                <a:gd name="T23" fmla="*/ 50 h 58"/>
                <a:gd name="T24" fmla="*/ 6 w 27"/>
                <a:gd name="T25" fmla="*/ 53 h 58"/>
                <a:gd name="T26" fmla="*/ 0 w 27"/>
                <a:gd name="T27" fmla="*/ 54 h 58"/>
                <a:gd name="T28" fmla="*/ 0 w 27"/>
                <a:gd name="T29" fmla="*/ 54 h 58"/>
                <a:gd name="T30" fmla="*/ 0 w 27"/>
                <a:gd name="T3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58">
                  <a:moveTo>
                    <a:pt x="0" y="58"/>
                  </a:moveTo>
                  <a:cubicBezTo>
                    <a:pt x="0" y="58"/>
                    <a:pt x="0" y="58"/>
                    <a:pt x="0" y="58"/>
                  </a:cubicBezTo>
                  <a:cubicBezTo>
                    <a:pt x="1" y="58"/>
                    <a:pt x="5" y="58"/>
                    <a:pt x="9" y="56"/>
                  </a:cubicBezTo>
                  <a:cubicBezTo>
                    <a:pt x="12" y="56"/>
                    <a:pt x="14" y="55"/>
                    <a:pt x="16" y="53"/>
                  </a:cubicBezTo>
                  <a:cubicBezTo>
                    <a:pt x="18" y="52"/>
                    <a:pt x="19" y="50"/>
                    <a:pt x="20" y="47"/>
                  </a:cubicBezTo>
                  <a:cubicBezTo>
                    <a:pt x="21" y="42"/>
                    <a:pt x="23" y="31"/>
                    <a:pt x="24" y="20"/>
                  </a:cubicBezTo>
                  <a:cubicBezTo>
                    <a:pt x="26" y="10"/>
                    <a:pt x="27" y="0"/>
                    <a:pt x="27" y="0"/>
                  </a:cubicBezTo>
                  <a:cubicBezTo>
                    <a:pt x="23" y="0"/>
                    <a:pt x="23" y="0"/>
                    <a:pt x="23" y="0"/>
                  </a:cubicBezTo>
                  <a:cubicBezTo>
                    <a:pt x="23" y="0"/>
                    <a:pt x="23" y="2"/>
                    <a:pt x="23" y="6"/>
                  </a:cubicBezTo>
                  <a:cubicBezTo>
                    <a:pt x="22" y="11"/>
                    <a:pt x="21" y="20"/>
                    <a:pt x="19" y="27"/>
                  </a:cubicBezTo>
                  <a:cubicBezTo>
                    <a:pt x="18" y="35"/>
                    <a:pt x="17" y="43"/>
                    <a:pt x="16" y="46"/>
                  </a:cubicBezTo>
                  <a:cubicBezTo>
                    <a:pt x="16" y="48"/>
                    <a:pt x="15" y="49"/>
                    <a:pt x="13" y="50"/>
                  </a:cubicBezTo>
                  <a:cubicBezTo>
                    <a:pt x="11" y="52"/>
                    <a:pt x="8" y="53"/>
                    <a:pt x="6" y="53"/>
                  </a:cubicBezTo>
                  <a:cubicBezTo>
                    <a:pt x="3" y="54"/>
                    <a:pt x="1" y="54"/>
                    <a:pt x="0" y="54"/>
                  </a:cubicBezTo>
                  <a:cubicBezTo>
                    <a:pt x="0" y="54"/>
                    <a:pt x="0" y="54"/>
                    <a:pt x="0" y="54"/>
                  </a:cubicBezTo>
                  <a:cubicBezTo>
                    <a:pt x="0" y="58"/>
                    <a:pt x="0" y="58"/>
                    <a:pt x="0" y="58"/>
                  </a:cubicBezTo>
                  <a:close/>
                </a:path>
              </a:pathLst>
            </a:custGeom>
            <a:solidFill>
              <a:srgbClr val="025FB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4" name="Freeform 248"/>
            <p:cNvSpPr/>
            <p:nvPr userDrawn="1"/>
          </p:nvSpPr>
          <p:spPr bwMode="auto">
            <a:xfrm>
              <a:off x="1962150" y="5289550"/>
              <a:ext cx="184150" cy="755650"/>
            </a:xfrm>
            <a:custGeom>
              <a:avLst/>
              <a:gdLst>
                <a:gd name="T0" fmla="*/ 0 w 74"/>
                <a:gd name="T1" fmla="*/ 1 h 305"/>
                <a:gd name="T2" fmla="*/ 30 w 74"/>
                <a:gd name="T3" fmla="*/ 82 h 305"/>
                <a:gd name="T4" fmla="*/ 31 w 74"/>
                <a:gd name="T5" fmla="*/ 86 h 305"/>
                <a:gd name="T6" fmla="*/ 70 w 74"/>
                <a:gd name="T7" fmla="*/ 305 h 305"/>
                <a:gd name="T8" fmla="*/ 74 w 74"/>
                <a:gd name="T9" fmla="*/ 304 h 305"/>
                <a:gd name="T10" fmla="*/ 35 w 74"/>
                <a:gd name="T11" fmla="*/ 86 h 305"/>
                <a:gd name="T12" fmla="*/ 33 w 74"/>
                <a:gd name="T13" fmla="*/ 81 h 305"/>
                <a:gd name="T14" fmla="*/ 4 w 74"/>
                <a:gd name="T15" fmla="*/ 0 h 305"/>
                <a:gd name="T16" fmla="*/ 0 w 74"/>
                <a:gd name="T17" fmla="*/ 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05">
                  <a:moveTo>
                    <a:pt x="0" y="1"/>
                  </a:moveTo>
                  <a:cubicBezTo>
                    <a:pt x="30" y="82"/>
                    <a:pt x="30" y="82"/>
                    <a:pt x="30" y="82"/>
                  </a:cubicBezTo>
                  <a:cubicBezTo>
                    <a:pt x="30" y="83"/>
                    <a:pt x="31" y="85"/>
                    <a:pt x="31" y="86"/>
                  </a:cubicBezTo>
                  <a:cubicBezTo>
                    <a:pt x="70" y="305"/>
                    <a:pt x="70" y="305"/>
                    <a:pt x="70" y="305"/>
                  </a:cubicBezTo>
                  <a:cubicBezTo>
                    <a:pt x="74" y="304"/>
                    <a:pt x="74" y="304"/>
                    <a:pt x="74" y="304"/>
                  </a:cubicBezTo>
                  <a:cubicBezTo>
                    <a:pt x="35" y="86"/>
                    <a:pt x="35" y="86"/>
                    <a:pt x="35" y="86"/>
                  </a:cubicBezTo>
                  <a:cubicBezTo>
                    <a:pt x="34" y="84"/>
                    <a:pt x="34" y="82"/>
                    <a:pt x="33" y="81"/>
                  </a:cubicBezTo>
                  <a:cubicBezTo>
                    <a:pt x="4" y="0"/>
                    <a:pt x="4" y="0"/>
                    <a:pt x="4" y="0"/>
                  </a:cubicBezTo>
                  <a:cubicBezTo>
                    <a:pt x="0" y="1"/>
                    <a:pt x="0" y="1"/>
                    <a:pt x="0" y="1"/>
                  </a:cubicBezTo>
                  <a:close/>
                </a:path>
              </a:pathLst>
            </a:custGeom>
            <a:solidFill>
              <a:srgbClr val="025FB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5" name="Freeform 249"/>
            <p:cNvSpPr/>
            <p:nvPr userDrawn="1"/>
          </p:nvSpPr>
          <p:spPr bwMode="auto">
            <a:xfrm>
              <a:off x="1430338" y="4830763"/>
              <a:ext cx="238125" cy="1214438"/>
            </a:xfrm>
            <a:custGeom>
              <a:avLst/>
              <a:gdLst>
                <a:gd name="T0" fmla="*/ 3 w 96"/>
                <a:gd name="T1" fmla="*/ 490 h 490"/>
                <a:gd name="T2" fmla="*/ 74 w 96"/>
                <a:gd name="T3" fmla="*/ 229 h 490"/>
                <a:gd name="T4" fmla="*/ 74 w 96"/>
                <a:gd name="T5" fmla="*/ 229 h 490"/>
                <a:gd name="T6" fmla="*/ 96 w 96"/>
                <a:gd name="T7" fmla="*/ 76 h 490"/>
                <a:gd name="T8" fmla="*/ 96 w 96"/>
                <a:gd name="T9" fmla="*/ 72 h 490"/>
                <a:gd name="T10" fmla="*/ 95 w 96"/>
                <a:gd name="T11" fmla="*/ 63 h 490"/>
                <a:gd name="T12" fmla="*/ 87 w 96"/>
                <a:gd name="T13" fmla="*/ 25 h 490"/>
                <a:gd name="T14" fmla="*/ 92 w 96"/>
                <a:gd name="T15" fmla="*/ 2 h 490"/>
                <a:gd name="T16" fmla="*/ 88 w 96"/>
                <a:gd name="T17" fmla="*/ 0 h 490"/>
                <a:gd name="T18" fmla="*/ 83 w 96"/>
                <a:gd name="T19" fmla="*/ 25 h 490"/>
                <a:gd name="T20" fmla="*/ 91 w 96"/>
                <a:gd name="T21" fmla="*/ 64 h 490"/>
                <a:gd name="T22" fmla="*/ 92 w 96"/>
                <a:gd name="T23" fmla="*/ 72 h 490"/>
                <a:gd name="T24" fmla="*/ 92 w 96"/>
                <a:gd name="T25" fmla="*/ 76 h 490"/>
                <a:gd name="T26" fmla="*/ 71 w 96"/>
                <a:gd name="T27" fmla="*/ 229 h 490"/>
                <a:gd name="T28" fmla="*/ 0 w 96"/>
                <a:gd name="T29" fmla="*/ 489 h 490"/>
                <a:gd name="T30" fmla="*/ 3 w 96"/>
                <a:gd name="T31" fmla="*/ 49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90">
                  <a:moveTo>
                    <a:pt x="3" y="490"/>
                  </a:moveTo>
                  <a:cubicBezTo>
                    <a:pt x="74" y="229"/>
                    <a:pt x="74" y="229"/>
                    <a:pt x="74" y="229"/>
                  </a:cubicBezTo>
                  <a:cubicBezTo>
                    <a:pt x="74" y="229"/>
                    <a:pt x="74" y="229"/>
                    <a:pt x="74" y="229"/>
                  </a:cubicBezTo>
                  <a:cubicBezTo>
                    <a:pt x="96" y="76"/>
                    <a:pt x="96" y="76"/>
                    <a:pt x="96" y="76"/>
                  </a:cubicBezTo>
                  <a:cubicBezTo>
                    <a:pt x="96" y="75"/>
                    <a:pt x="96" y="74"/>
                    <a:pt x="96" y="72"/>
                  </a:cubicBezTo>
                  <a:cubicBezTo>
                    <a:pt x="96" y="69"/>
                    <a:pt x="96" y="66"/>
                    <a:pt x="95" y="63"/>
                  </a:cubicBezTo>
                  <a:cubicBezTo>
                    <a:pt x="92" y="55"/>
                    <a:pt x="87" y="40"/>
                    <a:pt x="87" y="25"/>
                  </a:cubicBezTo>
                  <a:cubicBezTo>
                    <a:pt x="87" y="17"/>
                    <a:pt x="88" y="9"/>
                    <a:pt x="92" y="2"/>
                  </a:cubicBezTo>
                  <a:cubicBezTo>
                    <a:pt x="88" y="0"/>
                    <a:pt x="88" y="0"/>
                    <a:pt x="88" y="0"/>
                  </a:cubicBezTo>
                  <a:cubicBezTo>
                    <a:pt x="84" y="8"/>
                    <a:pt x="83" y="16"/>
                    <a:pt x="83" y="25"/>
                  </a:cubicBezTo>
                  <a:cubicBezTo>
                    <a:pt x="83" y="41"/>
                    <a:pt x="88" y="56"/>
                    <a:pt x="91" y="64"/>
                  </a:cubicBezTo>
                  <a:cubicBezTo>
                    <a:pt x="92" y="67"/>
                    <a:pt x="92" y="69"/>
                    <a:pt x="92" y="72"/>
                  </a:cubicBezTo>
                  <a:cubicBezTo>
                    <a:pt x="92" y="73"/>
                    <a:pt x="92" y="75"/>
                    <a:pt x="92" y="76"/>
                  </a:cubicBezTo>
                  <a:cubicBezTo>
                    <a:pt x="71" y="229"/>
                    <a:pt x="71" y="229"/>
                    <a:pt x="71" y="229"/>
                  </a:cubicBezTo>
                  <a:cubicBezTo>
                    <a:pt x="0" y="489"/>
                    <a:pt x="0" y="489"/>
                    <a:pt x="0" y="489"/>
                  </a:cubicBezTo>
                  <a:cubicBezTo>
                    <a:pt x="3" y="490"/>
                    <a:pt x="3" y="490"/>
                    <a:pt x="3" y="490"/>
                  </a:cubicBezTo>
                  <a:close/>
                </a:path>
              </a:pathLst>
            </a:custGeom>
            <a:solidFill>
              <a:srgbClr val="4378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6" name="Freeform 250"/>
            <p:cNvSpPr/>
            <p:nvPr userDrawn="1"/>
          </p:nvSpPr>
          <p:spPr bwMode="auto">
            <a:xfrm>
              <a:off x="1643063" y="4803775"/>
              <a:ext cx="155575" cy="101600"/>
            </a:xfrm>
            <a:custGeom>
              <a:avLst/>
              <a:gdLst>
                <a:gd name="T0" fmla="*/ 0 w 63"/>
                <a:gd name="T1" fmla="*/ 41 h 41"/>
                <a:gd name="T2" fmla="*/ 17 w 63"/>
                <a:gd name="T3" fmla="*/ 40 h 41"/>
                <a:gd name="T4" fmla="*/ 31 w 63"/>
                <a:gd name="T5" fmla="*/ 38 h 41"/>
                <a:gd name="T6" fmla="*/ 41 w 63"/>
                <a:gd name="T7" fmla="*/ 36 h 41"/>
                <a:gd name="T8" fmla="*/ 41 w 63"/>
                <a:gd name="T9" fmla="*/ 36 h 41"/>
                <a:gd name="T10" fmla="*/ 45 w 63"/>
                <a:gd name="T11" fmla="*/ 33 h 41"/>
                <a:gd name="T12" fmla="*/ 57 w 63"/>
                <a:gd name="T13" fmla="*/ 14 h 41"/>
                <a:gd name="T14" fmla="*/ 63 w 63"/>
                <a:gd name="T15" fmla="*/ 1 h 41"/>
                <a:gd name="T16" fmla="*/ 59 w 63"/>
                <a:gd name="T17" fmla="*/ 0 h 41"/>
                <a:gd name="T18" fmla="*/ 59 w 63"/>
                <a:gd name="T19" fmla="*/ 1 h 41"/>
                <a:gd name="T20" fmla="*/ 50 w 63"/>
                <a:gd name="T21" fmla="*/ 18 h 41"/>
                <a:gd name="T22" fmla="*/ 45 w 63"/>
                <a:gd name="T23" fmla="*/ 27 h 41"/>
                <a:gd name="T24" fmla="*/ 40 w 63"/>
                <a:gd name="T25" fmla="*/ 32 h 41"/>
                <a:gd name="T26" fmla="*/ 40 w 63"/>
                <a:gd name="T27" fmla="*/ 32 h 41"/>
                <a:gd name="T28" fmla="*/ 30 w 63"/>
                <a:gd name="T29" fmla="*/ 34 h 41"/>
                <a:gd name="T30" fmla="*/ 10 w 63"/>
                <a:gd name="T31" fmla="*/ 36 h 41"/>
                <a:gd name="T32" fmla="*/ 0 w 63"/>
                <a:gd name="T33" fmla="*/ 37 h 41"/>
                <a:gd name="T34" fmla="*/ 0 w 63"/>
                <a:gd name="T3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41">
                  <a:moveTo>
                    <a:pt x="0" y="41"/>
                  </a:moveTo>
                  <a:cubicBezTo>
                    <a:pt x="0" y="41"/>
                    <a:pt x="8" y="41"/>
                    <a:pt x="17" y="40"/>
                  </a:cubicBezTo>
                  <a:cubicBezTo>
                    <a:pt x="22" y="39"/>
                    <a:pt x="26" y="39"/>
                    <a:pt x="31" y="38"/>
                  </a:cubicBezTo>
                  <a:cubicBezTo>
                    <a:pt x="35" y="37"/>
                    <a:pt x="39" y="37"/>
                    <a:pt x="41" y="36"/>
                  </a:cubicBezTo>
                  <a:cubicBezTo>
                    <a:pt x="41" y="36"/>
                    <a:pt x="41" y="36"/>
                    <a:pt x="41" y="36"/>
                  </a:cubicBezTo>
                  <a:cubicBezTo>
                    <a:pt x="43" y="35"/>
                    <a:pt x="44" y="34"/>
                    <a:pt x="45" y="33"/>
                  </a:cubicBezTo>
                  <a:cubicBezTo>
                    <a:pt x="49" y="29"/>
                    <a:pt x="54" y="21"/>
                    <a:pt x="57" y="14"/>
                  </a:cubicBezTo>
                  <a:cubicBezTo>
                    <a:pt x="60" y="7"/>
                    <a:pt x="63" y="1"/>
                    <a:pt x="63" y="1"/>
                  </a:cubicBezTo>
                  <a:cubicBezTo>
                    <a:pt x="59" y="0"/>
                    <a:pt x="59" y="0"/>
                    <a:pt x="59" y="0"/>
                  </a:cubicBezTo>
                  <a:cubicBezTo>
                    <a:pt x="59" y="0"/>
                    <a:pt x="59" y="0"/>
                    <a:pt x="59" y="1"/>
                  </a:cubicBezTo>
                  <a:cubicBezTo>
                    <a:pt x="57" y="4"/>
                    <a:pt x="54" y="11"/>
                    <a:pt x="50" y="18"/>
                  </a:cubicBezTo>
                  <a:cubicBezTo>
                    <a:pt x="49" y="21"/>
                    <a:pt x="47" y="25"/>
                    <a:pt x="45" y="27"/>
                  </a:cubicBezTo>
                  <a:cubicBezTo>
                    <a:pt x="43" y="30"/>
                    <a:pt x="41" y="32"/>
                    <a:pt x="40" y="32"/>
                  </a:cubicBezTo>
                  <a:cubicBezTo>
                    <a:pt x="40" y="32"/>
                    <a:pt x="40" y="32"/>
                    <a:pt x="40" y="32"/>
                  </a:cubicBezTo>
                  <a:cubicBezTo>
                    <a:pt x="38" y="33"/>
                    <a:pt x="34" y="33"/>
                    <a:pt x="30" y="34"/>
                  </a:cubicBezTo>
                  <a:cubicBezTo>
                    <a:pt x="24" y="35"/>
                    <a:pt x="16" y="36"/>
                    <a:pt x="10" y="36"/>
                  </a:cubicBezTo>
                  <a:cubicBezTo>
                    <a:pt x="4" y="37"/>
                    <a:pt x="0" y="37"/>
                    <a:pt x="0" y="37"/>
                  </a:cubicBezTo>
                  <a:cubicBezTo>
                    <a:pt x="0" y="41"/>
                    <a:pt x="0" y="41"/>
                    <a:pt x="0" y="41"/>
                  </a:cubicBezTo>
                  <a:close/>
                </a:path>
              </a:pathLst>
            </a:custGeom>
            <a:solidFill>
              <a:srgbClr val="4378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7" name="Rectangle 251"/>
            <p:cNvSpPr>
              <a:spLocks noChangeArrowheads="1"/>
            </p:cNvSpPr>
            <p:nvPr userDrawn="1"/>
          </p:nvSpPr>
          <p:spPr bwMode="auto">
            <a:xfrm>
              <a:off x="2070100" y="5980113"/>
              <a:ext cx="309563" cy="9525"/>
            </a:xfrm>
            <a:prstGeom prst="rect">
              <a:avLst/>
            </a:prstGeom>
            <a:solidFill>
              <a:srgbClr val="025F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78" name="Freeform 252"/>
            <p:cNvSpPr/>
            <p:nvPr userDrawn="1"/>
          </p:nvSpPr>
          <p:spPr bwMode="auto">
            <a:xfrm>
              <a:off x="2070100" y="5980113"/>
              <a:ext cx="309563" cy="9525"/>
            </a:xfrm>
            <a:custGeom>
              <a:avLst/>
              <a:gdLst>
                <a:gd name="T0" fmla="*/ 0 w 195"/>
                <a:gd name="T1" fmla="*/ 6 h 6"/>
                <a:gd name="T2" fmla="*/ 195 w 195"/>
                <a:gd name="T3" fmla="*/ 6 h 6"/>
                <a:gd name="T4" fmla="*/ 195 w 195"/>
                <a:gd name="T5" fmla="*/ 0 h 6"/>
                <a:gd name="T6" fmla="*/ 0 w 195"/>
                <a:gd name="T7" fmla="*/ 0 h 6"/>
              </a:gdLst>
              <a:ahLst/>
              <a:cxnLst>
                <a:cxn ang="0">
                  <a:pos x="T0" y="T1"/>
                </a:cxn>
                <a:cxn ang="0">
                  <a:pos x="T2" y="T3"/>
                </a:cxn>
                <a:cxn ang="0">
                  <a:pos x="T4" y="T5"/>
                </a:cxn>
                <a:cxn ang="0">
                  <a:pos x="T6" y="T7"/>
                </a:cxn>
              </a:cxnLst>
              <a:rect l="0" t="0" r="r" b="b"/>
              <a:pathLst>
                <a:path w="195" h="6">
                  <a:moveTo>
                    <a:pt x="0" y="6"/>
                  </a:moveTo>
                  <a:lnTo>
                    <a:pt x="195" y="6"/>
                  </a:lnTo>
                  <a:lnTo>
                    <a:pt x="19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9" name="Rectangle 253"/>
            <p:cNvSpPr>
              <a:spLocks noChangeArrowheads="1"/>
            </p:cNvSpPr>
            <p:nvPr userDrawn="1"/>
          </p:nvSpPr>
          <p:spPr bwMode="auto">
            <a:xfrm>
              <a:off x="1395413" y="5980113"/>
              <a:ext cx="339725" cy="9525"/>
            </a:xfrm>
            <a:prstGeom prst="rect">
              <a:avLst/>
            </a:prstGeom>
            <a:solidFill>
              <a:srgbClr val="4378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80" name="Freeform 254"/>
            <p:cNvSpPr/>
            <p:nvPr userDrawn="1"/>
          </p:nvSpPr>
          <p:spPr bwMode="auto">
            <a:xfrm>
              <a:off x="1395413" y="5980113"/>
              <a:ext cx="339725" cy="9525"/>
            </a:xfrm>
            <a:custGeom>
              <a:avLst/>
              <a:gdLst>
                <a:gd name="T0" fmla="*/ 0 w 214"/>
                <a:gd name="T1" fmla="*/ 6 h 6"/>
                <a:gd name="T2" fmla="*/ 214 w 214"/>
                <a:gd name="T3" fmla="*/ 6 h 6"/>
                <a:gd name="T4" fmla="*/ 214 w 214"/>
                <a:gd name="T5" fmla="*/ 0 h 6"/>
                <a:gd name="T6" fmla="*/ 0 w 214"/>
                <a:gd name="T7" fmla="*/ 0 h 6"/>
              </a:gdLst>
              <a:ahLst/>
              <a:cxnLst>
                <a:cxn ang="0">
                  <a:pos x="T0" y="T1"/>
                </a:cxn>
                <a:cxn ang="0">
                  <a:pos x="T2" y="T3"/>
                </a:cxn>
                <a:cxn ang="0">
                  <a:pos x="T4" y="T5"/>
                </a:cxn>
                <a:cxn ang="0">
                  <a:pos x="T6" y="T7"/>
                </a:cxn>
              </a:cxnLst>
              <a:rect l="0" t="0" r="r" b="b"/>
              <a:pathLst>
                <a:path w="214" h="6">
                  <a:moveTo>
                    <a:pt x="0" y="6"/>
                  </a:moveTo>
                  <a:lnTo>
                    <a:pt x="214" y="6"/>
                  </a:lnTo>
                  <a:lnTo>
                    <a:pt x="2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1" name="Freeform 255"/>
            <p:cNvSpPr/>
            <p:nvPr userDrawn="1"/>
          </p:nvSpPr>
          <p:spPr bwMode="auto">
            <a:xfrm>
              <a:off x="1546225" y="4013200"/>
              <a:ext cx="654050" cy="841375"/>
            </a:xfrm>
            <a:custGeom>
              <a:avLst/>
              <a:gdLst>
                <a:gd name="T0" fmla="*/ 149 w 264"/>
                <a:gd name="T1" fmla="*/ 0 h 340"/>
                <a:gd name="T2" fmla="*/ 48 w 264"/>
                <a:gd name="T3" fmla="*/ 95 h 340"/>
                <a:gd name="T4" fmla="*/ 0 w 264"/>
                <a:gd name="T5" fmla="*/ 340 h 340"/>
                <a:gd name="T6" fmla="*/ 264 w 264"/>
                <a:gd name="T7" fmla="*/ 340 h 340"/>
                <a:gd name="T8" fmla="*/ 241 w 264"/>
                <a:gd name="T9" fmla="*/ 82 h 340"/>
                <a:gd name="T10" fmla="*/ 188 w 264"/>
                <a:gd name="T11" fmla="*/ 2 h 340"/>
                <a:gd name="T12" fmla="*/ 149 w 264"/>
                <a:gd name="T13" fmla="*/ 0 h 340"/>
              </a:gdLst>
              <a:ahLst/>
              <a:cxnLst>
                <a:cxn ang="0">
                  <a:pos x="T0" y="T1"/>
                </a:cxn>
                <a:cxn ang="0">
                  <a:pos x="T2" y="T3"/>
                </a:cxn>
                <a:cxn ang="0">
                  <a:pos x="T4" y="T5"/>
                </a:cxn>
                <a:cxn ang="0">
                  <a:pos x="T6" y="T7"/>
                </a:cxn>
                <a:cxn ang="0">
                  <a:pos x="T8" y="T9"/>
                </a:cxn>
                <a:cxn ang="0">
                  <a:pos x="T10" y="T11"/>
                </a:cxn>
                <a:cxn ang="0">
                  <a:pos x="T12" y="T13"/>
                </a:cxn>
              </a:cxnLst>
              <a:rect l="0" t="0" r="r" b="b"/>
              <a:pathLst>
                <a:path w="264" h="340">
                  <a:moveTo>
                    <a:pt x="149" y="0"/>
                  </a:moveTo>
                  <a:cubicBezTo>
                    <a:pt x="149" y="0"/>
                    <a:pt x="83" y="2"/>
                    <a:pt x="48" y="95"/>
                  </a:cubicBezTo>
                  <a:cubicBezTo>
                    <a:pt x="19" y="173"/>
                    <a:pt x="0" y="340"/>
                    <a:pt x="0" y="340"/>
                  </a:cubicBezTo>
                  <a:cubicBezTo>
                    <a:pt x="264" y="340"/>
                    <a:pt x="264" y="340"/>
                    <a:pt x="264" y="340"/>
                  </a:cubicBezTo>
                  <a:cubicBezTo>
                    <a:pt x="264" y="340"/>
                    <a:pt x="262" y="151"/>
                    <a:pt x="241" y="82"/>
                  </a:cubicBezTo>
                  <a:cubicBezTo>
                    <a:pt x="221" y="16"/>
                    <a:pt x="188" y="2"/>
                    <a:pt x="188" y="2"/>
                  </a:cubicBezTo>
                  <a:lnTo>
                    <a:pt x="149" y="0"/>
                  </a:lnTo>
                  <a:close/>
                </a:path>
              </a:pathLst>
            </a:custGeom>
            <a:solidFill>
              <a:srgbClr val="FFAC0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2" name="Freeform 256"/>
            <p:cNvSpPr/>
            <p:nvPr userDrawn="1"/>
          </p:nvSpPr>
          <p:spPr bwMode="auto">
            <a:xfrm>
              <a:off x="2520950" y="4381500"/>
              <a:ext cx="177800" cy="146050"/>
            </a:xfrm>
            <a:custGeom>
              <a:avLst/>
              <a:gdLst>
                <a:gd name="T0" fmla="*/ 0 w 72"/>
                <a:gd name="T1" fmla="*/ 22 h 59"/>
                <a:gd name="T2" fmla="*/ 51 w 72"/>
                <a:gd name="T3" fmla="*/ 2 h 59"/>
                <a:gd name="T4" fmla="*/ 42 w 72"/>
                <a:gd name="T5" fmla="*/ 12 h 59"/>
                <a:gd name="T6" fmla="*/ 66 w 72"/>
                <a:gd name="T7" fmla="*/ 7 h 59"/>
                <a:gd name="T8" fmla="*/ 47 w 72"/>
                <a:gd name="T9" fmla="*/ 18 h 59"/>
                <a:gd name="T10" fmla="*/ 72 w 72"/>
                <a:gd name="T11" fmla="*/ 15 h 59"/>
                <a:gd name="T12" fmla="*/ 48 w 72"/>
                <a:gd name="T13" fmla="*/ 27 h 59"/>
                <a:gd name="T14" fmla="*/ 69 w 72"/>
                <a:gd name="T15" fmla="*/ 24 h 59"/>
                <a:gd name="T16" fmla="*/ 48 w 72"/>
                <a:gd name="T17" fmla="*/ 35 h 59"/>
                <a:gd name="T18" fmla="*/ 66 w 72"/>
                <a:gd name="T19" fmla="*/ 32 h 59"/>
                <a:gd name="T20" fmla="*/ 10 w 72"/>
                <a:gd name="T2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9">
                  <a:moveTo>
                    <a:pt x="0" y="22"/>
                  </a:moveTo>
                  <a:cubicBezTo>
                    <a:pt x="13" y="18"/>
                    <a:pt x="49" y="0"/>
                    <a:pt x="51" y="2"/>
                  </a:cubicBezTo>
                  <a:cubicBezTo>
                    <a:pt x="53" y="4"/>
                    <a:pt x="40" y="11"/>
                    <a:pt x="42" y="12"/>
                  </a:cubicBezTo>
                  <a:cubicBezTo>
                    <a:pt x="44" y="13"/>
                    <a:pt x="65" y="5"/>
                    <a:pt x="66" y="7"/>
                  </a:cubicBezTo>
                  <a:cubicBezTo>
                    <a:pt x="68" y="11"/>
                    <a:pt x="47" y="18"/>
                    <a:pt x="47" y="18"/>
                  </a:cubicBezTo>
                  <a:cubicBezTo>
                    <a:pt x="47" y="18"/>
                    <a:pt x="71" y="11"/>
                    <a:pt x="72" y="15"/>
                  </a:cubicBezTo>
                  <a:cubicBezTo>
                    <a:pt x="72" y="17"/>
                    <a:pt x="54" y="23"/>
                    <a:pt x="48" y="27"/>
                  </a:cubicBezTo>
                  <a:cubicBezTo>
                    <a:pt x="55" y="24"/>
                    <a:pt x="68" y="21"/>
                    <a:pt x="69" y="24"/>
                  </a:cubicBezTo>
                  <a:cubicBezTo>
                    <a:pt x="69" y="26"/>
                    <a:pt x="57" y="31"/>
                    <a:pt x="48" y="35"/>
                  </a:cubicBezTo>
                  <a:cubicBezTo>
                    <a:pt x="54" y="33"/>
                    <a:pt x="65" y="30"/>
                    <a:pt x="66" y="32"/>
                  </a:cubicBezTo>
                  <a:cubicBezTo>
                    <a:pt x="66" y="35"/>
                    <a:pt x="38" y="48"/>
                    <a:pt x="10" y="59"/>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3" name="Freeform 257"/>
            <p:cNvSpPr/>
            <p:nvPr userDrawn="1"/>
          </p:nvSpPr>
          <p:spPr bwMode="auto">
            <a:xfrm>
              <a:off x="1776413" y="4138613"/>
              <a:ext cx="801688" cy="693738"/>
            </a:xfrm>
            <a:custGeom>
              <a:avLst/>
              <a:gdLst>
                <a:gd name="T0" fmla="*/ 4 w 323"/>
                <a:gd name="T1" fmla="*/ 0 h 280"/>
                <a:gd name="T2" fmla="*/ 90 w 323"/>
                <a:gd name="T3" fmla="*/ 245 h 280"/>
                <a:gd name="T4" fmla="*/ 323 w 323"/>
                <a:gd name="T5" fmla="*/ 209 h 280"/>
                <a:gd name="T6" fmla="*/ 303 w 323"/>
                <a:gd name="T7" fmla="*/ 115 h 280"/>
                <a:gd name="T8" fmla="*/ 141 w 323"/>
                <a:gd name="T9" fmla="*/ 143 h 280"/>
                <a:gd name="T10" fmla="*/ 98 w 323"/>
                <a:gd name="T11" fmla="*/ 10 h 280"/>
              </a:gdLst>
              <a:ahLst/>
              <a:cxnLst>
                <a:cxn ang="0">
                  <a:pos x="T0" y="T1"/>
                </a:cxn>
                <a:cxn ang="0">
                  <a:pos x="T2" y="T3"/>
                </a:cxn>
                <a:cxn ang="0">
                  <a:pos x="T4" y="T5"/>
                </a:cxn>
                <a:cxn ang="0">
                  <a:pos x="T6" y="T7"/>
                </a:cxn>
                <a:cxn ang="0">
                  <a:pos x="T8" y="T9"/>
                </a:cxn>
                <a:cxn ang="0">
                  <a:pos x="T10" y="T11"/>
                </a:cxn>
              </a:cxnLst>
              <a:rect l="0" t="0" r="r" b="b"/>
              <a:pathLst>
                <a:path w="323" h="280">
                  <a:moveTo>
                    <a:pt x="4" y="0"/>
                  </a:moveTo>
                  <a:cubicBezTo>
                    <a:pt x="4" y="0"/>
                    <a:pt x="0" y="207"/>
                    <a:pt x="90" y="245"/>
                  </a:cubicBezTo>
                  <a:cubicBezTo>
                    <a:pt x="171" y="280"/>
                    <a:pt x="323" y="209"/>
                    <a:pt x="323" y="209"/>
                  </a:cubicBezTo>
                  <a:cubicBezTo>
                    <a:pt x="303" y="115"/>
                    <a:pt x="303" y="115"/>
                    <a:pt x="303" y="115"/>
                  </a:cubicBezTo>
                  <a:cubicBezTo>
                    <a:pt x="303" y="115"/>
                    <a:pt x="184" y="165"/>
                    <a:pt x="141" y="143"/>
                  </a:cubicBezTo>
                  <a:cubicBezTo>
                    <a:pt x="112" y="128"/>
                    <a:pt x="98" y="10"/>
                    <a:pt x="98" y="10"/>
                  </a:cubicBezTo>
                </a:path>
              </a:pathLst>
            </a:custGeom>
            <a:solidFill>
              <a:srgbClr val="FFAC0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4" name="Freeform 258"/>
            <p:cNvSpPr/>
            <p:nvPr userDrawn="1"/>
          </p:nvSpPr>
          <p:spPr bwMode="auto">
            <a:xfrm>
              <a:off x="2024063" y="4176713"/>
              <a:ext cx="158750" cy="331788"/>
            </a:xfrm>
            <a:custGeom>
              <a:avLst/>
              <a:gdLst>
                <a:gd name="T0" fmla="*/ 64 w 64"/>
                <a:gd name="T1" fmla="*/ 130 h 134"/>
                <a:gd name="T2" fmla="*/ 31 w 64"/>
                <a:gd name="T3" fmla="*/ 116 h 134"/>
                <a:gd name="T4" fmla="*/ 9 w 64"/>
                <a:gd name="T5" fmla="*/ 59 h 134"/>
                <a:gd name="T6" fmla="*/ 4 w 64"/>
                <a:gd name="T7" fmla="*/ 0 h 134"/>
                <a:gd name="T8" fmla="*/ 0 w 64"/>
                <a:gd name="T9" fmla="*/ 1 h 134"/>
                <a:gd name="T10" fmla="*/ 10 w 64"/>
                <a:gd name="T11" fmla="*/ 82 h 134"/>
                <a:gd name="T12" fmla="*/ 28 w 64"/>
                <a:gd name="T13" fmla="*/ 118 h 134"/>
                <a:gd name="T14" fmla="*/ 64 w 64"/>
                <a:gd name="T15" fmla="*/ 134 h 134"/>
                <a:gd name="T16" fmla="*/ 64 w 64"/>
                <a:gd name="T17" fmla="*/ 13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4">
                  <a:moveTo>
                    <a:pt x="64" y="130"/>
                  </a:moveTo>
                  <a:cubicBezTo>
                    <a:pt x="50" y="130"/>
                    <a:pt x="39" y="125"/>
                    <a:pt x="31" y="116"/>
                  </a:cubicBezTo>
                  <a:cubicBezTo>
                    <a:pt x="19" y="103"/>
                    <a:pt x="13" y="81"/>
                    <a:pt x="9" y="59"/>
                  </a:cubicBezTo>
                  <a:cubicBezTo>
                    <a:pt x="6" y="38"/>
                    <a:pt x="5" y="15"/>
                    <a:pt x="4" y="0"/>
                  </a:cubicBezTo>
                  <a:cubicBezTo>
                    <a:pt x="0" y="1"/>
                    <a:pt x="0" y="1"/>
                    <a:pt x="0" y="1"/>
                  </a:cubicBezTo>
                  <a:cubicBezTo>
                    <a:pt x="1" y="21"/>
                    <a:pt x="2" y="54"/>
                    <a:pt x="10" y="82"/>
                  </a:cubicBezTo>
                  <a:cubicBezTo>
                    <a:pt x="14" y="96"/>
                    <a:pt x="20" y="109"/>
                    <a:pt x="28" y="118"/>
                  </a:cubicBezTo>
                  <a:cubicBezTo>
                    <a:pt x="37" y="128"/>
                    <a:pt x="49" y="134"/>
                    <a:pt x="64" y="134"/>
                  </a:cubicBezTo>
                  <a:cubicBezTo>
                    <a:pt x="64" y="130"/>
                    <a:pt x="64" y="130"/>
                    <a:pt x="64" y="130"/>
                  </a:cubicBez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5" name="Freeform 259"/>
            <p:cNvSpPr/>
            <p:nvPr userDrawn="1"/>
          </p:nvSpPr>
          <p:spPr bwMode="auto">
            <a:xfrm>
              <a:off x="1781175" y="4156075"/>
              <a:ext cx="417513" cy="625475"/>
            </a:xfrm>
            <a:custGeom>
              <a:avLst/>
              <a:gdLst>
                <a:gd name="T0" fmla="*/ 1 w 168"/>
                <a:gd name="T1" fmla="*/ 0 h 252"/>
                <a:gd name="T2" fmla="*/ 0 w 168"/>
                <a:gd name="T3" fmla="*/ 19 h 252"/>
                <a:gd name="T4" fmla="*/ 45 w 168"/>
                <a:gd name="T5" fmla="*/ 207 h 252"/>
                <a:gd name="T6" fmla="*/ 86 w 168"/>
                <a:gd name="T7" fmla="*/ 241 h 252"/>
                <a:gd name="T8" fmla="*/ 141 w 168"/>
                <a:gd name="T9" fmla="*/ 252 h 252"/>
                <a:gd name="T10" fmla="*/ 168 w 168"/>
                <a:gd name="T11" fmla="*/ 250 h 252"/>
                <a:gd name="T12" fmla="*/ 168 w 168"/>
                <a:gd name="T13" fmla="*/ 246 h 252"/>
                <a:gd name="T14" fmla="*/ 141 w 168"/>
                <a:gd name="T15" fmla="*/ 248 h 252"/>
                <a:gd name="T16" fmla="*/ 88 w 168"/>
                <a:gd name="T17" fmla="*/ 238 h 252"/>
                <a:gd name="T18" fmla="*/ 49 w 168"/>
                <a:gd name="T19" fmla="*/ 205 h 252"/>
                <a:gd name="T20" fmla="*/ 4 w 168"/>
                <a:gd name="T21" fmla="*/ 19 h 252"/>
                <a:gd name="T22" fmla="*/ 4 w 168"/>
                <a:gd name="T23" fmla="*/ 6 h 252"/>
                <a:gd name="T24" fmla="*/ 5 w 168"/>
                <a:gd name="T25" fmla="*/ 1 h 252"/>
                <a:gd name="T26" fmla="*/ 1 w 168"/>
                <a:gd name="T2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252">
                  <a:moveTo>
                    <a:pt x="1" y="0"/>
                  </a:moveTo>
                  <a:cubicBezTo>
                    <a:pt x="1" y="0"/>
                    <a:pt x="0" y="7"/>
                    <a:pt x="0" y="19"/>
                  </a:cubicBezTo>
                  <a:cubicBezTo>
                    <a:pt x="0" y="58"/>
                    <a:pt x="5" y="147"/>
                    <a:pt x="45" y="207"/>
                  </a:cubicBezTo>
                  <a:cubicBezTo>
                    <a:pt x="56" y="223"/>
                    <a:pt x="70" y="234"/>
                    <a:pt x="86" y="241"/>
                  </a:cubicBezTo>
                  <a:cubicBezTo>
                    <a:pt x="103" y="248"/>
                    <a:pt x="121" y="252"/>
                    <a:pt x="141" y="252"/>
                  </a:cubicBezTo>
                  <a:cubicBezTo>
                    <a:pt x="150" y="252"/>
                    <a:pt x="159" y="251"/>
                    <a:pt x="168" y="250"/>
                  </a:cubicBezTo>
                  <a:cubicBezTo>
                    <a:pt x="168" y="246"/>
                    <a:pt x="168" y="246"/>
                    <a:pt x="168" y="246"/>
                  </a:cubicBezTo>
                  <a:cubicBezTo>
                    <a:pt x="159" y="247"/>
                    <a:pt x="150" y="248"/>
                    <a:pt x="141" y="248"/>
                  </a:cubicBezTo>
                  <a:cubicBezTo>
                    <a:pt x="122" y="248"/>
                    <a:pt x="104" y="244"/>
                    <a:pt x="88" y="238"/>
                  </a:cubicBezTo>
                  <a:cubicBezTo>
                    <a:pt x="72" y="231"/>
                    <a:pt x="59" y="220"/>
                    <a:pt x="49" y="205"/>
                  </a:cubicBezTo>
                  <a:cubicBezTo>
                    <a:pt x="9" y="146"/>
                    <a:pt x="4" y="57"/>
                    <a:pt x="4" y="19"/>
                  </a:cubicBezTo>
                  <a:cubicBezTo>
                    <a:pt x="4" y="13"/>
                    <a:pt x="4" y="9"/>
                    <a:pt x="4" y="6"/>
                  </a:cubicBezTo>
                  <a:cubicBezTo>
                    <a:pt x="5" y="2"/>
                    <a:pt x="5" y="1"/>
                    <a:pt x="5" y="1"/>
                  </a:cubicBezTo>
                  <a:cubicBezTo>
                    <a:pt x="1" y="0"/>
                    <a:pt x="1" y="0"/>
                    <a:pt x="1" y="0"/>
                  </a:cubicBez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6" name="Freeform 260"/>
            <p:cNvSpPr/>
            <p:nvPr userDrawn="1"/>
          </p:nvSpPr>
          <p:spPr bwMode="auto">
            <a:xfrm>
              <a:off x="2476500" y="4441825"/>
              <a:ext cx="57150" cy="239713"/>
            </a:xfrm>
            <a:custGeom>
              <a:avLst/>
              <a:gdLst>
                <a:gd name="T0" fmla="*/ 0 w 36"/>
                <a:gd name="T1" fmla="*/ 1 h 151"/>
                <a:gd name="T2" fmla="*/ 29 w 36"/>
                <a:gd name="T3" fmla="*/ 151 h 151"/>
                <a:gd name="T4" fmla="*/ 36 w 36"/>
                <a:gd name="T5" fmla="*/ 150 h 151"/>
                <a:gd name="T6" fmla="*/ 6 w 36"/>
                <a:gd name="T7" fmla="*/ 0 h 151"/>
                <a:gd name="T8" fmla="*/ 0 w 36"/>
                <a:gd name="T9" fmla="*/ 1 h 151"/>
              </a:gdLst>
              <a:ahLst/>
              <a:cxnLst>
                <a:cxn ang="0">
                  <a:pos x="T0" y="T1"/>
                </a:cxn>
                <a:cxn ang="0">
                  <a:pos x="T2" y="T3"/>
                </a:cxn>
                <a:cxn ang="0">
                  <a:pos x="T4" y="T5"/>
                </a:cxn>
                <a:cxn ang="0">
                  <a:pos x="T6" y="T7"/>
                </a:cxn>
                <a:cxn ang="0">
                  <a:pos x="T8" y="T9"/>
                </a:cxn>
              </a:cxnLst>
              <a:rect l="0" t="0" r="r" b="b"/>
              <a:pathLst>
                <a:path w="36" h="151">
                  <a:moveTo>
                    <a:pt x="0" y="1"/>
                  </a:moveTo>
                  <a:lnTo>
                    <a:pt x="29" y="151"/>
                  </a:lnTo>
                  <a:lnTo>
                    <a:pt x="36" y="150"/>
                  </a:lnTo>
                  <a:lnTo>
                    <a:pt x="6" y="0"/>
                  </a:lnTo>
                  <a:lnTo>
                    <a:pt x="0" y="1"/>
                  </a:ln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7" name="Freeform 261"/>
            <p:cNvSpPr/>
            <p:nvPr userDrawn="1"/>
          </p:nvSpPr>
          <p:spPr bwMode="auto">
            <a:xfrm>
              <a:off x="2476500" y="4441825"/>
              <a:ext cx="57150" cy="239713"/>
            </a:xfrm>
            <a:custGeom>
              <a:avLst/>
              <a:gdLst>
                <a:gd name="T0" fmla="*/ 0 w 36"/>
                <a:gd name="T1" fmla="*/ 1 h 151"/>
                <a:gd name="T2" fmla="*/ 29 w 36"/>
                <a:gd name="T3" fmla="*/ 151 h 151"/>
                <a:gd name="T4" fmla="*/ 36 w 36"/>
                <a:gd name="T5" fmla="*/ 150 h 151"/>
                <a:gd name="T6" fmla="*/ 6 w 36"/>
                <a:gd name="T7" fmla="*/ 0 h 151"/>
              </a:gdLst>
              <a:ahLst/>
              <a:cxnLst>
                <a:cxn ang="0">
                  <a:pos x="T0" y="T1"/>
                </a:cxn>
                <a:cxn ang="0">
                  <a:pos x="T2" y="T3"/>
                </a:cxn>
                <a:cxn ang="0">
                  <a:pos x="T4" y="T5"/>
                </a:cxn>
                <a:cxn ang="0">
                  <a:pos x="T6" y="T7"/>
                </a:cxn>
              </a:cxnLst>
              <a:rect l="0" t="0" r="r" b="b"/>
              <a:pathLst>
                <a:path w="36" h="151">
                  <a:moveTo>
                    <a:pt x="0" y="1"/>
                  </a:moveTo>
                  <a:lnTo>
                    <a:pt x="29" y="151"/>
                  </a:lnTo>
                  <a:lnTo>
                    <a:pt x="36" y="15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8" name="Freeform 262"/>
            <p:cNvSpPr/>
            <p:nvPr userDrawn="1"/>
          </p:nvSpPr>
          <p:spPr bwMode="auto">
            <a:xfrm>
              <a:off x="1885950" y="4014788"/>
              <a:ext cx="173038" cy="74613"/>
            </a:xfrm>
            <a:custGeom>
              <a:avLst/>
              <a:gdLst>
                <a:gd name="T0" fmla="*/ 0 w 70"/>
                <a:gd name="T1" fmla="*/ 1 h 30"/>
                <a:gd name="T2" fmla="*/ 6 w 70"/>
                <a:gd name="T3" fmla="*/ 15 h 30"/>
                <a:gd name="T4" fmla="*/ 39 w 70"/>
                <a:gd name="T5" fmla="*/ 30 h 30"/>
                <a:gd name="T6" fmla="*/ 62 w 70"/>
                <a:gd name="T7" fmla="*/ 23 h 30"/>
                <a:gd name="T8" fmla="*/ 70 w 70"/>
                <a:gd name="T9" fmla="*/ 16 h 30"/>
                <a:gd name="T10" fmla="*/ 67 w 70"/>
                <a:gd name="T11" fmla="*/ 13 h 30"/>
                <a:gd name="T12" fmla="*/ 67 w 70"/>
                <a:gd name="T13" fmla="*/ 13 h 30"/>
                <a:gd name="T14" fmla="*/ 59 w 70"/>
                <a:gd name="T15" fmla="*/ 20 h 30"/>
                <a:gd name="T16" fmla="*/ 39 w 70"/>
                <a:gd name="T17" fmla="*/ 26 h 30"/>
                <a:gd name="T18" fmla="*/ 9 w 70"/>
                <a:gd name="T19" fmla="*/ 13 h 30"/>
                <a:gd name="T20" fmla="*/ 5 w 70"/>
                <a:gd name="T21" fmla="*/ 4 h 30"/>
                <a:gd name="T22" fmla="*/ 4 w 70"/>
                <a:gd name="T23" fmla="*/ 1 h 30"/>
                <a:gd name="T24" fmla="*/ 4 w 70"/>
                <a:gd name="T25" fmla="*/ 0 h 30"/>
                <a:gd name="T26" fmla="*/ 4 w 70"/>
                <a:gd name="T27" fmla="*/ 0 h 30"/>
                <a:gd name="T28" fmla="*/ 4 w 70"/>
                <a:gd name="T29" fmla="*/ 0 h 30"/>
                <a:gd name="T30" fmla="*/ 0 w 70"/>
                <a:gd name="T31"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30">
                  <a:moveTo>
                    <a:pt x="0" y="1"/>
                  </a:moveTo>
                  <a:cubicBezTo>
                    <a:pt x="0" y="1"/>
                    <a:pt x="0" y="8"/>
                    <a:pt x="6" y="15"/>
                  </a:cubicBezTo>
                  <a:cubicBezTo>
                    <a:pt x="11" y="23"/>
                    <a:pt x="21" y="30"/>
                    <a:pt x="39" y="30"/>
                  </a:cubicBezTo>
                  <a:cubicBezTo>
                    <a:pt x="49" y="30"/>
                    <a:pt x="56" y="26"/>
                    <a:pt x="62" y="23"/>
                  </a:cubicBezTo>
                  <a:cubicBezTo>
                    <a:pt x="67" y="19"/>
                    <a:pt x="70" y="16"/>
                    <a:pt x="70" y="16"/>
                  </a:cubicBezTo>
                  <a:cubicBezTo>
                    <a:pt x="67" y="13"/>
                    <a:pt x="67" y="13"/>
                    <a:pt x="67" y="13"/>
                  </a:cubicBezTo>
                  <a:cubicBezTo>
                    <a:pt x="67" y="13"/>
                    <a:pt x="67" y="13"/>
                    <a:pt x="67" y="13"/>
                  </a:cubicBezTo>
                  <a:cubicBezTo>
                    <a:pt x="66" y="14"/>
                    <a:pt x="63" y="17"/>
                    <a:pt x="59" y="20"/>
                  </a:cubicBezTo>
                  <a:cubicBezTo>
                    <a:pt x="54" y="23"/>
                    <a:pt x="47" y="26"/>
                    <a:pt x="39" y="26"/>
                  </a:cubicBezTo>
                  <a:cubicBezTo>
                    <a:pt x="22" y="26"/>
                    <a:pt x="13" y="19"/>
                    <a:pt x="9" y="13"/>
                  </a:cubicBezTo>
                  <a:cubicBezTo>
                    <a:pt x="7" y="10"/>
                    <a:pt x="5" y="7"/>
                    <a:pt x="5" y="4"/>
                  </a:cubicBezTo>
                  <a:cubicBezTo>
                    <a:pt x="4" y="3"/>
                    <a:pt x="4" y="2"/>
                    <a:pt x="4" y="1"/>
                  </a:cubicBezTo>
                  <a:cubicBezTo>
                    <a:pt x="4" y="0"/>
                    <a:pt x="4" y="0"/>
                    <a:pt x="4" y="0"/>
                  </a:cubicBezTo>
                  <a:cubicBezTo>
                    <a:pt x="4" y="0"/>
                    <a:pt x="4" y="0"/>
                    <a:pt x="4" y="0"/>
                  </a:cubicBezTo>
                  <a:cubicBezTo>
                    <a:pt x="4" y="0"/>
                    <a:pt x="4" y="0"/>
                    <a:pt x="4" y="0"/>
                  </a:cubicBezTo>
                  <a:cubicBezTo>
                    <a:pt x="0" y="1"/>
                    <a:pt x="0" y="1"/>
                    <a:pt x="0" y="1"/>
                  </a:cubicBez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9" name="Freeform 263"/>
            <p:cNvSpPr/>
            <p:nvPr userDrawn="1"/>
          </p:nvSpPr>
          <p:spPr bwMode="auto">
            <a:xfrm>
              <a:off x="1889125" y="3762375"/>
              <a:ext cx="227013" cy="247650"/>
            </a:xfrm>
            <a:custGeom>
              <a:avLst/>
              <a:gdLst>
                <a:gd name="T0" fmla="*/ 83 w 92"/>
                <a:gd name="T1" fmla="*/ 39 h 100"/>
                <a:gd name="T2" fmla="*/ 71 w 92"/>
                <a:gd name="T3" fmla="*/ 93 h 100"/>
                <a:gd name="T4" fmla="*/ 8 w 92"/>
                <a:gd name="T5" fmla="*/ 64 h 100"/>
                <a:gd name="T6" fmla="*/ 31 w 92"/>
                <a:gd name="T7" fmla="*/ 6 h 100"/>
                <a:gd name="T8" fmla="*/ 83 w 92"/>
                <a:gd name="T9" fmla="*/ 39 h 100"/>
              </a:gdLst>
              <a:ahLst/>
              <a:cxnLst>
                <a:cxn ang="0">
                  <a:pos x="T0" y="T1"/>
                </a:cxn>
                <a:cxn ang="0">
                  <a:pos x="T2" y="T3"/>
                </a:cxn>
                <a:cxn ang="0">
                  <a:pos x="T4" y="T5"/>
                </a:cxn>
                <a:cxn ang="0">
                  <a:pos x="T6" y="T7"/>
                </a:cxn>
                <a:cxn ang="0">
                  <a:pos x="T8" y="T9"/>
                </a:cxn>
              </a:cxnLst>
              <a:rect l="0" t="0" r="r" b="b"/>
              <a:pathLst>
                <a:path w="92" h="100">
                  <a:moveTo>
                    <a:pt x="83" y="39"/>
                  </a:moveTo>
                  <a:cubicBezTo>
                    <a:pt x="92" y="63"/>
                    <a:pt x="92" y="86"/>
                    <a:pt x="71" y="93"/>
                  </a:cubicBezTo>
                  <a:cubicBezTo>
                    <a:pt x="50" y="100"/>
                    <a:pt x="20" y="99"/>
                    <a:pt x="8" y="64"/>
                  </a:cubicBezTo>
                  <a:cubicBezTo>
                    <a:pt x="0" y="39"/>
                    <a:pt x="10" y="13"/>
                    <a:pt x="31" y="6"/>
                  </a:cubicBezTo>
                  <a:cubicBezTo>
                    <a:pt x="52" y="0"/>
                    <a:pt x="75" y="14"/>
                    <a:pt x="83" y="39"/>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0" name="Freeform 264"/>
            <p:cNvSpPr/>
            <p:nvPr userDrawn="1"/>
          </p:nvSpPr>
          <p:spPr bwMode="auto">
            <a:xfrm>
              <a:off x="1916113" y="3900488"/>
              <a:ext cx="136525" cy="161925"/>
            </a:xfrm>
            <a:custGeom>
              <a:avLst/>
              <a:gdLst>
                <a:gd name="T0" fmla="*/ 48 w 55"/>
                <a:gd name="T1" fmla="*/ 53 h 65"/>
                <a:gd name="T2" fmla="*/ 19 w 55"/>
                <a:gd name="T3" fmla="*/ 61 h 65"/>
                <a:gd name="T4" fmla="*/ 0 w 55"/>
                <a:gd name="T5" fmla="*/ 45 h 65"/>
                <a:gd name="T6" fmla="*/ 12 w 55"/>
                <a:gd name="T7" fmla="*/ 0 h 65"/>
                <a:gd name="T8" fmla="*/ 55 w 55"/>
                <a:gd name="T9" fmla="*/ 11 h 65"/>
                <a:gd name="T10" fmla="*/ 48 w 55"/>
                <a:gd name="T11" fmla="*/ 53 h 65"/>
              </a:gdLst>
              <a:ahLst/>
              <a:cxnLst>
                <a:cxn ang="0">
                  <a:pos x="T0" y="T1"/>
                </a:cxn>
                <a:cxn ang="0">
                  <a:pos x="T2" y="T3"/>
                </a:cxn>
                <a:cxn ang="0">
                  <a:pos x="T4" y="T5"/>
                </a:cxn>
                <a:cxn ang="0">
                  <a:pos x="T6" y="T7"/>
                </a:cxn>
                <a:cxn ang="0">
                  <a:pos x="T8" y="T9"/>
                </a:cxn>
                <a:cxn ang="0">
                  <a:pos x="T10" y="T11"/>
                </a:cxn>
              </a:cxnLst>
              <a:rect l="0" t="0" r="r" b="b"/>
              <a:pathLst>
                <a:path w="55" h="65">
                  <a:moveTo>
                    <a:pt x="48" y="53"/>
                  </a:moveTo>
                  <a:cubicBezTo>
                    <a:pt x="48" y="53"/>
                    <a:pt x="35" y="65"/>
                    <a:pt x="19" y="61"/>
                  </a:cubicBezTo>
                  <a:cubicBezTo>
                    <a:pt x="0" y="56"/>
                    <a:pt x="0" y="45"/>
                    <a:pt x="0" y="45"/>
                  </a:cubicBezTo>
                  <a:cubicBezTo>
                    <a:pt x="12" y="0"/>
                    <a:pt x="12" y="0"/>
                    <a:pt x="12" y="0"/>
                  </a:cubicBezTo>
                  <a:cubicBezTo>
                    <a:pt x="55" y="11"/>
                    <a:pt x="55" y="11"/>
                    <a:pt x="55" y="11"/>
                  </a:cubicBezTo>
                  <a:lnTo>
                    <a:pt x="48" y="53"/>
                  </a:ln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1" name="Freeform 265"/>
            <p:cNvSpPr/>
            <p:nvPr userDrawn="1"/>
          </p:nvSpPr>
          <p:spPr bwMode="auto">
            <a:xfrm>
              <a:off x="2092325" y="3862388"/>
              <a:ext cx="31750" cy="53975"/>
            </a:xfrm>
            <a:custGeom>
              <a:avLst/>
              <a:gdLst>
                <a:gd name="T0" fmla="*/ 0 w 13"/>
                <a:gd name="T1" fmla="*/ 0 h 22"/>
                <a:gd name="T2" fmla="*/ 13 w 13"/>
                <a:gd name="T3" fmla="*/ 17 h 22"/>
                <a:gd name="T4" fmla="*/ 6 w 13"/>
                <a:gd name="T5" fmla="*/ 22 h 22"/>
              </a:gdLst>
              <a:ahLst/>
              <a:cxnLst>
                <a:cxn ang="0">
                  <a:pos x="T0" y="T1"/>
                </a:cxn>
                <a:cxn ang="0">
                  <a:pos x="T2" y="T3"/>
                </a:cxn>
                <a:cxn ang="0">
                  <a:pos x="T4" y="T5"/>
                </a:cxn>
              </a:cxnLst>
              <a:rect l="0" t="0" r="r" b="b"/>
              <a:pathLst>
                <a:path w="13" h="22">
                  <a:moveTo>
                    <a:pt x="0" y="0"/>
                  </a:moveTo>
                  <a:cubicBezTo>
                    <a:pt x="0" y="0"/>
                    <a:pt x="13" y="14"/>
                    <a:pt x="13" y="17"/>
                  </a:cubicBezTo>
                  <a:cubicBezTo>
                    <a:pt x="13" y="20"/>
                    <a:pt x="6" y="22"/>
                    <a:pt x="6" y="22"/>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2" name="Freeform 266"/>
            <p:cNvSpPr/>
            <p:nvPr userDrawn="1"/>
          </p:nvSpPr>
          <p:spPr bwMode="auto">
            <a:xfrm>
              <a:off x="2062163" y="3863975"/>
              <a:ext cx="14288" cy="14288"/>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4"/>
                    <a:pt x="4" y="6"/>
                    <a:pt x="3" y="6"/>
                  </a:cubicBezTo>
                  <a:cubicBezTo>
                    <a:pt x="1" y="6"/>
                    <a:pt x="0" y="4"/>
                    <a:pt x="0" y="3"/>
                  </a:cubicBezTo>
                  <a:cubicBezTo>
                    <a:pt x="0" y="1"/>
                    <a:pt x="2" y="0"/>
                    <a:pt x="3" y="0"/>
                  </a:cubicBezTo>
                  <a:cubicBezTo>
                    <a:pt x="5" y="0"/>
                    <a:pt x="6" y="1"/>
                    <a:pt x="6" y="3"/>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3" name="Freeform 267"/>
            <p:cNvSpPr/>
            <p:nvPr userDrawn="1"/>
          </p:nvSpPr>
          <p:spPr bwMode="auto">
            <a:xfrm>
              <a:off x="2039938" y="3832225"/>
              <a:ext cx="31750" cy="26988"/>
            </a:xfrm>
            <a:custGeom>
              <a:avLst/>
              <a:gdLst>
                <a:gd name="T0" fmla="*/ 11 w 13"/>
                <a:gd name="T1" fmla="*/ 2 h 11"/>
                <a:gd name="T2" fmla="*/ 3 w 13"/>
                <a:gd name="T3" fmla="*/ 4 h 11"/>
                <a:gd name="T4" fmla="*/ 1 w 13"/>
                <a:gd name="T5" fmla="*/ 7 h 11"/>
                <a:gd name="T6" fmla="*/ 0 w 13"/>
                <a:gd name="T7" fmla="*/ 11 h 11"/>
                <a:gd name="T8" fmla="*/ 3 w 13"/>
                <a:gd name="T9" fmla="*/ 9 h 11"/>
                <a:gd name="T10" fmla="*/ 12 w 13"/>
                <a:gd name="T11" fmla="*/ 5 h 11"/>
                <a:gd name="T12" fmla="*/ 12 w 13"/>
                <a:gd name="T13" fmla="*/ 5 h 11"/>
                <a:gd name="T14" fmla="*/ 13 w 13"/>
                <a:gd name="T15" fmla="*/ 4 h 11"/>
                <a:gd name="T16" fmla="*/ 11 w 13"/>
                <a:gd name="T1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11" y="2"/>
                  </a:moveTo>
                  <a:cubicBezTo>
                    <a:pt x="8" y="0"/>
                    <a:pt x="6" y="2"/>
                    <a:pt x="3" y="4"/>
                  </a:cubicBezTo>
                  <a:cubicBezTo>
                    <a:pt x="2" y="5"/>
                    <a:pt x="1" y="6"/>
                    <a:pt x="1" y="7"/>
                  </a:cubicBezTo>
                  <a:cubicBezTo>
                    <a:pt x="0" y="8"/>
                    <a:pt x="0" y="10"/>
                    <a:pt x="0" y="11"/>
                  </a:cubicBezTo>
                  <a:cubicBezTo>
                    <a:pt x="1" y="11"/>
                    <a:pt x="3" y="9"/>
                    <a:pt x="3" y="9"/>
                  </a:cubicBezTo>
                  <a:cubicBezTo>
                    <a:pt x="6" y="7"/>
                    <a:pt x="9" y="5"/>
                    <a:pt x="12" y="5"/>
                  </a:cubicBezTo>
                  <a:cubicBezTo>
                    <a:pt x="12" y="5"/>
                    <a:pt x="12" y="5"/>
                    <a:pt x="12" y="5"/>
                  </a:cubicBezTo>
                  <a:cubicBezTo>
                    <a:pt x="13" y="4"/>
                    <a:pt x="13" y="4"/>
                    <a:pt x="13" y="4"/>
                  </a:cubicBezTo>
                  <a:cubicBezTo>
                    <a:pt x="12" y="3"/>
                    <a:pt x="12" y="2"/>
                    <a:pt x="11" y="2"/>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4" name="Freeform 268"/>
            <p:cNvSpPr/>
            <p:nvPr userDrawn="1"/>
          </p:nvSpPr>
          <p:spPr bwMode="auto">
            <a:xfrm>
              <a:off x="2052638" y="3930650"/>
              <a:ext cx="49213" cy="31750"/>
            </a:xfrm>
            <a:custGeom>
              <a:avLst/>
              <a:gdLst>
                <a:gd name="T0" fmla="*/ 20 w 20"/>
                <a:gd name="T1" fmla="*/ 0 h 13"/>
                <a:gd name="T2" fmla="*/ 0 w 20"/>
                <a:gd name="T3" fmla="*/ 1 h 13"/>
                <a:gd name="T4" fmla="*/ 13 w 20"/>
                <a:gd name="T5" fmla="*/ 11 h 13"/>
                <a:gd name="T6" fmla="*/ 20 w 20"/>
                <a:gd name="T7" fmla="*/ 0 h 13"/>
              </a:gdLst>
              <a:ahLst/>
              <a:cxnLst>
                <a:cxn ang="0">
                  <a:pos x="T0" y="T1"/>
                </a:cxn>
                <a:cxn ang="0">
                  <a:pos x="T2" y="T3"/>
                </a:cxn>
                <a:cxn ang="0">
                  <a:pos x="T4" y="T5"/>
                </a:cxn>
                <a:cxn ang="0">
                  <a:pos x="T6" y="T7"/>
                </a:cxn>
              </a:cxnLst>
              <a:rect l="0" t="0" r="r" b="b"/>
              <a:pathLst>
                <a:path w="20" h="13">
                  <a:moveTo>
                    <a:pt x="20" y="0"/>
                  </a:moveTo>
                  <a:cubicBezTo>
                    <a:pt x="0" y="1"/>
                    <a:pt x="0" y="1"/>
                    <a:pt x="0" y="1"/>
                  </a:cubicBezTo>
                  <a:cubicBezTo>
                    <a:pt x="0" y="1"/>
                    <a:pt x="2" y="13"/>
                    <a:pt x="13" y="11"/>
                  </a:cubicBezTo>
                  <a:cubicBezTo>
                    <a:pt x="19" y="11"/>
                    <a:pt x="20" y="0"/>
                    <a:pt x="2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5" name="Freeform 269"/>
            <p:cNvSpPr/>
            <p:nvPr userDrawn="1"/>
          </p:nvSpPr>
          <p:spPr bwMode="auto">
            <a:xfrm>
              <a:off x="1814513" y="3703638"/>
              <a:ext cx="279400" cy="287338"/>
            </a:xfrm>
            <a:custGeom>
              <a:avLst/>
              <a:gdLst>
                <a:gd name="T0" fmla="*/ 59 w 113"/>
                <a:gd name="T1" fmla="*/ 108 h 116"/>
                <a:gd name="T2" fmla="*/ 35 w 113"/>
                <a:gd name="T3" fmla="*/ 107 h 116"/>
                <a:gd name="T4" fmla="*/ 18 w 113"/>
                <a:gd name="T5" fmla="*/ 86 h 116"/>
                <a:gd name="T6" fmla="*/ 14 w 113"/>
                <a:gd name="T7" fmla="*/ 75 h 116"/>
                <a:gd name="T8" fmla="*/ 17 w 113"/>
                <a:gd name="T9" fmla="*/ 65 h 116"/>
                <a:gd name="T10" fmla="*/ 5 w 113"/>
                <a:gd name="T11" fmla="*/ 56 h 116"/>
                <a:gd name="T12" fmla="*/ 1 w 113"/>
                <a:gd name="T13" fmla="*/ 43 h 116"/>
                <a:gd name="T14" fmla="*/ 7 w 113"/>
                <a:gd name="T15" fmla="*/ 33 h 116"/>
                <a:gd name="T16" fmla="*/ 34 w 113"/>
                <a:gd name="T17" fmla="*/ 19 h 116"/>
                <a:gd name="T18" fmla="*/ 32 w 113"/>
                <a:gd name="T19" fmla="*/ 11 h 116"/>
                <a:gd name="T20" fmla="*/ 41 w 113"/>
                <a:gd name="T21" fmla="*/ 6 h 116"/>
                <a:gd name="T22" fmla="*/ 97 w 113"/>
                <a:gd name="T23" fmla="*/ 15 h 116"/>
                <a:gd name="T24" fmla="*/ 110 w 113"/>
                <a:gd name="T25" fmla="*/ 38 h 116"/>
                <a:gd name="T26" fmla="*/ 98 w 113"/>
                <a:gd name="T27" fmla="*/ 48 h 116"/>
                <a:gd name="T28" fmla="*/ 73 w 113"/>
                <a:gd name="T29" fmla="*/ 58 h 116"/>
                <a:gd name="T30" fmla="*/ 65 w 113"/>
                <a:gd name="T31" fmla="*/ 75 h 116"/>
                <a:gd name="T32" fmla="*/ 51 w 113"/>
                <a:gd name="T33" fmla="*/ 70 h 116"/>
                <a:gd name="T34" fmla="*/ 48 w 113"/>
                <a:gd name="T35" fmla="*/ 87 h 116"/>
                <a:gd name="T36" fmla="*/ 61 w 113"/>
                <a:gd name="T37" fmla="*/ 97 h 116"/>
                <a:gd name="T38" fmla="*/ 59 w 113"/>
                <a:gd name="T39"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16">
                  <a:moveTo>
                    <a:pt x="59" y="108"/>
                  </a:moveTo>
                  <a:cubicBezTo>
                    <a:pt x="54" y="116"/>
                    <a:pt x="41" y="111"/>
                    <a:pt x="35" y="107"/>
                  </a:cubicBezTo>
                  <a:cubicBezTo>
                    <a:pt x="27" y="102"/>
                    <a:pt x="22" y="93"/>
                    <a:pt x="18" y="86"/>
                  </a:cubicBezTo>
                  <a:cubicBezTo>
                    <a:pt x="16" y="82"/>
                    <a:pt x="14" y="79"/>
                    <a:pt x="14" y="75"/>
                  </a:cubicBezTo>
                  <a:cubicBezTo>
                    <a:pt x="13" y="71"/>
                    <a:pt x="14" y="67"/>
                    <a:pt x="17" y="65"/>
                  </a:cubicBezTo>
                  <a:cubicBezTo>
                    <a:pt x="13" y="62"/>
                    <a:pt x="8" y="60"/>
                    <a:pt x="5" y="56"/>
                  </a:cubicBezTo>
                  <a:cubicBezTo>
                    <a:pt x="2" y="53"/>
                    <a:pt x="0" y="48"/>
                    <a:pt x="1" y="43"/>
                  </a:cubicBezTo>
                  <a:cubicBezTo>
                    <a:pt x="2" y="39"/>
                    <a:pt x="4" y="36"/>
                    <a:pt x="7" y="33"/>
                  </a:cubicBezTo>
                  <a:cubicBezTo>
                    <a:pt x="15" y="27"/>
                    <a:pt x="24" y="22"/>
                    <a:pt x="34" y="19"/>
                  </a:cubicBezTo>
                  <a:cubicBezTo>
                    <a:pt x="31" y="18"/>
                    <a:pt x="30" y="14"/>
                    <a:pt x="32" y="11"/>
                  </a:cubicBezTo>
                  <a:cubicBezTo>
                    <a:pt x="34" y="8"/>
                    <a:pt x="37" y="7"/>
                    <a:pt x="41" y="6"/>
                  </a:cubicBezTo>
                  <a:cubicBezTo>
                    <a:pt x="62" y="0"/>
                    <a:pt x="79" y="2"/>
                    <a:pt x="97" y="15"/>
                  </a:cubicBezTo>
                  <a:cubicBezTo>
                    <a:pt x="104" y="21"/>
                    <a:pt x="113" y="30"/>
                    <a:pt x="110" y="38"/>
                  </a:cubicBezTo>
                  <a:cubicBezTo>
                    <a:pt x="107" y="44"/>
                    <a:pt x="105" y="46"/>
                    <a:pt x="98" y="48"/>
                  </a:cubicBezTo>
                  <a:cubicBezTo>
                    <a:pt x="91" y="50"/>
                    <a:pt x="75" y="50"/>
                    <a:pt x="73" y="58"/>
                  </a:cubicBezTo>
                  <a:cubicBezTo>
                    <a:pt x="71" y="64"/>
                    <a:pt x="75" y="73"/>
                    <a:pt x="65" y="75"/>
                  </a:cubicBezTo>
                  <a:cubicBezTo>
                    <a:pt x="57" y="77"/>
                    <a:pt x="61" y="67"/>
                    <a:pt x="51" y="70"/>
                  </a:cubicBezTo>
                  <a:cubicBezTo>
                    <a:pt x="47" y="71"/>
                    <a:pt x="44" y="79"/>
                    <a:pt x="48" y="87"/>
                  </a:cubicBezTo>
                  <a:cubicBezTo>
                    <a:pt x="50" y="93"/>
                    <a:pt x="57" y="97"/>
                    <a:pt x="61" y="97"/>
                  </a:cubicBezTo>
                  <a:cubicBezTo>
                    <a:pt x="63" y="99"/>
                    <a:pt x="62" y="104"/>
                    <a:pt x="59" y="108"/>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6" name="Freeform 270"/>
            <p:cNvSpPr/>
            <p:nvPr userDrawn="1"/>
          </p:nvSpPr>
          <p:spPr bwMode="auto">
            <a:xfrm>
              <a:off x="1974850" y="3987800"/>
              <a:ext cx="65088" cy="17463"/>
            </a:xfrm>
            <a:custGeom>
              <a:avLst/>
              <a:gdLst>
                <a:gd name="T0" fmla="*/ 26 w 26"/>
                <a:gd name="T1" fmla="*/ 5 h 7"/>
                <a:gd name="T2" fmla="*/ 22 w 26"/>
                <a:gd name="T3" fmla="*/ 4 h 7"/>
                <a:gd name="T4" fmla="*/ 1 w 26"/>
                <a:gd name="T5" fmla="*/ 0 h 7"/>
                <a:gd name="T6" fmla="*/ 0 w 26"/>
                <a:gd name="T7" fmla="*/ 2 h 7"/>
                <a:gd name="T8" fmla="*/ 15 w 26"/>
                <a:gd name="T9" fmla="*/ 6 h 7"/>
                <a:gd name="T10" fmla="*/ 22 w 26"/>
                <a:gd name="T11" fmla="*/ 7 h 7"/>
                <a:gd name="T12" fmla="*/ 25 w 26"/>
                <a:gd name="T13" fmla="*/ 7 h 7"/>
                <a:gd name="T14" fmla="*/ 26 w 26"/>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7">
                  <a:moveTo>
                    <a:pt x="26" y="5"/>
                  </a:moveTo>
                  <a:cubicBezTo>
                    <a:pt x="25" y="4"/>
                    <a:pt x="24" y="4"/>
                    <a:pt x="22" y="4"/>
                  </a:cubicBezTo>
                  <a:cubicBezTo>
                    <a:pt x="17" y="4"/>
                    <a:pt x="7" y="3"/>
                    <a:pt x="1" y="0"/>
                  </a:cubicBezTo>
                  <a:cubicBezTo>
                    <a:pt x="0" y="2"/>
                    <a:pt x="0" y="2"/>
                    <a:pt x="0" y="2"/>
                  </a:cubicBezTo>
                  <a:cubicBezTo>
                    <a:pt x="4" y="5"/>
                    <a:pt x="10" y="6"/>
                    <a:pt x="15" y="6"/>
                  </a:cubicBezTo>
                  <a:cubicBezTo>
                    <a:pt x="18" y="7"/>
                    <a:pt x="20" y="7"/>
                    <a:pt x="22" y="7"/>
                  </a:cubicBezTo>
                  <a:cubicBezTo>
                    <a:pt x="23" y="7"/>
                    <a:pt x="25" y="7"/>
                    <a:pt x="25" y="7"/>
                  </a:cubicBezTo>
                  <a:cubicBezTo>
                    <a:pt x="26" y="5"/>
                    <a:pt x="26" y="5"/>
                    <a:pt x="26" y="5"/>
                  </a:cubicBezTo>
                  <a:close/>
                </a:path>
              </a:pathLst>
            </a:custGeom>
            <a:solidFill>
              <a:srgbClr val="EA99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7" name="Freeform 24"/>
            <p:cNvSpPr/>
            <p:nvPr userDrawn="1"/>
          </p:nvSpPr>
          <p:spPr bwMode="auto">
            <a:xfrm>
              <a:off x="4364038" y="2106613"/>
              <a:ext cx="296863" cy="298450"/>
            </a:xfrm>
            <a:custGeom>
              <a:avLst/>
              <a:gdLst>
                <a:gd name="T0" fmla="*/ 109 w 120"/>
                <a:gd name="T1" fmla="*/ 120 h 120"/>
                <a:gd name="T2" fmla="*/ 11 w 120"/>
                <a:gd name="T3" fmla="*/ 120 h 120"/>
                <a:gd name="T4" fmla="*/ 0 w 120"/>
                <a:gd name="T5" fmla="*/ 109 h 120"/>
                <a:gd name="T6" fmla="*/ 0 w 120"/>
                <a:gd name="T7" fmla="*/ 11 h 120"/>
                <a:gd name="T8" fmla="*/ 11 w 120"/>
                <a:gd name="T9" fmla="*/ 0 h 120"/>
                <a:gd name="T10" fmla="*/ 109 w 120"/>
                <a:gd name="T11" fmla="*/ 0 h 120"/>
                <a:gd name="T12" fmla="*/ 120 w 120"/>
                <a:gd name="T13" fmla="*/ 11 h 120"/>
                <a:gd name="T14" fmla="*/ 120 w 120"/>
                <a:gd name="T15" fmla="*/ 109 h 120"/>
                <a:gd name="T16" fmla="*/ 109 w 120"/>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20">
                  <a:moveTo>
                    <a:pt x="109" y="120"/>
                  </a:moveTo>
                  <a:cubicBezTo>
                    <a:pt x="11" y="120"/>
                    <a:pt x="11" y="120"/>
                    <a:pt x="11" y="120"/>
                  </a:cubicBezTo>
                  <a:cubicBezTo>
                    <a:pt x="5" y="120"/>
                    <a:pt x="0" y="115"/>
                    <a:pt x="0" y="109"/>
                  </a:cubicBezTo>
                  <a:cubicBezTo>
                    <a:pt x="0" y="11"/>
                    <a:pt x="0" y="11"/>
                    <a:pt x="0" y="11"/>
                  </a:cubicBezTo>
                  <a:cubicBezTo>
                    <a:pt x="0" y="5"/>
                    <a:pt x="5" y="0"/>
                    <a:pt x="11" y="0"/>
                  </a:cubicBezTo>
                  <a:cubicBezTo>
                    <a:pt x="109" y="0"/>
                    <a:pt x="109" y="0"/>
                    <a:pt x="109" y="0"/>
                  </a:cubicBezTo>
                  <a:cubicBezTo>
                    <a:pt x="115" y="0"/>
                    <a:pt x="120" y="5"/>
                    <a:pt x="120" y="11"/>
                  </a:cubicBezTo>
                  <a:cubicBezTo>
                    <a:pt x="120" y="109"/>
                    <a:pt x="120" y="109"/>
                    <a:pt x="120" y="109"/>
                  </a:cubicBezTo>
                  <a:cubicBezTo>
                    <a:pt x="120" y="115"/>
                    <a:pt x="115" y="120"/>
                    <a:pt x="109" y="120"/>
                  </a:cubicBezTo>
                  <a:close/>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8" name="Freeform 25"/>
            <p:cNvSpPr/>
            <p:nvPr userDrawn="1"/>
          </p:nvSpPr>
          <p:spPr bwMode="auto">
            <a:xfrm>
              <a:off x="4427538" y="2163763"/>
              <a:ext cx="169863" cy="184150"/>
            </a:xfrm>
            <a:custGeom>
              <a:avLst/>
              <a:gdLst>
                <a:gd name="T0" fmla="*/ 107 w 107"/>
                <a:gd name="T1" fmla="*/ 67 h 116"/>
                <a:gd name="T2" fmla="*/ 53 w 107"/>
                <a:gd name="T3" fmla="*/ 0 h 116"/>
                <a:gd name="T4" fmla="*/ 0 w 107"/>
                <a:gd name="T5" fmla="*/ 67 h 116"/>
                <a:gd name="T6" fmla="*/ 30 w 107"/>
                <a:gd name="T7" fmla="*/ 67 h 116"/>
                <a:gd name="T8" fmla="*/ 30 w 107"/>
                <a:gd name="T9" fmla="*/ 116 h 116"/>
                <a:gd name="T10" fmla="*/ 77 w 107"/>
                <a:gd name="T11" fmla="*/ 116 h 116"/>
                <a:gd name="T12" fmla="*/ 77 w 107"/>
                <a:gd name="T13" fmla="*/ 67 h 116"/>
                <a:gd name="T14" fmla="*/ 107 w 107"/>
                <a:gd name="T15" fmla="*/ 67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16">
                  <a:moveTo>
                    <a:pt x="107" y="67"/>
                  </a:moveTo>
                  <a:lnTo>
                    <a:pt x="53" y="0"/>
                  </a:lnTo>
                  <a:lnTo>
                    <a:pt x="0" y="67"/>
                  </a:lnTo>
                  <a:lnTo>
                    <a:pt x="30" y="67"/>
                  </a:lnTo>
                  <a:lnTo>
                    <a:pt x="30" y="116"/>
                  </a:lnTo>
                  <a:lnTo>
                    <a:pt x="77" y="116"/>
                  </a:lnTo>
                  <a:lnTo>
                    <a:pt x="77" y="67"/>
                  </a:lnTo>
                  <a:lnTo>
                    <a:pt x="107" y="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9" name="Rectangle 54"/>
            <p:cNvSpPr>
              <a:spLocks noChangeArrowheads="1"/>
            </p:cNvSpPr>
            <p:nvPr userDrawn="1"/>
          </p:nvSpPr>
          <p:spPr bwMode="auto">
            <a:xfrm>
              <a:off x="4070350" y="2070100"/>
              <a:ext cx="11113" cy="5873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00" name="Freeform 55"/>
            <p:cNvSpPr/>
            <p:nvPr userDrawn="1"/>
          </p:nvSpPr>
          <p:spPr bwMode="auto">
            <a:xfrm>
              <a:off x="4070350" y="2070100"/>
              <a:ext cx="11113" cy="58738"/>
            </a:xfrm>
            <a:custGeom>
              <a:avLst/>
              <a:gdLst>
                <a:gd name="T0" fmla="*/ 0 w 7"/>
                <a:gd name="T1" fmla="*/ 0 h 37"/>
                <a:gd name="T2" fmla="*/ 0 w 7"/>
                <a:gd name="T3" fmla="*/ 37 h 37"/>
                <a:gd name="T4" fmla="*/ 7 w 7"/>
                <a:gd name="T5" fmla="*/ 37 h 37"/>
                <a:gd name="T6" fmla="*/ 7 w 7"/>
                <a:gd name="T7" fmla="*/ 0 h 37"/>
              </a:gdLst>
              <a:ahLst/>
              <a:cxnLst>
                <a:cxn ang="0">
                  <a:pos x="T0" y="T1"/>
                </a:cxn>
                <a:cxn ang="0">
                  <a:pos x="T2" y="T3"/>
                </a:cxn>
                <a:cxn ang="0">
                  <a:pos x="T4" y="T5"/>
                </a:cxn>
                <a:cxn ang="0">
                  <a:pos x="T6" y="T7"/>
                </a:cxn>
              </a:cxnLst>
              <a:rect l="0" t="0" r="r" b="b"/>
              <a:pathLst>
                <a:path w="7" h="37">
                  <a:moveTo>
                    <a:pt x="0" y="0"/>
                  </a:moveTo>
                  <a:lnTo>
                    <a:pt x="0" y="37"/>
                  </a:lnTo>
                  <a:lnTo>
                    <a:pt x="7" y="37"/>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1" name="Rectangle 56"/>
            <p:cNvSpPr>
              <a:spLocks noChangeArrowheads="1"/>
            </p:cNvSpPr>
            <p:nvPr userDrawn="1"/>
          </p:nvSpPr>
          <p:spPr bwMode="auto">
            <a:xfrm>
              <a:off x="4046538" y="2095500"/>
              <a:ext cx="57150" cy="9525"/>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02" name="Freeform 57"/>
            <p:cNvSpPr/>
            <p:nvPr userDrawn="1"/>
          </p:nvSpPr>
          <p:spPr bwMode="auto">
            <a:xfrm>
              <a:off x="4046538" y="2095500"/>
              <a:ext cx="57150" cy="9525"/>
            </a:xfrm>
            <a:custGeom>
              <a:avLst/>
              <a:gdLst>
                <a:gd name="T0" fmla="*/ 36 w 36"/>
                <a:gd name="T1" fmla="*/ 0 h 6"/>
                <a:gd name="T2" fmla="*/ 0 w 36"/>
                <a:gd name="T3" fmla="*/ 0 h 6"/>
                <a:gd name="T4" fmla="*/ 0 w 36"/>
                <a:gd name="T5" fmla="*/ 6 h 6"/>
                <a:gd name="T6" fmla="*/ 36 w 36"/>
                <a:gd name="T7" fmla="*/ 6 h 6"/>
              </a:gdLst>
              <a:ahLst/>
              <a:cxnLst>
                <a:cxn ang="0">
                  <a:pos x="T0" y="T1"/>
                </a:cxn>
                <a:cxn ang="0">
                  <a:pos x="T2" y="T3"/>
                </a:cxn>
                <a:cxn ang="0">
                  <a:pos x="T4" y="T5"/>
                </a:cxn>
                <a:cxn ang="0">
                  <a:pos x="T6" y="T7"/>
                </a:cxn>
              </a:cxnLst>
              <a:rect l="0" t="0" r="r" b="b"/>
              <a:pathLst>
                <a:path w="36" h="6">
                  <a:moveTo>
                    <a:pt x="36" y="0"/>
                  </a:moveTo>
                  <a:lnTo>
                    <a:pt x="0" y="0"/>
                  </a:lnTo>
                  <a:lnTo>
                    <a:pt x="0" y="6"/>
                  </a:lnTo>
                  <a:lnTo>
                    <a:pt x="3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3" name="Freeform 72"/>
            <p:cNvSpPr/>
            <p:nvPr userDrawn="1"/>
          </p:nvSpPr>
          <p:spPr bwMode="auto">
            <a:xfrm>
              <a:off x="4868863" y="2330450"/>
              <a:ext cx="57150" cy="57150"/>
            </a:xfrm>
            <a:custGeom>
              <a:avLst/>
              <a:gdLst>
                <a:gd name="T0" fmla="*/ 21 w 23"/>
                <a:gd name="T1" fmla="*/ 12 h 23"/>
                <a:gd name="T2" fmla="*/ 19 w 23"/>
                <a:gd name="T3" fmla="*/ 12 h 23"/>
                <a:gd name="T4" fmla="*/ 11 w 23"/>
                <a:gd name="T5" fmla="*/ 19 h 23"/>
                <a:gd name="T6" fmla="*/ 4 w 23"/>
                <a:gd name="T7" fmla="*/ 12 h 23"/>
                <a:gd name="T8" fmla="*/ 11 w 23"/>
                <a:gd name="T9" fmla="*/ 4 h 23"/>
                <a:gd name="T10" fmla="*/ 19 w 23"/>
                <a:gd name="T11" fmla="*/ 12 h 23"/>
                <a:gd name="T12" fmla="*/ 21 w 23"/>
                <a:gd name="T13" fmla="*/ 12 h 23"/>
                <a:gd name="T14" fmla="*/ 23 w 23"/>
                <a:gd name="T15" fmla="*/ 12 h 23"/>
                <a:gd name="T16" fmla="*/ 11 w 23"/>
                <a:gd name="T17" fmla="*/ 0 h 23"/>
                <a:gd name="T18" fmla="*/ 0 w 23"/>
                <a:gd name="T19" fmla="*/ 12 h 23"/>
                <a:gd name="T20" fmla="*/ 11 w 23"/>
                <a:gd name="T21" fmla="*/ 23 h 23"/>
                <a:gd name="T22" fmla="*/ 23 w 23"/>
                <a:gd name="T23" fmla="*/ 12 h 23"/>
                <a:gd name="T24" fmla="*/ 21 w 23"/>
                <a:gd name="T2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21" y="12"/>
                  </a:moveTo>
                  <a:cubicBezTo>
                    <a:pt x="19" y="12"/>
                    <a:pt x="19" y="12"/>
                    <a:pt x="19" y="12"/>
                  </a:cubicBezTo>
                  <a:cubicBezTo>
                    <a:pt x="19" y="16"/>
                    <a:pt x="16" y="19"/>
                    <a:pt x="11" y="19"/>
                  </a:cubicBezTo>
                  <a:cubicBezTo>
                    <a:pt x="7" y="19"/>
                    <a:pt x="4" y="16"/>
                    <a:pt x="4" y="12"/>
                  </a:cubicBezTo>
                  <a:cubicBezTo>
                    <a:pt x="4" y="8"/>
                    <a:pt x="7" y="4"/>
                    <a:pt x="11" y="4"/>
                  </a:cubicBezTo>
                  <a:cubicBezTo>
                    <a:pt x="16" y="4"/>
                    <a:pt x="19" y="8"/>
                    <a:pt x="19" y="12"/>
                  </a:cubicBezTo>
                  <a:cubicBezTo>
                    <a:pt x="21" y="12"/>
                    <a:pt x="21" y="12"/>
                    <a:pt x="21" y="12"/>
                  </a:cubicBezTo>
                  <a:cubicBezTo>
                    <a:pt x="23" y="12"/>
                    <a:pt x="23" y="12"/>
                    <a:pt x="23" y="12"/>
                  </a:cubicBezTo>
                  <a:cubicBezTo>
                    <a:pt x="23" y="5"/>
                    <a:pt x="18" y="0"/>
                    <a:pt x="11" y="0"/>
                  </a:cubicBezTo>
                  <a:cubicBezTo>
                    <a:pt x="5" y="0"/>
                    <a:pt x="0" y="5"/>
                    <a:pt x="0" y="12"/>
                  </a:cubicBezTo>
                  <a:cubicBezTo>
                    <a:pt x="0" y="18"/>
                    <a:pt x="5" y="23"/>
                    <a:pt x="11" y="23"/>
                  </a:cubicBezTo>
                  <a:cubicBezTo>
                    <a:pt x="18" y="23"/>
                    <a:pt x="23" y="18"/>
                    <a:pt x="23" y="12"/>
                  </a:cubicBezTo>
                  <a:lnTo>
                    <a:pt x="21" y="12"/>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4" name="Freeform 150"/>
            <p:cNvSpPr/>
            <p:nvPr userDrawn="1"/>
          </p:nvSpPr>
          <p:spPr bwMode="auto">
            <a:xfrm>
              <a:off x="4929188" y="4318000"/>
              <a:ext cx="180975" cy="93663"/>
            </a:xfrm>
            <a:custGeom>
              <a:avLst/>
              <a:gdLst>
                <a:gd name="T0" fmla="*/ 69 w 73"/>
                <a:gd name="T1" fmla="*/ 0 h 38"/>
                <a:gd name="T2" fmla="*/ 42 w 73"/>
                <a:gd name="T3" fmla="*/ 0 h 38"/>
                <a:gd name="T4" fmla="*/ 14 w 73"/>
                <a:gd name="T5" fmla="*/ 1 h 38"/>
                <a:gd name="T6" fmla="*/ 26 w 73"/>
                <a:gd name="T7" fmla="*/ 7 h 38"/>
                <a:gd name="T8" fmla="*/ 2 w 73"/>
                <a:gd name="T9" fmla="*/ 11 h 38"/>
                <a:gd name="T10" fmla="*/ 24 w 73"/>
                <a:gd name="T11" fmla="*/ 14 h 38"/>
                <a:gd name="T12" fmla="*/ 0 w 73"/>
                <a:gd name="T13" fmla="*/ 20 h 38"/>
                <a:gd name="T14" fmla="*/ 26 w 73"/>
                <a:gd name="T15" fmla="*/ 22 h 38"/>
                <a:gd name="T16" fmla="*/ 6 w 73"/>
                <a:gd name="T17" fmla="*/ 27 h 38"/>
                <a:gd name="T18" fmla="*/ 29 w 73"/>
                <a:gd name="T19" fmla="*/ 30 h 38"/>
                <a:gd name="T20" fmla="*/ 12 w 73"/>
                <a:gd name="T21" fmla="*/ 34 h 38"/>
                <a:gd name="T22" fmla="*/ 73 w 73"/>
                <a:gd name="T23" fmla="*/ 38 h 38"/>
                <a:gd name="T24" fmla="*/ 69 w 73"/>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38">
                  <a:moveTo>
                    <a:pt x="69" y="0"/>
                  </a:moveTo>
                  <a:cubicBezTo>
                    <a:pt x="63" y="0"/>
                    <a:pt x="52" y="0"/>
                    <a:pt x="42" y="0"/>
                  </a:cubicBezTo>
                  <a:cubicBezTo>
                    <a:pt x="28" y="0"/>
                    <a:pt x="15" y="0"/>
                    <a:pt x="14" y="1"/>
                  </a:cubicBezTo>
                  <a:cubicBezTo>
                    <a:pt x="13" y="4"/>
                    <a:pt x="27" y="5"/>
                    <a:pt x="26" y="7"/>
                  </a:cubicBezTo>
                  <a:cubicBezTo>
                    <a:pt x="25" y="9"/>
                    <a:pt x="3" y="8"/>
                    <a:pt x="2" y="11"/>
                  </a:cubicBezTo>
                  <a:cubicBezTo>
                    <a:pt x="2" y="15"/>
                    <a:pt x="24" y="14"/>
                    <a:pt x="24" y="14"/>
                  </a:cubicBezTo>
                  <a:cubicBezTo>
                    <a:pt x="24" y="14"/>
                    <a:pt x="0" y="16"/>
                    <a:pt x="0" y="20"/>
                  </a:cubicBezTo>
                  <a:cubicBezTo>
                    <a:pt x="1" y="22"/>
                    <a:pt x="19" y="22"/>
                    <a:pt x="26" y="22"/>
                  </a:cubicBezTo>
                  <a:cubicBezTo>
                    <a:pt x="19" y="23"/>
                    <a:pt x="6" y="25"/>
                    <a:pt x="6" y="27"/>
                  </a:cubicBezTo>
                  <a:cubicBezTo>
                    <a:pt x="7" y="30"/>
                    <a:pt x="19" y="30"/>
                    <a:pt x="29" y="30"/>
                  </a:cubicBezTo>
                  <a:cubicBezTo>
                    <a:pt x="23" y="30"/>
                    <a:pt x="12" y="31"/>
                    <a:pt x="12" y="34"/>
                  </a:cubicBezTo>
                  <a:cubicBezTo>
                    <a:pt x="12" y="36"/>
                    <a:pt x="43" y="38"/>
                    <a:pt x="73" y="38"/>
                  </a:cubicBezTo>
                  <a:cubicBezTo>
                    <a:pt x="69" y="0"/>
                    <a:pt x="69" y="0"/>
                    <a:pt x="69" y="0"/>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5" name="Freeform 153"/>
            <p:cNvSpPr>
              <a:spLocks noEditPoints="1"/>
            </p:cNvSpPr>
            <p:nvPr userDrawn="1"/>
          </p:nvSpPr>
          <p:spPr bwMode="auto">
            <a:xfrm>
              <a:off x="2795588" y="2609850"/>
              <a:ext cx="20638" cy="44450"/>
            </a:xfrm>
            <a:custGeom>
              <a:avLst/>
              <a:gdLst>
                <a:gd name="T0" fmla="*/ 2 w 8"/>
                <a:gd name="T1" fmla="*/ 10 h 18"/>
                <a:gd name="T2" fmla="*/ 0 w 8"/>
                <a:gd name="T3" fmla="*/ 18 h 18"/>
                <a:gd name="T4" fmla="*/ 4 w 8"/>
                <a:gd name="T5" fmla="*/ 18 h 18"/>
                <a:gd name="T6" fmla="*/ 5 w 8"/>
                <a:gd name="T7" fmla="*/ 11 h 18"/>
                <a:gd name="T8" fmla="*/ 2 w 8"/>
                <a:gd name="T9" fmla="*/ 10 h 18"/>
                <a:gd name="T10" fmla="*/ 8 w 8"/>
                <a:gd name="T11" fmla="*/ 0 h 18"/>
                <a:gd name="T12" fmla="*/ 4 w 8"/>
                <a:gd name="T13" fmla="*/ 0 h 18"/>
                <a:gd name="T14" fmla="*/ 3 w 8"/>
                <a:gd name="T15" fmla="*/ 2 h 18"/>
                <a:gd name="T16" fmla="*/ 7 w 8"/>
                <a:gd name="T17" fmla="*/ 3 h 18"/>
                <a:gd name="T18" fmla="*/ 8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2" y="10"/>
                  </a:moveTo>
                  <a:cubicBezTo>
                    <a:pt x="1" y="13"/>
                    <a:pt x="1" y="16"/>
                    <a:pt x="0" y="18"/>
                  </a:cubicBezTo>
                  <a:cubicBezTo>
                    <a:pt x="4" y="18"/>
                    <a:pt x="4" y="18"/>
                    <a:pt x="4" y="18"/>
                  </a:cubicBezTo>
                  <a:cubicBezTo>
                    <a:pt x="5" y="16"/>
                    <a:pt x="5" y="14"/>
                    <a:pt x="5" y="11"/>
                  </a:cubicBezTo>
                  <a:cubicBezTo>
                    <a:pt x="2" y="10"/>
                    <a:pt x="2" y="10"/>
                    <a:pt x="2" y="10"/>
                  </a:cubicBezTo>
                  <a:moveTo>
                    <a:pt x="8" y="0"/>
                  </a:moveTo>
                  <a:cubicBezTo>
                    <a:pt x="4" y="0"/>
                    <a:pt x="4" y="0"/>
                    <a:pt x="4" y="0"/>
                  </a:cubicBezTo>
                  <a:cubicBezTo>
                    <a:pt x="4" y="1"/>
                    <a:pt x="3" y="2"/>
                    <a:pt x="3" y="2"/>
                  </a:cubicBezTo>
                  <a:cubicBezTo>
                    <a:pt x="7" y="3"/>
                    <a:pt x="7" y="3"/>
                    <a:pt x="7" y="3"/>
                  </a:cubicBezTo>
                  <a:cubicBezTo>
                    <a:pt x="7" y="2"/>
                    <a:pt x="8" y="1"/>
                    <a:pt x="8" y="0"/>
                  </a:cubicBezTo>
                </a:path>
              </a:pathLst>
            </a:custGeom>
            <a:solidFill>
              <a:srgbClr val="88B0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6" name="Freeform 163"/>
            <p:cNvSpPr>
              <a:spLocks noEditPoints="1"/>
            </p:cNvSpPr>
            <p:nvPr userDrawn="1"/>
          </p:nvSpPr>
          <p:spPr bwMode="auto">
            <a:xfrm>
              <a:off x="2957513" y="3421063"/>
              <a:ext cx="666750" cy="663575"/>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4"/>
                    <a:pt x="4" y="248"/>
                    <a:pt x="4" y="241"/>
                  </a:cubicBezTo>
                  <a:cubicBezTo>
                    <a:pt x="4" y="27"/>
                    <a:pt x="4" y="27"/>
                    <a:pt x="4" y="27"/>
                  </a:cubicBezTo>
                  <a:cubicBezTo>
                    <a:pt x="4" y="21"/>
                    <a:pt x="7" y="15"/>
                    <a:pt x="11" y="11"/>
                  </a:cubicBezTo>
                  <a:cubicBezTo>
                    <a:pt x="15" y="7"/>
                    <a:pt x="21" y="4"/>
                    <a:pt x="27" y="4"/>
                  </a:cubicBezTo>
                  <a:cubicBezTo>
                    <a:pt x="242" y="4"/>
                    <a:pt x="242" y="4"/>
                    <a:pt x="242" y="4"/>
                  </a:cubicBezTo>
                  <a:cubicBezTo>
                    <a:pt x="248" y="4"/>
                    <a:pt x="254" y="7"/>
                    <a:pt x="258" y="11"/>
                  </a:cubicBezTo>
                  <a:cubicBezTo>
                    <a:pt x="262" y="15"/>
                    <a:pt x="265" y="21"/>
                    <a:pt x="265" y="27"/>
                  </a:cubicBezTo>
                  <a:cubicBezTo>
                    <a:pt x="265" y="241"/>
                    <a:pt x="265" y="241"/>
                    <a:pt x="265" y="241"/>
                  </a:cubicBezTo>
                  <a:cubicBezTo>
                    <a:pt x="265" y="248"/>
                    <a:pt x="262" y="254"/>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3" y="0"/>
                    <a:pt x="0" y="12"/>
                    <a:pt x="0" y="27"/>
                  </a:cubicBezTo>
                  <a:cubicBezTo>
                    <a:pt x="0" y="241"/>
                    <a:pt x="0" y="241"/>
                    <a:pt x="0" y="241"/>
                  </a:cubicBezTo>
                  <a:cubicBezTo>
                    <a:pt x="0" y="256"/>
                    <a:pt x="13" y="268"/>
                    <a:pt x="27" y="268"/>
                  </a:cubicBezTo>
                  <a:cubicBezTo>
                    <a:pt x="242" y="268"/>
                    <a:pt x="242" y="268"/>
                    <a:pt x="242" y="268"/>
                  </a:cubicBezTo>
                  <a:cubicBezTo>
                    <a:pt x="257" y="268"/>
                    <a:pt x="269" y="256"/>
                    <a:pt x="269" y="241"/>
                  </a:cubicBezTo>
                  <a:cubicBezTo>
                    <a:pt x="269" y="27"/>
                    <a:pt x="269" y="27"/>
                    <a:pt x="269" y="27"/>
                  </a:cubicBezTo>
                  <a:cubicBezTo>
                    <a:pt x="269" y="12"/>
                    <a:pt x="257"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7" name="Freeform 164"/>
            <p:cNvSpPr>
              <a:spLocks noEditPoints="1"/>
            </p:cNvSpPr>
            <p:nvPr userDrawn="1"/>
          </p:nvSpPr>
          <p:spPr bwMode="auto">
            <a:xfrm>
              <a:off x="3068638" y="3608388"/>
              <a:ext cx="327025" cy="315913"/>
            </a:xfrm>
            <a:custGeom>
              <a:avLst/>
              <a:gdLst>
                <a:gd name="T0" fmla="*/ 6 w 132"/>
                <a:gd name="T1" fmla="*/ 123 h 127"/>
                <a:gd name="T2" fmla="*/ 66 w 132"/>
                <a:gd name="T3" fmla="*/ 6 h 127"/>
                <a:gd name="T4" fmla="*/ 127 w 132"/>
                <a:gd name="T5" fmla="*/ 123 h 127"/>
                <a:gd name="T6" fmla="*/ 6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1 w 132"/>
                <a:gd name="T23" fmla="*/ 126 h 127"/>
                <a:gd name="T24" fmla="*/ 2 w 132"/>
                <a:gd name="T25" fmla="*/ 127 h 127"/>
                <a:gd name="T26" fmla="*/ 130 w 132"/>
                <a:gd name="T27" fmla="*/ 127 h 127"/>
                <a:gd name="T28" fmla="*/ 132 w 132"/>
                <a:gd name="T29" fmla="*/ 126 h 127"/>
                <a:gd name="T30" fmla="*/ 132 w 132"/>
                <a:gd name="T31" fmla="*/ 124 h 127"/>
                <a:gd name="T32" fmla="*/ 68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6" y="123"/>
                  </a:moveTo>
                  <a:cubicBezTo>
                    <a:pt x="66" y="6"/>
                    <a:pt x="66" y="6"/>
                    <a:pt x="66" y="6"/>
                  </a:cubicBezTo>
                  <a:cubicBezTo>
                    <a:pt x="127" y="123"/>
                    <a:pt x="127" y="123"/>
                    <a:pt x="127" y="123"/>
                  </a:cubicBezTo>
                  <a:cubicBezTo>
                    <a:pt x="6" y="123"/>
                    <a:pt x="6" y="123"/>
                    <a:pt x="6" y="123"/>
                  </a:cubicBezTo>
                  <a:moveTo>
                    <a:pt x="64" y="3"/>
                  </a:moveTo>
                  <a:cubicBezTo>
                    <a:pt x="66" y="2"/>
                    <a:pt x="66" y="2"/>
                    <a:pt x="66" y="2"/>
                  </a:cubicBezTo>
                  <a:cubicBezTo>
                    <a:pt x="64" y="3"/>
                    <a:pt x="64" y="3"/>
                    <a:pt x="64" y="3"/>
                  </a:cubicBezTo>
                  <a:moveTo>
                    <a:pt x="66" y="0"/>
                  </a:moveTo>
                  <a:cubicBezTo>
                    <a:pt x="65" y="0"/>
                    <a:pt x="65" y="0"/>
                    <a:pt x="64" y="1"/>
                  </a:cubicBezTo>
                  <a:cubicBezTo>
                    <a:pt x="64" y="1"/>
                    <a:pt x="64" y="1"/>
                    <a:pt x="64" y="1"/>
                  </a:cubicBezTo>
                  <a:cubicBezTo>
                    <a:pt x="0" y="124"/>
                    <a:pt x="0" y="124"/>
                    <a:pt x="0" y="124"/>
                  </a:cubicBezTo>
                  <a:cubicBezTo>
                    <a:pt x="0" y="125"/>
                    <a:pt x="0" y="126"/>
                    <a:pt x="1" y="126"/>
                  </a:cubicBezTo>
                  <a:cubicBezTo>
                    <a:pt x="1" y="127"/>
                    <a:pt x="2" y="127"/>
                    <a:pt x="2" y="127"/>
                  </a:cubicBezTo>
                  <a:cubicBezTo>
                    <a:pt x="130" y="127"/>
                    <a:pt x="130" y="127"/>
                    <a:pt x="130" y="127"/>
                  </a:cubicBezTo>
                  <a:cubicBezTo>
                    <a:pt x="131" y="127"/>
                    <a:pt x="131" y="127"/>
                    <a:pt x="132" y="126"/>
                  </a:cubicBezTo>
                  <a:cubicBezTo>
                    <a:pt x="132" y="126"/>
                    <a:pt x="132" y="125"/>
                    <a:pt x="132" y="124"/>
                  </a:cubicBezTo>
                  <a:cubicBezTo>
                    <a:pt x="68" y="1"/>
                    <a:pt x="68" y="1"/>
                    <a:pt x="68" y="1"/>
                  </a:cubicBezTo>
                  <a:cubicBezTo>
                    <a:pt x="68" y="0"/>
                    <a:pt x="67"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8" name="Freeform 165"/>
            <p:cNvSpPr>
              <a:spLocks noEditPoints="1"/>
            </p:cNvSpPr>
            <p:nvPr userDrawn="1"/>
          </p:nvSpPr>
          <p:spPr bwMode="auto">
            <a:xfrm>
              <a:off x="3359150" y="3708400"/>
              <a:ext cx="153988" cy="215900"/>
            </a:xfrm>
            <a:custGeom>
              <a:avLst/>
              <a:gdLst>
                <a:gd name="T0" fmla="*/ 31 w 62"/>
                <a:gd name="T1" fmla="*/ 83 h 87"/>
                <a:gd name="T2" fmla="*/ 4 w 62"/>
                <a:gd name="T3" fmla="*/ 32 h 87"/>
                <a:gd name="T4" fmla="*/ 17 w 62"/>
                <a:gd name="T5" fmla="*/ 7 h 87"/>
                <a:gd name="T6" fmla="*/ 57 w 62"/>
                <a:gd name="T7" fmla="*/ 83 h 87"/>
                <a:gd name="T8" fmla="*/ 31 w 62"/>
                <a:gd name="T9" fmla="*/ 83 h 87"/>
                <a:gd name="T10" fmla="*/ 16 w 62"/>
                <a:gd name="T11" fmla="*/ 3 h 87"/>
                <a:gd name="T12" fmla="*/ 17 w 62"/>
                <a:gd name="T13" fmla="*/ 2 h 87"/>
                <a:gd name="T14" fmla="*/ 16 w 62"/>
                <a:gd name="T15" fmla="*/ 3 h 87"/>
                <a:gd name="T16" fmla="*/ 17 w 62"/>
                <a:gd name="T17" fmla="*/ 0 h 87"/>
                <a:gd name="T18" fmla="*/ 16 w 62"/>
                <a:gd name="T19" fmla="*/ 1 h 87"/>
                <a:gd name="T20" fmla="*/ 16 w 62"/>
                <a:gd name="T21" fmla="*/ 1 h 87"/>
                <a:gd name="T22" fmla="*/ 0 w 62"/>
                <a:gd name="T23" fmla="*/ 31 h 87"/>
                <a:gd name="T24" fmla="*/ 0 w 62"/>
                <a:gd name="T25" fmla="*/ 33 h 87"/>
                <a:gd name="T26" fmla="*/ 28 w 62"/>
                <a:gd name="T27" fmla="*/ 86 h 87"/>
                <a:gd name="T28" fmla="*/ 29 w 62"/>
                <a:gd name="T29" fmla="*/ 87 h 87"/>
                <a:gd name="T30" fmla="*/ 60 w 62"/>
                <a:gd name="T31" fmla="*/ 87 h 87"/>
                <a:gd name="T32" fmla="*/ 62 w 62"/>
                <a:gd name="T33" fmla="*/ 86 h 87"/>
                <a:gd name="T34" fmla="*/ 62 w 62"/>
                <a:gd name="T35" fmla="*/ 84 h 87"/>
                <a:gd name="T36" fmla="*/ 19 w 62"/>
                <a:gd name="T37" fmla="*/ 1 h 87"/>
                <a:gd name="T38" fmla="*/ 17 w 62"/>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87">
                  <a:moveTo>
                    <a:pt x="31" y="83"/>
                  </a:moveTo>
                  <a:cubicBezTo>
                    <a:pt x="4" y="32"/>
                    <a:pt x="4" y="32"/>
                    <a:pt x="4" y="32"/>
                  </a:cubicBezTo>
                  <a:cubicBezTo>
                    <a:pt x="17" y="7"/>
                    <a:pt x="17" y="7"/>
                    <a:pt x="17" y="7"/>
                  </a:cubicBezTo>
                  <a:cubicBezTo>
                    <a:pt x="57" y="83"/>
                    <a:pt x="57" y="83"/>
                    <a:pt x="57" y="83"/>
                  </a:cubicBezTo>
                  <a:cubicBezTo>
                    <a:pt x="31" y="83"/>
                    <a:pt x="31" y="83"/>
                    <a:pt x="31" y="83"/>
                  </a:cubicBezTo>
                  <a:moveTo>
                    <a:pt x="16" y="3"/>
                  </a:moveTo>
                  <a:cubicBezTo>
                    <a:pt x="17" y="2"/>
                    <a:pt x="17" y="2"/>
                    <a:pt x="17" y="2"/>
                  </a:cubicBezTo>
                  <a:cubicBezTo>
                    <a:pt x="16" y="3"/>
                    <a:pt x="16" y="3"/>
                    <a:pt x="16" y="3"/>
                  </a:cubicBezTo>
                  <a:moveTo>
                    <a:pt x="17" y="0"/>
                  </a:move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29" y="87"/>
                  </a:cubicBezTo>
                  <a:cubicBezTo>
                    <a:pt x="60" y="87"/>
                    <a:pt x="60" y="87"/>
                    <a:pt x="60" y="87"/>
                  </a:cubicBezTo>
                  <a:cubicBezTo>
                    <a:pt x="61" y="87"/>
                    <a:pt x="62" y="87"/>
                    <a:pt x="62" y="86"/>
                  </a:cubicBezTo>
                  <a:cubicBezTo>
                    <a:pt x="62" y="86"/>
                    <a:pt x="62" y="85"/>
                    <a:pt x="62" y="84"/>
                  </a:cubicBezTo>
                  <a:cubicBezTo>
                    <a:pt x="19" y="1"/>
                    <a:pt x="19" y="1"/>
                    <a:pt x="19" y="1"/>
                  </a:cubicBezTo>
                  <a:cubicBezTo>
                    <a:pt x="19" y="1"/>
                    <a:pt x="18" y="0"/>
                    <a:pt x="1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9" name="Freeform 166"/>
            <p:cNvSpPr>
              <a:spLocks noEditPoints="1"/>
            </p:cNvSpPr>
            <p:nvPr userDrawn="1"/>
          </p:nvSpPr>
          <p:spPr bwMode="auto">
            <a:xfrm>
              <a:off x="3416300" y="3619500"/>
              <a:ext cx="74613" cy="76200"/>
            </a:xfrm>
            <a:custGeom>
              <a:avLst/>
              <a:gdLst>
                <a:gd name="T0" fmla="*/ 30 w 30"/>
                <a:gd name="T1" fmla="*/ 15 h 31"/>
                <a:gd name="T2" fmla="*/ 30 w 30"/>
                <a:gd name="T3" fmla="*/ 15 h 31"/>
                <a:gd name="T4" fmla="*/ 30 w 30"/>
                <a:gd name="T5" fmla="*/ 15 h 31"/>
                <a:gd name="T6" fmla="*/ 15 w 30"/>
                <a:gd name="T7" fmla="*/ 0 h 31"/>
                <a:gd name="T8" fmla="*/ 0 w 30"/>
                <a:gd name="T9" fmla="*/ 15 h 31"/>
                <a:gd name="T10" fmla="*/ 15 w 30"/>
                <a:gd name="T11" fmla="*/ 31 h 31"/>
                <a:gd name="T12" fmla="*/ 30 w 30"/>
                <a:gd name="T13" fmla="*/ 15 h 31"/>
                <a:gd name="T14" fmla="*/ 28 w 30"/>
                <a:gd name="T15" fmla="*/ 15 h 31"/>
                <a:gd name="T16" fmla="*/ 26 w 30"/>
                <a:gd name="T17" fmla="*/ 15 h 31"/>
                <a:gd name="T18" fmla="*/ 15 w 30"/>
                <a:gd name="T19" fmla="*/ 27 h 31"/>
                <a:gd name="T20" fmla="*/ 4 w 30"/>
                <a:gd name="T21" fmla="*/ 15 h 31"/>
                <a:gd name="T22" fmla="*/ 15 w 30"/>
                <a:gd name="T23" fmla="*/ 4 h 31"/>
                <a:gd name="T24" fmla="*/ 26 w 30"/>
                <a:gd name="T25" fmla="*/ 15 h 31"/>
                <a:gd name="T26" fmla="*/ 28 w 30"/>
                <a:gd name="T27" fmla="*/ 15 h 31"/>
                <a:gd name="T28" fmla="*/ 30 w 30"/>
                <a:gd name="T29" fmla="*/ 15 h 31"/>
                <a:gd name="T30" fmla="*/ 30 w 30"/>
                <a:gd name="T31" fmla="*/ 15 h 31"/>
                <a:gd name="T32" fmla="*/ 15 w 30"/>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1">
                  <a:moveTo>
                    <a:pt x="30" y="15"/>
                  </a:moveTo>
                  <a:cubicBezTo>
                    <a:pt x="30" y="15"/>
                    <a:pt x="30" y="15"/>
                    <a:pt x="30" y="15"/>
                  </a:cubicBezTo>
                  <a:cubicBezTo>
                    <a:pt x="30" y="15"/>
                    <a:pt x="30" y="15"/>
                    <a:pt x="30" y="15"/>
                  </a:cubicBezTo>
                  <a:moveTo>
                    <a:pt x="15" y="0"/>
                  </a:moveTo>
                  <a:cubicBezTo>
                    <a:pt x="7" y="0"/>
                    <a:pt x="0" y="7"/>
                    <a:pt x="0" y="15"/>
                  </a:cubicBezTo>
                  <a:cubicBezTo>
                    <a:pt x="0" y="24"/>
                    <a:pt x="7" y="31"/>
                    <a:pt x="15" y="31"/>
                  </a:cubicBezTo>
                  <a:cubicBezTo>
                    <a:pt x="24" y="31"/>
                    <a:pt x="30" y="24"/>
                    <a:pt x="30" y="15"/>
                  </a:cubicBezTo>
                  <a:cubicBezTo>
                    <a:pt x="28" y="15"/>
                    <a:pt x="28" y="15"/>
                    <a:pt x="28" y="15"/>
                  </a:cubicBezTo>
                  <a:cubicBezTo>
                    <a:pt x="26" y="15"/>
                    <a:pt x="26" y="15"/>
                    <a:pt x="26" y="15"/>
                  </a:cubicBezTo>
                  <a:cubicBezTo>
                    <a:pt x="26" y="22"/>
                    <a:pt x="21" y="27"/>
                    <a:pt x="15" y="27"/>
                  </a:cubicBezTo>
                  <a:cubicBezTo>
                    <a:pt x="9" y="27"/>
                    <a:pt x="4" y="22"/>
                    <a:pt x="4" y="15"/>
                  </a:cubicBezTo>
                  <a:cubicBezTo>
                    <a:pt x="4" y="9"/>
                    <a:pt x="9" y="4"/>
                    <a:pt x="15" y="4"/>
                  </a:cubicBezTo>
                  <a:cubicBezTo>
                    <a:pt x="21" y="4"/>
                    <a:pt x="26" y="9"/>
                    <a:pt x="26" y="15"/>
                  </a:cubicBezTo>
                  <a:cubicBezTo>
                    <a:pt x="28" y="15"/>
                    <a:pt x="28" y="15"/>
                    <a:pt x="28" y="15"/>
                  </a:cubicBezTo>
                  <a:cubicBezTo>
                    <a:pt x="30" y="15"/>
                    <a:pt x="30" y="15"/>
                    <a:pt x="30" y="15"/>
                  </a:cubicBezTo>
                  <a:cubicBezTo>
                    <a:pt x="30" y="15"/>
                    <a:pt x="30" y="15"/>
                    <a:pt x="30" y="15"/>
                  </a:cubicBezTo>
                  <a:cubicBezTo>
                    <a:pt x="30" y="7"/>
                    <a:pt x="24" y="0"/>
                    <a:pt x="15"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0" name="Freeform 167"/>
            <p:cNvSpPr>
              <a:spLocks noEditPoints="1"/>
            </p:cNvSpPr>
            <p:nvPr userDrawn="1"/>
          </p:nvSpPr>
          <p:spPr bwMode="auto">
            <a:xfrm>
              <a:off x="3962400" y="3421063"/>
              <a:ext cx="666750" cy="663575"/>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4"/>
                    <a:pt x="4" y="248"/>
                    <a:pt x="4" y="241"/>
                  </a:cubicBezTo>
                  <a:cubicBezTo>
                    <a:pt x="4" y="27"/>
                    <a:pt x="4" y="27"/>
                    <a:pt x="4" y="27"/>
                  </a:cubicBezTo>
                  <a:cubicBezTo>
                    <a:pt x="4" y="21"/>
                    <a:pt x="7" y="15"/>
                    <a:pt x="11" y="11"/>
                  </a:cubicBezTo>
                  <a:cubicBezTo>
                    <a:pt x="15" y="7"/>
                    <a:pt x="21" y="4"/>
                    <a:pt x="27" y="4"/>
                  </a:cubicBezTo>
                  <a:cubicBezTo>
                    <a:pt x="242" y="4"/>
                    <a:pt x="242" y="4"/>
                    <a:pt x="242" y="4"/>
                  </a:cubicBezTo>
                  <a:cubicBezTo>
                    <a:pt x="248" y="4"/>
                    <a:pt x="254" y="7"/>
                    <a:pt x="258" y="11"/>
                  </a:cubicBezTo>
                  <a:cubicBezTo>
                    <a:pt x="262" y="15"/>
                    <a:pt x="265" y="21"/>
                    <a:pt x="265" y="27"/>
                  </a:cubicBezTo>
                  <a:cubicBezTo>
                    <a:pt x="265" y="241"/>
                    <a:pt x="265" y="241"/>
                    <a:pt x="265" y="241"/>
                  </a:cubicBezTo>
                  <a:cubicBezTo>
                    <a:pt x="265" y="248"/>
                    <a:pt x="262" y="254"/>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2" y="0"/>
                    <a:pt x="0" y="12"/>
                    <a:pt x="0" y="27"/>
                  </a:cubicBezTo>
                  <a:cubicBezTo>
                    <a:pt x="0" y="241"/>
                    <a:pt x="0" y="241"/>
                    <a:pt x="0" y="241"/>
                  </a:cubicBezTo>
                  <a:cubicBezTo>
                    <a:pt x="0" y="256"/>
                    <a:pt x="12" y="268"/>
                    <a:pt x="27" y="268"/>
                  </a:cubicBezTo>
                  <a:cubicBezTo>
                    <a:pt x="242" y="268"/>
                    <a:pt x="242" y="268"/>
                    <a:pt x="242" y="268"/>
                  </a:cubicBezTo>
                  <a:cubicBezTo>
                    <a:pt x="256" y="268"/>
                    <a:pt x="269" y="256"/>
                    <a:pt x="269" y="241"/>
                  </a:cubicBezTo>
                  <a:cubicBezTo>
                    <a:pt x="269" y="27"/>
                    <a:pt x="269" y="27"/>
                    <a:pt x="269" y="27"/>
                  </a:cubicBezTo>
                  <a:cubicBezTo>
                    <a:pt x="269" y="12"/>
                    <a:pt x="256"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1" name="Freeform 194"/>
            <p:cNvSpPr/>
            <p:nvPr userDrawn="1"/>
          </p:nvSpPr>
          <p:spPr bwMode="auto">
            <a:xfrm>
              <a:off x="4929188" y="4318000"/>
              <a:ext cx="171450" cy="93663"/>
            </a:xfrm>
            <a:custGeom>
              <a:avLst/>
              <a:gdLst>
                <a:gd name="T0" fmla="*/ 30 w 69"/>
                <a:gd name="T1" fmla="*/ 0 h 38"/>
                <a:gd name="T2" fmla="*/ 20 w 69"/>
                <a:gd name="T3" fmla="*/ 0 h 38"/>
                <a:gd name="T4" fmla="*/ 15 w 69"/>
                <a:gd name="T5" fmla="*/ 1 h 38"/>
                <a:gd name="T6" fmla="*/ 14 w 69"/>
                <a:gd name="T7" fmla="*/ 1 h 38"/>
                <a:gd name="T8" fmla="*/ 15 w 69"/>
                <a:gd name="T9" fmla="*/ 2 h 38"/>
                <a:gd name="T10" fmla="*/ 19 w 69"/>
                <a:gd name="T11" fmla="*/ 4 h 38"/>
                <a:gd name="T12" fmla="*/ 26 w 69"/>
                <a:gd name="T13" fmla="*/ 7 h 38"/>
                <a:gd name="T14" fmla="*/ 19 w 69"/>
                <a:gd name="T15" fmla="*/ 8 h 38"/>
                <a:gd name="T16" fmla="*/ 15 w 69"/>
                <a:gd name="T17" fmla="*/ 9 h 38"/>
                <a:gd name="T18" fmla="*/ 2 w 69"/>
                <a:gd name="T19" fmla="*/ 11 h 38"/>
                <a:gd name="T20" fmla="*/ 15 w 69"/>
                <a:gd name="T21" fmla="*/ 14 h 38"/>
                <a:gd name="T22" fmla="*/ 19 w 69"/>
                <a:gd name="T23" fmla="*/ 14 h 38"/>
                <a:gd name="T24" fmla="*/ 19 w 69"/>
                <a:gd name="T25" fmla="*/ 14 h 38"/>
                <a:gd name="T26" fmla="*/ 24 w 69"/>
                <a:gd name="T27" fmla="*/ 14 h 38"/>
                <a:gd name="T28" fmla="*/ 19 w 69"/>
                <a:gd name="T29" fmla="*/ 15 h 38"/>
                <a:gd name="T30" fmla="*/ 15 w 69"/>
                <a:gd name="T31" fmla="*/ 15 h 38"/>
                <a:gd name="T32" fmla="*/ 0 w 69"/>
                <a:gd name="T33" fmla="*/ 20 h 38"/>
                <a:gd name="T34" fmla="*/ 15 w 69"/>
                <a:gd name="T35" fmla="*/ 22 h 38"/>
                <a:gd name="T36" fmla="*/ 19 w 69"/>
                <a:gd name="T37" fmla="*/ 22 h 38"/>
                <a:gd name="T38" fmla="*/ 26 w 69"/>
                <a:gd name="T39" fmla="*/ 22 h 38"/>
                <a:gd name="T40" fmla="*/ 19 w 69"/>
                <a:gd name="T41" fmla="*/ 23 h 38"/>
                <a:gd name="T42" fmla="*/ 15 w 69"/>
                <a:gd name="T43" fmla="*/ 24 h 38"/>
                <a:gd name="T44" fmla="*/ 6 w 69"/>
                <a:gd name="T45" fmla="*/ 27 h 38"/>
                <a:gd name="T46" fmla="*/ 15 w 69"/>
                <a:gd name="T47" fmla="*/ 29 h 38"/>
                <a:gd name="T48" fmla="*/ 19 w 69"/>
                <a:gd name="T49" fmla="*/ 30 h 38"/>
                <a:gd name="T50" fmla="*/ 29 w 69"/>
                <a:gd name="T51" fmla="*/ 30 h 38"/>
                <a:gd name="T52" fmla="*/ 19 w 69"/>
                <a:gd name="T53" fmla="*/ 31 h 38"/>
                <a:gd name="T54" fmla="*/ 15 w 69"/>
                <a:gd name="T55" fmla="*/ 32 h 38"/>
                <a:gd name="T56" fmla="*/ 12 w 69"/>
                <a:gd name="T57" fmla="*/ 34 h 38"/>
                <a:gd name="T58" fmla="*/ 15 w 69"/>
                <a:gd name="T59" fmla="*/ 35 h 38"/>
                <a:gd name="T60" fmla="*/ 19 w 69"/>
                <a:gd name="T61" fmla="*/ 36 h 38"/>
                <a:gd name="T62" fmla="*/ 69 w 69"/>
                <a:gd name="T63" fmla="*/ 38 h 38"/>
                <a:gd name="T64" fmla="*/ 64 w 69"/>
                <a:gd name="T65" fmla="*/ 0 h 38"/>
                <a:gd name="T66" fmla="*/ 55 w 69"/>
                <a:gd name="T67" fmla="*/ 0 h 38"/>
                <a:gd name="T68" fmla="*/ 42 w 69"/>
                <a:gd name="T69" fmla="*/ 0 h 38"/>
                <a:gd name="T70" fmla="*/ 30 w 69"/>
                <a:gd name="T7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38">
                  <a:moveTo>
                    <a:pt x="30" y="0"/>
                  </a:moveTo>
                  <a:cubicBezTo>
                    <a:pt x="26" y="0"/>
                    <a:pt x="22" y="0"/>
                    <a:pt x="20" y="0"/>
                  </a:cubicBezTo>
                  <a:cubicBezTo>
                    <a:pt x="18" y="0"/>
                    <a:pt x="16" y="0"/>
                    <a:pt x="15" y="1"/>
                  </a:cubicBezTo>
                  <a:cubicBezTo>
                    <a:pt x="15" y="1"/>
                    <a:pt x="14" y="1"/>
                    <a:pt x="14" y="1"/>
                  </a:cubicBezTo>
                  <a:cubicBezTo>
                    <a:pt x="14" y="2"/>
                    <a:pt x="14" y="2"/>
                    <a:pt x="15" y="2"/>
                  </a:cubicBezTo>
                  <a:cubicBezTo>
                    <a:pt x="16" y="3"/>
                    <a:pt x="17" y="3"/>
                    <a:pt x="19" y="4"/>
                  </a:cubicBezTo>
                  <a:cubicBezTo>
                    <a:pt x="22" y="5"/>
                    <a:pt x="27" y="6"/>
                    <a:pt x="26" y="7"/>
                  </a:cubicBezTo>
                  <a:cubicBezTo>
                    <a:pt x="25" y="8"/>
                    <a:pt x="22" y="8"/>
                    <a:pt x="19" y="8"/>
                  </a:cubicBezTo>
                  <a:cubicBezTo>
                    <a:pt x="17" y="8"/>
                    <a:pt x="16" y="8"/>
                    <a:pt x="15" y="9"/>
                  </a:cubicBezTo>
                  <a:cubicBezTo>
                    <a:pt x="9" y="9"/>
                    <a:pt x="3" y="10"/>
                    <a:pt x="2" y="11"/>
                  </a:cubicBezTo>
                  <a:cubicBezTo>
                    <a:pt x="2" y="13"/>
                    <a:pt x="9" y="14"/>
                    <a:pt x="15" y="14"/>
                  </a:cubicBezTo>
                  <a:cubicBezTo>
                    <a:pt x="16" y="14"/>
                    <a:pt x="17" y="14"/>
                    <a:pt x="19" y="14"/>
                  </a:cubicBezTo>
                  <a:cubicBezTo>
                    <a:pt x="19" y="14"/>
                    <a:pt x="19" y="14"/>
                    <a:pt x="19" y="14"/>
                  </a:cubicBezTo>
                  <a:cubicBezTo>
                    <a:pt x="22" y="14"/>
                    <a:pt x="24" y="14"/>
                    <a:pt x="24" y="14"/>
                  </a:cubicBezTo>
                  <a:cubicBezTo>
                    <a:pt x="24" y="14"/>
                    <a:pt x="22" y="14"/>
                    <a:pt x="19" y="15"/>
                  </a:cubicBezTo>
                  <a:cubicBezTo>
                    <a:pt x="17" y="15"/>
                    <a:pt x="16" y="15"/>
                    <a:pt x="15" y="15"/>
                  </a:cubicBezTo>
                  <a:cubicBezTo>
                    <a:pt x="8" y="16"/>
                    <a:pt x="0" y="18"/>
                    <a:pt x="0" y="20"/>
                  </a:cubicBezTo>
                  <a:cubicBezTo>
                    <a:pt x="0" y="21"/>
                    <a:pt x="8" y="22"/>
                    <a:pt x="15" y="22"/>
                  </a:cubicBezTo>
                  <a:cubicBezTo>
                    <a:pt x="16" y="22"/>
                    <a:pt x="17" y="22"/>
                    <a:pt x="19" y="22"/>
                  </a:cubicBezTo>
                  <a:cubicBezTo>
                    <a:pt x="22" y="22"/>
                    <a:pt x="24" y="22"/>
                    <a:pt x="26" y="22"/>
                  </a:cubicBezTo>
                  <a:cubicBezTo>
                    <a:pt x="24" y="22"/>
                    <a:pt x="21" y="23"/>
                    <a:pt x="19" y="23"/>
                  </a:cubicBezTo>
                  <a:cubicBezTo>
                    <a:pt x="17" y="23"/>
                    <a:pt x="16" y="23"/>
                    <a:pt x="15" y="24"/>
                  </a:cubicBezTo>
                  <a:cubicBezTo>
                    <a:pt x="10" y="24"/>
                    <a:pt x="6" y="26"/>
                    <a:pt x="6" y="27"/>
                  </a:cubicBezTo>
                  <a:cubicBezTo>
                    <a:pt x="6" y="29"/>
                    <a:pt x="10" y="29"/>
                    <a:pt x="15" y="29"/>
                  </a:cubicBezTo>
                  <a:cubicBezTo>
                    <a:pt x="16" y="29"/>
                    <a:pt x="17" y="30"/>
                    <a:pt x="19" y="30"/>
                  </a:cubicBezTo>
                  <a:cubicBezTo>
                    <a:pt x="22" y="30"/>
                    <a:pt x="26" y="30"/>
                    <a:pt x="29" y="30"/>
                  </a:cubicBezTo>
                  <a:cubicBezTo>
                    <a:pt x="26" y="30"/>
                    <a:pt x="22" y="30"/>
                    <a:pt x="19" y="31"/>
                  </a:cubicBezTo>
                  <a:cubicBezTo>
                    <a:pt x="17" y="31"/>
                    <a:pt x="16" y="32"/>
                    <a:pt x="15" y="32"/>
                  </a:cubicBezTo>
                  <a:cubicBezTo>
                    <a:pt x="13" y="32"/>
                    <a:pt x="12" y="33"/>
                    <a:pt x="12" y="34"/>
                  </a:cubicBezTo>
                  <a:cubicBezTo>
                    <a:pt x="12" y="34"/>
                    <a:pt x="13" y="35"/>
                    <a:pt x="15" y="35"/>
                  </a:cubicBezTo>
                  <a:cubicBezTo>
                    <a:pt x="16" y="35"/>
                    <a:pt x="17" y="35"/>
                    <a:pt x="19" y="36"/>
                  </a:cubicBezTo>
                  <a:cubicBezTo>
                    <a:pt x="29" y="37"/>
                    <a:pt x="49" y="38"/>
                    <a:pt x="69" y="38"/>
                  </a:cubicBezTo>
                  <a:cubicBezTo>
                    <a:pt x="64" y="0"/>
                    <a:pt x="64" y="0"/>
                    <a:pt x="64" y="0"/>
                  </a:cubicBezTo>
                  <a:cubicBezTo>
                    <a:pt x="61" y="0"/>
                    <a:pt x="58" y="0"/>
                    <a:pt x="55" y="0"/>
                  </a:cubicBezTo>
                  <a:cubicBezTo>
                    <a:pt x="51" y="0"/>
                    <a:pt x="46" y="0"/>
                    <a:pt x="42" y="0"/>
                  </a:cubicBezTo>
                  <a:cubicBezTo>
                    <a:pt x="38" y="0"/>
                    <a:pt x="34" y="0"/>
                    <a:pt x="30" y="0"/>
                  </a:cubicBezTo>
                </a:path>
              </a:pathLst>
            </a:custGeom>
            <a:solidFill>
              <a:srgbClr val="BAB0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2" name="Freeform 168"/>
            <p:cNvSpPr>
              <a:spLocks noEditPoints="1"/>
            </p:cNvSpPr>
            <p:nvPr userDrawn="1"/>
          </p:nvSpPr>
          <p:spPr bwMode="auto">
            <a:xfrm>
              <a:off x="4073525" y="3608388"/>
              <a:ext cx="327025" cy="315913"/>
            </a:xfrm>
            <a:custGeom>
              <a:avLst/>
              <a:gdLst>
                <a:gd name="T0" fmla="*/ 5 w 132"/>
                <a:gd name="T1" fmla="*/ 123 h 127"/>
                <a:gd name="T2" fmla="*/ 66 w 132"/>
                <a:gd name="T3" fmla="*/ 6 h 127"/>
                <a:gd name="T4" fmla="*/ 126 w 132"/>
                <a:gd name="T5" fmla="*/ 123 h 127"/>
                <a:gd name="T6" fmla="*/ 5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0 w 132"/>
                <a:gd name="T23" fmla="*/ 126 h 127"/>
                <a:gd name="T24" fmla="*/ 2 w 132"/>
                <a:gd name="T25" fmla="*/ 127 h 127"/>
                <a:gd name="T26" fmla="*/ 130 w 132"/>
                <a:gd name="T27" fmla="*/ 127 h 127"/>
                <a:gd name="T28" fmla="*/ 131 w 132"/>
                <a:gd name="T29" fmla="*/ 126 h 127"/>
                <a:gd name="T30" fmla="*/ 131 w 132"/>
                <a:gd name="T31" fmla="*/ 124 h 127"/>
                <a:gd name="T32" fmla="*/ 67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5" y="123"/>
                  </a:moveTo>
                  <a:cubicBezTo>
                    <a:pt x="66" y="6"/>
                    <a:pt x="66" y="6"/>
                    <a:pt x="66" y="6"/>
                  </a:cubicBezTo>
                  <a:cubicBezTo>
                    <a:pt x="126" y="123"/>
                    <a:pt x="126" y="123"/>
                    <a:pt x="126" y="123"/>
                  </a:cubicBezTo>
                  <a:cubicBezTo>
                    <a:pt x="5" y="123"/>
                    <a:pt x="5" y="123"/>
                    <a:pt x="5" y="123"/>
                  </a:cubicBezTo>
                  <a:moveTo>
                    <a:pt x="64" y="3"/>
                  </a:moveTo>
                  <a:cubicBezTo>
                    <a:pt x="66" y="2"/>
                    <a:pt x="66" y="2"/>
                    <a:pt x="66" y="2"/>
                  </a:cubicBezTo>
                  <a:cubicBezTo>
                    <a:pt x="64" y="3"/>
                    <a:pt x="64" y="3"/>
                    <a:pt x="64" y="3"/>
                  </a:cubicBezTo>
                  <a:moveTo>
                    <a:pt x="66" y="0"/>
                  </a:moveTo>
                  <a:cubicBezTo>
                    <a:pt x="65" y="0"/>
                    <a:pt x="64" y="0"/>
                    <a:pt x="64" y="1"/>
                  </a:cubicBezTo>
                  <a:cubicBezTo>
                    <a:pt x="64" y="1"/>
                    <a:pt x="64" y="1"/>
                    <a:pt x="64" y="1"/>
                  </a:cubicBezTo>
                  <a:cubicBezTo>
                    <a:pt x="0" y="124"/>
                    <a:pt x="0" y="124"/>
                    <a:pt x="0" y="124"/>
                  </a:cubicBezTo>
                  <a:cubicBezTo>
                    <a:pt x="0" y="125"/>
                    <a:pt x="0" y="126"/>
                    <a:pt x="0" y="126"/>
                  </a:cubicBezTo>
                  <a:cubicBezTo>
                    <a:pt x="0" y="127"/>
                    <a:pt x="1" y="127"/>
                    <a:pt x="2" y="127"/>
                  </a:cubicBezTo>
                  <a:cubicBezTo>
                    <a:pt x="130" y="127"/>
                    <a:pt x="130" y="127"/>
                    <a:pt x="130" y="127"/>
                  </a:cubicBezTo>
                  <a:cubicBezTo>
                    <a:pt x="130" y="127"/>
                    <a:pt x="131" y="127"/>
                    <a:pt x="131" y="126"/>
                  </a:cubicBezTo>
                  <a:cubicBezTo>
                    <a:pt x="132" y="126"/>
                    <a:pt x="132" y="125"/>
                    <a:pt x="131" y="124"/>
                  </a:cubicBezTo>
                  <a:cubicBezTo>
                    <a:pt x="67" y="1"/>
                    <a:pt x="67" y="1"/>
                    <a:pt x="67" y="1"/>
                  </a:cubicBezTo>
                  <a:cubicBezTo>
                    <a:pt x="67" y="0"/>
                    <a:pt x="66"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3" name="Freeform 201"/>
            <p:cNvSpPr/>
            <p:nvPr userDrawn="1"/>
          </p:nvSpPr>
          <p:spPr bwMode="auto">
            <a:xfrm>
              <a:off x="3732213" y="3919538"/>
              <a:ext cx="1263650" cy="889000"/>
            </a:xfrm>
            <a:custGeom>
              <a:avLst/>
              <a:gdLst>
                <a:gd name="T0" fmla="*/ 0 w 1408"/>
                <a:gd name="T1" fmla="*/ 990 h 990"/>
                <a:gd name="T2" fmla="*/ 747 w 1408"/>
                <a:gd name="T3" fmla="*/ 0 h 990"/>
                <a:gd name="T4" fmla="*/ 1408 w 1408"/>
                <a:gd name="T5" fmla="*/ 990 h 990"/>
                <a:gd name="T6" fmla="*/ 0 w 1408"/>
                <a:gd name="T7" fmla="*/ 990 h 990"/>
              </a:gdLst>
              <a:ahLst/>
              <a:cxnLst>
                <a:cxn ang="0">
                  <a:pos x="T0" y="T1"/>
                </a:cxn>
                <a:cxn ang="0">
                  <a:pos x="T2" y="T3"/>
                </a:cxn>
                <a:cxn ang="0">
                  <a:pos x="T4" y="T5"/>
                </a:cxn>
                <a:cxn ang="0">
                  <a:pos x="T6" y="T7"/>
                </a:cxn>
              </a:cxnLst>
              <a:rect l="0" t="0" r="r" b="b"/>
              <a:pathLst>
                <a:path w="1408" h="990">
                  <a:moveTo>
                    <a:pt x="0" y="990"/>
                  </a:moveTo>
                  <a:lnTo>
                    <a:pt x="747" y="0"/>
                  </a:lnTo>
                  <a:lnTo>
                    <a:pt x="1408" y="990"/>
                  </a:lnTo>
                  <a:lnTo>
                    <a:pt x="0" y="990"/>
                  </a:lnTo>
                  <a:close/>
                </a:path>
              </a:pathLst>
            </a:custGeom>
            <a:solidFill>
              <a:srgbClr val="2762C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4" name="Freeform 202"/>
            <p:cNvSpPr/>
            <p:nvPr userDrawn="1"/>
          </p:nvSpPr>
          <p:spPr bwMode="auto">
            <a:xfrm>
              <a:off x="2568575" y="3687763"/>
              <a:ext cx="1593850" cy="1120775"/>
            </a:xfrm>
            <a:custGeom>
              <a:avLst/>
              <a:gdLst>
                <a:gd name="T0" fmla="*/ 0 w 1776"/>
                <a:gd name="T1" fmla="*/ 1250 h 1250"/>
                <a:gd name="T2" fmla="*/ 943 w 1776"/>
                <a:gd name="T3" fmla="*/ 0 h 1250"/>
                <a:gd name="T4" fmla="*/ 1776 w 1776"/>
                <a:gd name="T5" fmla="*/ 1250 h 1250"/>
                <a:gd name="T6" fmla="*/ 0 w 1776"/>
                <a:gd name="T7" fmla="*/ 1250 h 1250"/>
              </a:gdLst>
              <a:ahLst/>
              <a:cxnLst>
                <a:cxn ang="0">
                  <a:pos x="T0" y="T1"/>
                </a:cxn>
                <a:cxn ang="0">
                  <a:pos x="T2" y="T3"/>
                </a:cxn>
                <a:cxn ang="0">
                  <a:pos x="T4" y="T5"/>
                </a:cxn>
                <a:cxn ang="0">
                  <a:pos x="T6" y="T7"/>
                </a:cxn>
              </a:cxnLst>
              <a:rect l="0" t="0" r="r" b="b"/>
              <a:pathLst>
                <a:path w="1776" h="1250">
                  <a:moveTo>
                    <a:pt x="0" y="1250"/>
                  </a:moveTo>
                  <a:lnTo>
                    <a:pt x="943" y="0"/>
                  </a:lnTo>
                  <a:lnTo>
                    <a:pt x="1776" y="1250"/>
                  </a:lnTo>
                  <a:lnTo>
                    <a:pt x="0" y="1250"/>
                  </a:lnTo>
                  <a:close/>
                </a:path>
              </a:pathLst>
            </a:custGeom>
            <a:solidFill>
              <a:srgbClr val="2E7E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5" name="Freeform 169"/>
            <p:cNvSpPr>
              <a:spLocks noEditPoints="1"/>
            </p:cNvSpPr>
            <p:nvPr userDrawn="1"/>
          </p:nvSpPr>
          <p:spPr bwMode="auto">
            <a:xfrm>
              <a:off x="4360863" y="3708400"/>
              <a:ext cx="157163" cy="215900"/>
            </a:xfrm>
            <a:custGeom>
              <a:avLst/>
              <a:gdLst>
                <a:gd name="T0" fmla="*/ 31 w 63"/>
                <a:gd name="T1" fmla="*/ 83 h 87"/>
                <a:gd name="T2" fmla="*/ 5 w 63"/>
                <a:gd name="T3" fmla="*/ 32 h 87"/>
                <a:gd name="T4" fmla="*/ 18 w 63"/>
                <a:gd name="T5" fmla="*/ 7 h 87"/>
                <a:gd name="T6" fmla="*/ 57 w 63"/>
                <a:gd name="T7" fmla="*/ 83 h 87"/>
                <a:gd name="T8" fmla="*/ 31 w 63"/>
                <a:gd name="T9" fmla="*/ 83 h 87"/>
                <a:gd name="T10" fmla="*/ 16 w 63"/>
                <a:gd name="T11" fmla="*/ 3 h 87"/>
                <a:gd name="T12" fmla="*/ 18 w 63"/>
                <a:gd name="T13" fmla="*/ 2 h 87"/>
                <a:gd name="T14" fmla="*/ 16 w 63"/>
                <a:gd name="T15" fmla="*/ 3 h 87"/>
                <a:gd name="T16" fmla="*/ 18 w 63"/>
                <a:gd name="T17" fmla="*/ 0 h 87"/>
                <a:gd name="T18" fmla="*/ 16 w 63"/>
                <a:gd name="T19" fmla="*/ 1 h 87"/>
                <a:gd name="T20" fmla="*/ 16 w 63"/>
                <a:gd name="T21" fmla="*/ 1 h 87"/>
                <a:gd name="T22" fmla="*/ 1 w 63"/>
                <a:gd name="T23" fmla="*/ 31 h 87"/>
                <a:gd name="T24" fmla="*/ 1 w 63"/>
                <a:gd name="T25" fmla="*/ 33 h 87"/>
                <a:gd name="T26" fmla="*/ 28 w 63"/>
                <a:gd name="T27" fmla="*/ 86 h 87"/>
                <a:gd name="T28" fmla="*/ 30 w 63"/>
                <a:gd name="T29" fmla="*/ 87 h 87"/>
                <a:gd name="T30" fmla="*/ 61 w 63"/>
                <a:gd name="T31" fmla="*/ 87 h 87"/>
                <a:gd name="T32" fmla="*/ 62 w 63"/>
                <a:gd name="T33" fmla="*/ 86 h 87"/>
                <a:gd name="T34" fmla="*/ 63 w 63"/>
                <a:gd name="T35" fmla="*/ 84 h 87"/>
                <a:gd name="T36" fmla="*/ 20 w 63"/>
                <a:gd name="T37" fmla="*/ 1 h 87"/>
                <a:gd name="T38" fmla="*/ 18 w 63"/>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87">
                  <a:moveTo>
                    <a:pt x="31" y="83"/>
                  </a:moveTo>
                  <a:cubicBezTo>
                    <a:pt x="5" y="32"/>
                    <a:pt x="5" y="32"/>
                    <a:pt x="5" y="32"/>
                  </a:cubicBezTo>
                  <a:cubicBezTo>
                    <a:pt x="18" y="7"/>
                    <a:pt x="18" y="7"/>
                    <a:pt x="18" y="7"/>
                  </a:cubicBezTo>
                  <a:cubicBezTo>
                    <a:pt x="57" y="83"/>
                    <a:pt x="57" y="83"/>
                    <a:pt x="57" y="83"/>
                  </a:cubicBezTo>
                  <a:cubicBezTo>
                    <a:pt x="31" y="83"/>
                    <a:pt x="31" y="83"/>
                    <a:pt x="31" y="83"/>
                  </a:cubicBezTo>
                  <a:moveTo>
                    <a:pt x="16" y="3"/>
                  </a:moveTo>
                  <a:cubicBezTo>
                    <a:pt x="18" y="2"/>
                    <a:pt x="18" y="2"/>
                    <a:pt x="18" y="2"/>
                  </a:cubicBezTo>
                  <a:cubicBezTo>
                    <a:pt x="16" y="3"/>
                    <a:pt x="16" y="3"/>
                    <a:pt x="16" y="3"/>
                  </a:cubicBezTo>
                  <a:moveTo>
                    <a:pt x="18" y="0"/>
                  </a:moveTo>
                  <a:cubicBezTo>
                    <a:pt x="17" y="0"/>
                    <a:pt x="16" y="1"/>
                    <a:pt x="16" y="1"/>
                  </a:cubicBezTo>
                  <a:cubicBezTo>
                    <a:pt x="16" y="1"/>
                    <a:pt x="16" y="1"/>
                    <a:pt x="16" y="1"/>
                  </a:cubicBezTo>
                  <a:cubicBezTo>
                    <a:pt x="1" y="31"/>
                    <a:pt x="1" y="31"/>
                    <a:pt x="1" y="31"/>
                  </a:cubicBezTo>
                  <a:cubicBezTo>
                    <a:pt x="0" y="32"/>
                    <a:pt x="0" y="32"/>
                    <a:pt x="1" y="33"/>
                  </a:cubicBezTo>
                  <a:cubicBezTo>
                    <a:pt x="28" y="86"/>
                    <a:pt x="28" y="86"/>
                    <a:pt x="28" y="86"/>
                  </a:cubicBezTo>
                  <a:cubicBezTo>
                    <a:pt x="29" y="87"/>
                    <a:pt x="29" y="87"/>
                    <a:pt x="30" y="87"/>
                  </a:cubicBezTo>
                  <a:cubicBezTo>
                    <a:pt x="61" y="87"/>
                    <a:pt x="61" y="87"/>
                    <a:pt x="61" y="87"/>
                  </a:cubicBezTo>
                  <a:cubicBezTo>
                    <a:pt x="61" y="87"/>
                    <a:pt x="62" y="87"/>
                    <a:pt x="62" y="86"/>
                  </a:cubicBezTo>
                  <a:cubicBezTo>
                    <a:pt x="63" y="86"/>
                    <a:pt x="63" y="85"/>
                    <a:pt x="63" y="84"/>
                  </a:cubicBezTo>
                  <a:cubicBezTo>
                    <a:pt x="20" y="1"/>
                    <a:pt x="20" y="1"/>
                    <a:pt x="20" y="1"/>
                  </a:cubicBezTo>
                  <a:cubicBezTo>
                    <a:pt x="19" y="1"/>
                    <a:pt x="19" y="0"/>
                    <a:pt x="18"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6" name="Freeform 170"/>
            <p:cNvSpPr>
              <a:spLocks noEditPoints="1"/>
            </p:cNvSpPr>
            <p:nvPr userDrawn="1"/>
          </p:nvSpPr>
          <p:spPr bwMode="auto">
            <a:xfrm>
              <a:off x="4418013" y="3619500"/>
              <a:ext cx="76200" cy="76200"/>
            </a:xfrm>
            <a:custGeom>
              <a:avLst/>
              <a:gdLst>
                <a:gd name="T0" fmla="*/ 31 w 31"/>
                <a:gd name="T1" fmla="*/ 15 h 31"/>
                <a:gd name="T2" fmla="*/ 31 w 31"/>
                <a:gd name="T3" fmla="*/ 15 h 31"/>
                <a:gd name="T4" fmla="*/ 31 w 31"/>
                <a:gd name="T5" fmla="*/ 15 h 31"/>
                <a:gd name="T6" fmla="*/ 16 w 31"/>
                <a:gd name="T7" fmla="*/ 0 h 31"/>
                <a:gd name="T8" fmla="*/ 0 w 31"/>
                <a:gd name="T9" fmla="*/ 15 h 31"/>
                <a:gd name="T10" fmla="*/ 16 w 31"/>
                <a:gd name="T11" fmla="*/ 31 h 31"/>
                <a:gd name="T12" fmla="*/ 31 w 31"/>
                <a:gd name="T13" fmla="*/ 15 h 31"/>
                <a:gd name="T14" fmla="*/ 29 w 31"/>
                <a:gd name="T15" fmla="*/ 15 h 31"/>
                <a:gd name="T16" fmla="*/ 27 w 31"/>
                <a:gd name="T17" fmla="*/ 15 h 31"/>
                <a:gd name="T18" fmla="*/ 16 w 31"/>
                <a:gd name="T19" fmla="*/ 27 h 31"/>
                <a:gd name="T20" fmla="*/ 4 w 31"/>
                <a:gd name="T21" fmla="*/ 15 h 31"/>
                <a:gd name="T22" fmla="*/ 16 w 31"/>
                <a:gd name="T23" fmla="*/ 4 h 31"/>
                <a:gd name="T24" fmla="*/ 27 w 31"/>
                <a:gd name="T25" fmla="*/ 15 h 31"/>
                <a:gd name="T26" fmla="*/ 29 w 31"/>
                <a:gd name="T27" fmla="*/ 15 h 31"/>
                <a:gd name="T28" fmla="*/ 31 w 31"/>
                <a:gd name="T29" fmla="*/ 15 h 31"/>
                <a:gd name="T30" fmla="*/ 31 w 31"/>
                <a:gd name="T31" fmla="*/ 15 h 31"/>
                <a:gd name="T32" fmla="*/ 16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6" y="0"/>
                  </a:moveTo>
                  <a:cubicBezTo>
                    <a:pt x="7" y="0"/>
                    <a:pt x="0" y="7"/>
                    <a:pt x="0" y="15"/>
                  </a:cubicBezTo>
                  <a:cubicBezTo>
                    <a:pt x="0" y="24"/>
                    <a:pt x="7" y="31"/>
                    <a:pt x="16" y="31"/>
                  </a:cubicBezTo>
                  <a:cubicBezTo>
                    <a:pt x="24" y="31"/>
                    <a:pt x="31" y="24"/>
                    <a:pt x="31" y="15"/>
                  </a:cubicBezTo>
                  <a:cubicBezTo>
                    <a:pt x="29" y="15"/>
                    <a:pt x="29" y="15"/>
                    <a:pt x="29" y="15"/>
                  </a:cubicBezTo>
                  <a:cubicBezTo>
                    <a:pt x="27" y="15"/>
                    <a:pt x="27" y="15"/>
                    <a:pt x="27" y="15"/>
                  </a:cubicBezTo>
                  <a:cubicBezTo>
                    <a:pt x="27" y="22"/>
                    <a:pt x="22" y="27"/>
                    <a:pt x="16" y="27"/>
                  </a:cubicBezTo>
                  <a:cubicBezTo>
                    <a:pt x="9" y="27"/>
                    <a:pt x="4" y="22"/>
                    <a:pt x="4" y="15"/>
                  </a:cubicBezTo>
                  <a:cubicBezTo>
                    <a:pt x="4" y="9"/>
                    <a:pt x="9" y="4"/>
                    <a:pt x="16"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7" name="Oval 200"/>
            <p:cNvSpPr>
              <a:spLocks noChangeArrowheads="1"/>
            </p:cNvSpPr>
            <p:nvPr userDrawn="1"/>
          </p:nvSpPr>
          <p:spPr bwMode="auto">
            <a:xfrm>
              <a:off x="3968750" y="2860675"/>
              <a:ext cx="449263" cy="447675"/>
            </a:xfrm>
            <a:prstGeom prst="ellipse">
              <a:avLst/>
            </a:prstGeom>
            <a:solidFill>
              <a:srgbClr val="FFE29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518" name="组合 517"/>
            <p:cNvGrpSpPr/>
            <p:nvPr userDrawn="1"/>
          </p:nvGrpSpPr>
          <p:grpSpPr>
            <a:xfrm>
              <a:off x="2984654" y="5141119"/>
              <a:ext cx="1618459" cy="85725"/>
              <a:chOff x="2984654" y="5138738"/>
              <a:chExt cx="1618459" cy="85725"/>
            </a:xfrm>
          </p:grpSpPr>
          <p:sp>
            <p:nvSpPr>
              <p:cNvPr id="527" name="Freeform 274"/>
              <p:cNvSpPr/>
              <p:nvPr userDrawn="1"/>
            </p:nvSpPr>
            <p:spPr bwMode="auto">
              <a:xfrm>
                <a:off x="4421344"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173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8" name="Freeform 274"/>
              <p:cNvSpPr/>
              <p:nvPr userDrawn="1"/>
            </p:nvSpPr>
            <p:spPr bwMode="auto">
              <a:xfrm>
                <a:off x="4277675"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173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9" name="Freeform 274"/>
              <p:cNvSpPr/>
              <p:nvPr userDrawn="1"/>
            </p:nvSpPr>
            <p:spPr bwMode="auto">
              <a:xfrm>
                <a:off x="4134006"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173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0" name="Freeform 274"/>
              <p:cNvSpPr/>
              <p:nvPr userDrawn="1"/>
            </p:nvSpPr>
            <p:spPr bwMode="auto">
              <a:xfrm>
                <a:off x="3990337"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531" name="Freeform 274"/>
              <p:cNvSpPr/>
              <p:nvPr userDrawn="1"/>
            </p:nvSpPr>
            <p:spPr bwMode="auto">
              <a:xfrm>
                <a:off x="3846668"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532" name="Freeform 274"/>
              <p:cNvSpPr/>
              <p:nvPr userDrawn="1"/>
            </p:nvSpPr>
            <p:spPr bwMode="auto">
              <a:xfrm>
                <a:off x="3702999"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533" name="Freeform 274"/>
              <p:cNvSpPr/>
              <p:nvPr userDrawn="1"/>
            </p:nvSpPr>
            <p:spPr bwMode="auto">
              <a:xfrm>
                <a:off x="3559330"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534" name="Freeform 274"/>
              <p:cNvSpPr/>
              <p:nvPr userDrawn="1"/>
            </p:nvSpPr>
            <p:spPr bwMode="auto">
              <a:xfrm>
                <a:off x="3415661"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535" name="Freeform 274"/>
              <p:cNvSpPr/>
              <p:nvPr userDrawn="1"/>
            </p:nvSpPr>
            <p:spPr bwMode="auto">
              <a:xfrm>
                <a:off x="3271992"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536" name="Freeform 274"/>
              <p:cNvSpPr/>
              <p:nvPr userDrawn="1"/>
            </p:nvSpPr>
            <p:spPr bwMode="auto">
              <a:xfrm>
                <a:off x="3128323"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537" name="Freeform 274"/>
              <p:cNvSpPr/>
              <p:nvPr userDrawn="1"/>
            </p:nvSpPr>
            <p:spPr bwMode="auto">
              <a:xfrm>
                <a:off x="2984654"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grpSp>
        <p:sp>
          <p:nvSpPr>
            <p:cNvPr id="519" name="Oval 203"/>
            <p:cNvSpPr>
              <a:spLocks noChangeArrowheads="1"/>
            </p:cNvSpPr>
            <p:nvPr userDrawn="1"/>
          </p:nvSpPr>
          <p:spPr bwMode="auto">
            <a:xfrm>
              <a:off x="4602163" y="4278313"/>
              <a:ext cx="873125" cy="874713"/>
            </a:xfrm>
            <a:prstGeom prst="ellipse">
              <a:avLst/>
            </a:prstGeom>
            <a:solidFill>
              <a:srgbClr val="97D3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0" name="Freeform 204"/>
            <p:cNvSpPr>
              <a:spLocks noEditPoints="1"/>
            </p:cNvSpPr>
            <p:nvPr userDrawn="1"/>
          </p:nvSpPr>
          <p:spPr bwMode="auto">
            <a:xfrm>
              <a:off x="4576763" y="4252913"/>
              <a:ext cx="922338" cy="923925"/>
            </a:xfrm>
            <a:custGeom>
              <a:avLst/>
              <a:gdLst>
                <a:gd name="T0" fmla="*/ 186 w 372"/>
                <a:gd name="T1" fmla="*/ 20 h 373"/>
                <a:gd name="T2" fmla="*/ 352 w 372"/>
                <a:gd name="T3" fmla="*/ 186 h 373"/>
                <a:gd name="T4" fmla="*/ 186 w 372"/>
                <a:gd name="T5" fmla="*/ 353 h 373"/>
                <a:gd name="T6" fmla="*/ 20 w 372"/>
                <a:gd name="T7" fmla="*/ 186 h 373"/>
                <a:gd name="T8" fmla="*/ 186 w 372"/>
                <a:gd name="T9" fmla="*/ 20 h 373"/>
                <a:gd name="T10" fmla="*/ 186 w 372"/>
                <a:gd name="T11" fmla="*/ 0 h 373"/>
                <a:gd name="T12" fmla="*/ 0 w 372"/>
                <a:gd name="T13" fmla="*/ 186 h 373"/>
                <a:gd name="T14" fmla="*/ 186 w 372"/>
                <a:gd name="T15" fmla="*/ 373 h 373"/>
                <a:gd name="T16" fmla="*/ 372 w 372"/>
                <a:gd name="T17" fmla="*/ 186 h 373"/>
                <a:gd name="T18" fmla="*/ 186 w 372"/>
                <a:gd name="T1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2" h="373">
                  <a:moveTo>
                    <a:pt x="186" y="20"/>
                  </a:moveTo>
                  <a:cubicBezTo>
                    <a:pt x="278" y="20"/>
                    <a:pt x="352" y="94"/>
                    <a:pt x="352" y="186"/>
                  </a:cubicBezTo>
                  <a:cubicBezTo>
                    <a:pt x="352" y="278"/>
                    <a:pt x="278" y="353"/>
                    <a:pt x="186" y="353"/>
                  </a:cubicBezTo>
                  <a:cubicBezTo>
                    <a:pt x="94" y="353"/>
                    <a:pt x="20" y="278"/>
                    <a:pt x="20" y="186"/>
                  </a:cubicBezTo>
                  <a:cubicBezTo>
                    <a:pt x="20" y="94"/>
                    <a:pt x="94" y="20"/>
                    <a:pt x="186" y="20"/>
                  </a:cubicBezTo>
                  <a:moveTo>
                    <a:pt x="186" y="0"/>
                  </a:moveTo>
                  <a:cubicBezTo>
                    <a:pt x="83" y="0"/>
                    <a:pt x="0" y="84"/>
                    <a:pt x="0" y="186"/>
                  </a:cubicBezTo>
                  <a:cubicBezTo>
                    <a:pt x="0" y="289"/>
                    <a:pt x="83" y="373"/>
                    <a:pt x="186" y="373"/>
                  </a:cubicBezTo>
                  <a:cubicBezTo>
                    <a:pt x="289" y="373"/>
                    <a:pt x="372" y="289"/>
                    <a:pt x="372" y="186"/>
                  </a:cubicBezTo>
                  <a:cubicBezTo>
                    <a:pt x="372" y="84"/>
                    <a:pt x="289" y="0"/>
                    <a:pt x="186"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1" name="Freeform 206"/>
            <p:cNvSpPr/>
            <p:nvPr userDrawn="1"/>
          </p:nvSpPr>
          <p:spPr bwMode="auto">
            <a:xfrm>
              <a:off x="4787900" y="4446588"/>
              <a:ext cx="500063" cy="538163"/>
            </a:xfrm>
            <a:custGeom>
              <a:avLst/>
              <a:gdLst>
                <a:gd name="T0" fmla="*/ 315 w 315"/>
                <a:gd name="T1" fmla="*/ 195 h 339"/>
                <a:gd name="T2" fmla="*/ 158 w 315"/>
                <a:gd name="T3" fmla="*/ 0 h 339"/>
                <a:gd name="T4" fmla="*/ 0 w 315"/>
                <a:gd name="T5" fmla="*/ 195 h 339"/>
                <a:gd name="T6" fmla="*/ 90 w 315"/>
                <a:gd name="T7" fmla="*/ 195 h 339"/>
                <a:gd name="T8" fmla="*/ 90 w 315"/>
                <a:gd name="T9" fmla="*/ 339 h 339"/>
                <a:gd name="T10" fmla="*/ 226 w 315"/>
                <a:gd name="T11" fmla="*/ 339 h 339"/>
                <a:gd name="T12" fmla="*/ 226 w 315"/>
                <a:gd name="T13" fmla="*/ 195 h 339"/>
                <a:gd name="T14" fmla="*/ 315 w 315"/>
                <a:gd name="T15" fmla="*/ 195 h 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5" h="339">
                  <a:moveTo>
                    <a:pt x="315" y="195"/>
                  </a:moveTo>
                  <a:lnTo>
                    <a:pt x="158" y="0"/>
                  </a:lnTo>
                  <a:lnTo>
                    <a:pt x="0" y="195"/>
                  </a:lnTo>
                  <a:lnTo>
                    <a:pt x="90" y="195"/>
                  </a:lnTo>
                  <a:lnTo>
                    <a:pt x="90" y="339"/>
                  </a:lnTo>
                  <a:lnTo>
                    <a:pt x="226" y="339"/>
                  </a:lnTo>
                  <a:lnTo>
                    <a:pt x="226" y="195"/>
                  </a:lnTo>
                  <a:lnTo>
                    <a:pt x="315" y="19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2" name="Freeform 218"/>
            <p:cNvSpPr/>
            <p:nvPr userDrawn="1"/>
          </p:nvSpPr>
          <p:spPr bwMode="auto">
            <a:xfrm>
              <a:off x="5335588" y="4540250"/>
              <a:ext cx="184150" cy="101600"/>
            </a:xfrm>
            <a:custGeom>
              <a:avLst/>
              <a:gdLst>
                <a:gd name="T0" fmla="*/ 70 w 74"/>
                <a:gd name="T1" fmla="*/ 1 h 41"/>
                <a:gd name="T2" fmla="*/ 15 w 74"/>
                <a:gd name="T3" fmla="*/ 3 h 41"/>
                <a:gd name="T4" fmla="*/ 27 w 74"/>
                <a:gd name="T5" fmla="*/ 9 h 41"/>
                <a:gd name="T6" fmla="*/ 3 w 74"/>
                <a:gd name="T7" fmla="*/ 13 h 41"/>
                <a:gd name="T8" fmla="*/ 25 w 74"/>
                <a:gd name="T9" fmla="*/ 16 h 41"/>
                <a:gd name="T10" fmla="*/ 0 w 74"/>
                <a:gd name="T11" fmla="*/ 22 h 41"/>
                <a:gd name="T12" fmla="*/ 23 w 74"/>
                <a:gd name="T13" fmla="*/ 24 h 41"/>
                <a:gd name="T14" fmla="*/ 7 w 74"/>
                <a:gd name="T15" fmla="*/ 29 h 41"/>
                <a:gd name="T16" fmla="*/ 30 w 74"/>
                <a:gd name="T17" fmla="*/ 32 h 41"/>
                <a:gd name="T18" fmla="*/ 13 w 74"/>
                <a:gd name="T19" fmla="*/ 36 h 41"/>
                <a:gd name="T20" fmla="*/ 74 w 74"/>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41">
                  <a:moveTo>
                    <a:pt x="70" y="1"/>
                  </a:moveTo>
                  <a:cubicBezTo>
                    <a:pt x="56" y="3"/>
                    <a:pt x="16" y="0"/>
                    <a:pt x="15" y="3"/>
                  </a:cubicBezTo>
                  <a:cubicBezTo>
                    <a:pt x="14" y="6"/>
                    <a:pt x="28" y="7"/>
                    <a:pt x="27" y="9"/>
                  </a:cubicBezTo>
                  <a:cubicBezTo>
                    <a:pt x="25" y="11"/>
                    <a:pt x="3" y="10"/>
                    <a:pt x="3" y="13"/>
                  </a:cubicBezTo>
                  <a:cubicBezTo>
                    <a:pt x="2" y="17"/>
                    <a:pt x="25" y="16"/>
                    <a:pt x="25" y="16"/>
                  </a:cubicBezTo>
                  <a:cubicBezTo>
                    <a:pt x="25" y="16"/>
                    <a:pt x="0" y="18"/>
                    <a:pt x="0" y="22"/>
                  </a:cubicBezTo>
                  <a:cubicBezTo>
                    <a:pt x="1" y="25"/>
                    <a:pt x="16" y="24"/>
                    <a:pt x="23" y="24"/>
                  </a:cubicBezTo>
                  <a:cubicBezTo>
                    <a:pt x="15" y="25"/>
                    <a:pt x="6" y="27"/>
                    <a:pt x="7" y="29"/>
                  </a:cubicBezTo>
                  <a:cubicBezTo>
                    <a:pt x="7" y="32"/>
                    <a:pt x="20" y="32"/>
                    <a:pt x="30" y="32"/>
                  </a:cubicBezTo>
                  <a:cubicBezTo>
                    <a:pt x="24" y="32"/>
                    <a:pt x="12" y="34"/>
                    <a:pt x="13" y="36"/>
                  </a:cubicBezTo>
                  <a:cubicBezTo>
                    <a:pt x="13" y="39"/>
                    <a:pt x="44" y="40"/>
                    <a:pt x="74" y="41"/>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3" name="Freeform 220"/>
            <p:cNvSpPr/>
            <p:nvPr userDrawn="1"/>
          </p:nvSpPr>
          <p:spPr bwMode="auto">
            <a:xfrm>
              <a:off x="5499100" y="3943350"/>
              <a:ext cx="885825" cy="827088"/>
            </a:xfrm>
            <a:custGeom>
              <a:avLst/>
              <a:gdLst>
                <a:gd name="T0" fmla="*/ 188 w 357"/>
                <a:gd name="T1" fmla="*/ 8 h 334"/>
                <a:gd name="T2" fmla="*/ 302 w 357"/>
                <a:gd name="T3" fmla="*/ 224 h 334"/>
                <a:gd name="T4" fmla="*/ 0 w 357"/>
                <a:gd name="T5" fmla="*/ 325 h 334"/>
                <a:gd name="T6" fmla="*/ 0 w 357"/>
                <a:gd name="T7" fmla="*/ 239 h 334"/>
                <a:gd name="T8" fmla="*/ 204 w 357"/>
                <a:gd name="T9" fmla="*/ 116 h 334"/>
              </a:gdLst>
              <a:ahLst/>
              <a:cxnLst>
                <a:cxn ang="0">
                  <a:pos x="T0" y="T1"/>
                </a:cxn>
                <a:cxn ang="0">
                  <a:pos x="T2" y="T3"/>
                </a:cxn>
                <a:cxn ang="0">
                  <a:pos x="T4" y="T5"/>
                </a:cxn>
                <a:cxn ang="0">
                  <a:pos x="T6" y="T7"/>
                </a:cxn>
                <a:cxn ang="0">
                  <a:pos x="T8" y="T9"/>
                </a:cxn>
              </a:cxnLst>
              <a:rect l="0" t="0" r="r" b="b"/>
              <a:pathLst>
                <a:path w="357" h="334">
                  <a:moveTo>
                    <a:pt x="188" y="8"/>
                  </a:moveTo>
                  <a:cubicBezTo>
                    <a:pt x="267" y="0"/>
                    <a:pt x="357" y="102"/>
                    <a:pt x="302" y="224"/>
                  </a:cubicBezTo>
                  <a:cubicBezTo>
                    <a:pt x="253" y="334"/>
                    <a:pt x="0" y="325"/>
                    <a:pt x="0" y="325"/>
                  </a:cubicBezTo>
                  <a:cubicBezTo>
                    <a:pt x="0" y="239"/>
                    <a:pt x="0" y="239"/>
                    <a:pt x="0" y="239"/>
                  </a:cubicBezTo>
                  <a:cubicBezTo>
                    <a:pt x="0" y="239"/>
                    <a:pt x="204" y="241"/>
                    <a:pt x="204" y="116"/>
                  </a:cubicBezTo>
                </a:path>
              </a:pathLst>
            </a:cu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4" name="Freeform 221"/>
            <p:cNvSpPr/>
            <p:nvPr userDrawn="1"/>
          </p:nvSpPr>
          <p:spPr bwMode="auto">
            <a:xfrm>
              <a:off x="5713413" y="4230688"/>
              <a:ext cx="300038" cy="277813"/>
            </a:xfrm>
            <a:custGeom>
              <a:avLst/>
              <a:gdLst>
                <a:gd name="T0" fmla="*/ 116 w 121"/>
                <a:gd name="T1" fmla="*/ 1 h 112"/>
                <a:gd name="T2" fmla="*/ 117 w 121"/>
                <a:gd name="T3" fmla="*/ 14 h 112"/>
                <a:gd name="T4" fmla="*/ 105 w 121"/>
                <a:gd name="T5" fmla="*/ 54 h 112"/>
                <a:gd name="T6" fmla="*/ 56 w 121"/>
                <a:gd name="T7" fmla="*/ 92 h 112"/>
                <a:gd name="T8" fmla="*/ 0 w 121"/>
                <a:gd name="T9" fmla="*/ 108 h 112"/>
                <a:gd name="T10" fmla="*/ 1 w 121"/>
                <a:gd name="T11" fmla="*/ 112 h 112"/>
                <a:gd name="T12" fmla="*/ 77 w 121"/>
                <a:gd name="T13" fmla="*/ 86 h 112"/>
                <a:gd name="T14" fmla="*/ 108 w 121"/>
                <a:gd name="T15" fmla="*/ 57 h 112"/>
                <a:gd name="T16" fmla="*/ 121 w 121"/>
                <a:gd name="T17" fmla="*/ 14 h 112"/>
                <a:gd name="T18" fmla="*/ 120 w 121"/>
                <a:gd name="T19" fmla="*/ 0 h 112"/>
                <a:gd name="T20" fmla="*/ 116 w 121"/>
                <a:gd name="T21" fmla="*/ 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2">
                  <a:moveTo>
                    <a:pt x="116" y="1"/>
                  </a:moveTo>
                  <a:cubicBezTo>
                    <a:pt x="117" y="5"/>
                    <a:pt x="117" y="10"/>
                    <a:pt x="117" y="14"/>
                  </a:cubicBezTo>
                  <a:cubicBezTo>
                    <a:pt x="117" y="30"/>
                    <a:pt x="112" y="43"/>
                    <a:pt x="105" y="54"/>
                  </a:cubicBezTo>
                  <a:cubicBezTo>
                    <a:pt x="93" y="71"/>
                    <a:pt x="75" y="83"/>
                    <a:pt x="56" y="92"/>
                  </a:cubicBezTo>
                  <a:cubicBezTo>
                    <a:pt x="36" y="101"/>
                    <a:pt x="16" y="106"/>
                    <a:pt x="0" y="108"/>
                  </a:cubicBezTo>
                  <a:cubicBezTo>
                    <a:pt x="1" y="112"/>
                    <a:pt x="1" y="112"/>
                    <a:pt x="1" y="112"/>
                  </a:cubicBezTo>
                  <a:cubicBezTo>
                    <a:pt x="22" y="109"/>
                    <a:pt x="52" y="101"/>
                    <a:pt x="77" y="86"/>
                  </a:cubicBezTo>
                  <a:cubicBezTo>
                    <a:pt x="89" y="78"/>
                    <a:pt x="100" y="68"/>
                    <a:pt x="108" y="57"/>
                  </a:cubicBezTo>
                  <a:cubicBezTo>
                    <a:pt x="116" y="45"/>
                    <a:pt x="121" y="31"/>
                    <a:pt x="121" y="14"/>
                  </a:cubicBezTo>
                  <a:cubicBezTo>
                    <a:pt x="121" y="10"/>
                    <a:pt x="121" y="5"/>
                    <a:pt x="120" y="0"/>
                  </a:cubicBezTo>
                  <a:cubicBezTo>
                    <a:pt x="116" y="1"/>
                    <a:pt x="116" y="1"/>
                    <a:pt x="116" y="1"/>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5" name="Freeform 222"/>
            <p:cNvSpPr/>
            <p:nvPr userDrawn="1"/>
          </p:nvSpPr>
          <p:spPr bwMode="auto">
            <a:xfrm>
              <a:off x="5903913" y="4503738"/>
              <a:ext cx="352425" cy="215900"/>
            </a:xfrm>
            <a:custGeom>
              <a:avLst/>
              <a:gdLst>
                <a:gd name="T0" fmla="*/ 138 w 142"/>
                <a:gd name="T1" fmla="*/ 0 h 87"/>
                <a:gd name="T2" fmla="*/ 81 w 142"/>
                <a:gd name="T3" fmla="*/ 56 h 87"/>
                <a:gd name="T4" fmla="*/ 0 w 142"/>
                <a:gd name="T5" fmla="*/ 83 h 87"/>
                <a:gd name="T6" fmla="*/ 0 w 142"/>
                <a:gd name="T7" fmla="*/ 87 h 87"/>
                <a:gd name="T8" fmla="*/ 83 w 142"/>
                <a:gd name="T9" fmla="*/ 60 h 87"/>
                <a:gd name="T10" fmla="*/ 142 w 142"/>
                <a:gd name="T11" fmla="*/ 1 h 87"/>
                <a:gd name="T12" fmla="*/ 138 w 142"/>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42" h="87">
                  <a:moveTo>
                    <a:pt x="138" y="0"/>
                  </a:moveTo>
                  <a:cubicBezTo>
                    <a:pt x="130" y="24"/>
                    <a:pt x="108" y="43"/>
                    <a:pt x="81" y="56"/>
                  </a:cubicBezTo>
                  <a:cubicBezTo>
                    <a:pt x="55" y="70"/>
                    <a:pt x="24" y="79"/>
                    <a:pt x="0" y="83"/>
                  </a:cubicBezTo>
                  <a:cubicBezTo>
                    <a:pt x="0" y="87"/>
                    <a:pt x="0" y="87"/>
                    <a:pt x="0" y="87"/>
                  </a:cubicBezTo>
                  <a:cubicBezTo>
                    <a:pt x="26" y="83"/>
                    <a:pt x="56" y="74"/>
                    <a:pt x="83" y="60"/>
                  </a:cubicBezTo>
                  <a:cubicBezTo>
                    <a:pt x="110" y="46"/>
                    <a:pt x="133" y="27"/>
                    <a:pt x="142" y="1"/>
                  </a:cubicBezTo>
                  <a:cubicBezTo>
                    <a:pt x="138" y="0"/>
                    <a:pt x="138" y="0"/>
                    <a:pt x="138" y="0"/>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6" name="Freeform 236"/>
            <p:cNvSpPr/>
            <p:nvPr userDrawn="1"/>
          </p:nvSpPr>
          <p:spPr bwMode="auto">
            <a:xfrm>
              <a:off x="5526088" y="4535488"/>
              <a:ext cx="11113" cy="212725"/>
            </a:xfrm>
            <a:custGeom>
              <a:avLst/>
              <a:gdLst>
                <a:gd name="T0" fmla="*/ 0 w 7"/>
                <a:gd name="T1" fmla="*/ 0 h 134"/>
                <a:gd name="T2" fmla="*/ 0 w 7"/>
                <a:gd name="T3" fmla="*/ 134 h 134"/>
                <a:gd name="T4" fmla="*/ 7 w 7"/>
                <a:gd name="T5" fmla="*/ 134 h 134"/>
                <a:gd name="T6" fmla="*/ 7 w 7"/>
                <a:gd name="T7" fmla="*/ 0 h 134"/>
              </a:gdLst>
              <a:ahLst/>
              <a:cxnLst>
                <a:cxn ang="0">
                  <a:pos x="T0" y="T1"/>
                </a:cxn>
                <a:cxn ang="0">
                  <a:pos x="T2" y="T3"/>
                </a:cxn>
                <a:cxn ang="0">
                  <a:pos x="T4" y="T5"/>
                </a:cxn>
                <a:cxn ang="0">
                  <a:pos x="T6" y="T7"/>
                </a:cxn>
              </a:cxnLst>
              <a:rect l="0" t="0" r="r" b="b"/>
              <a:pathLst>
                <a:path w="7" h="134">
                  <a:moveTo>
                    <a:pt x="0" y="0"/>
                  </a:moveTo>
                  <a:lnTo>
                    <a:pt x="0" y="134"/>
                  </a:lnTo>
                  <a:lnTo>
                    <a:pt x="7" y="134"/>
                  </a:lnTo>
                  <a:lnTo>
                    <a:pt x="7" y="0"/>
                  </a:lnTo>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gr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本模板内容</a:t>
            </a:r>
            <a:r>
              <a:rPr lang="en-US" altLang="zh-CN"/>
              <a:t>/</a:t>
            </a:r>
            <a:r>
              <a:rPr lang="zh-CN" altLang="en-US"/>
              <a:t>设计均为原创，不得以任何方式进行商业转售和再发布</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本模板内容</a:t>
            </a:r>
            <a:r>
              <a:rPr lang="en-US" altLang="zh-CN"/>
              <a:t>/</a:t>
            </a:r>
            <a:r>
              <a:rPr lang="zh-CN" altLang="en-US"/>
              <a:t>设计均为原创，不得以任何方式进行商业转售和再发布</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73101" y="2007317"/>
            <a:ext cx="3798262" cy="1759363"/>
          </a:xfrm>
        </p:spPr>
        <p:txBody>
          <a:bodyPr anchor="b">
            <a:normAutofit/>
          </a:bodyPr>
          <a:lstStyle>
            <a:lvl1pPr marL="0" indent="0" algn="l">
              <a:buFont typeface="Arial" panose="020B0604020202090204" pitchFamily="34" charset="0"/>
              <a:buNone/>
              <a:defRPr sz="3200">
                <a:solidFill>
                  <a:schemeClr val="accent1">
                    <a:lumMod val="50000"/>
                  </a:schemeClr>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1" y="5146954"/>
            <a:ext cx="3798262" cy="310871"/>
          </a:xfrm>
        </p:spPr>
        <p:txBody>
          <a:bodyPr vert="horz" lIns="91440" tIns="45720" rIns="91440" bIns="45720" rtlCol="0">
            <a:normAutofit/>
          </a:bodyPr>
          <a:lstStyle>
            <a:lvl1pPr marL="0" indent="0" algn="l">
              <a:buNone/>
              <a:defRPr lang="zh-CN" altLang="en-US" sz="1400" smtClean="0">
                <a:solidFill>
                  <a:schemeClr val="accent1">
                    <a:lumMod val="50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p:ph type="body" sz="quarter" idx="10" hasCustomPrompt="1"/>
          </p:nvPr>
        </p:nvSpPr>
        <p:spPr>
          <a:xfrm>
            <a:off x="673103" y="4850683"/>
            <a:ext cx="3798262" cy="296271"/>
          </a:xfrm>
        </p:spPr>
        <p:txBody>
          <a:bodyPr vert="horz" anchor="ctr">
            <a:noAutofit/>
          </a:bodyPr>
          <a:lstStyle>
            <a:lvl1pPr marL="0" indent="0" algn="l">
              <a:buNone/>
              <a:defRPr sz="1400" b="0">
                <a:solidFill>
                  <a:schemeClr val="accent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grpSp>
        <p:nvGrpSpPr>
          <p:cNvPr id="267" name="组合 266"/>
          <p:cNvGrpSpPr/>
          <p:nvPr userDrawn="1"/>
        </p:nvGrpSpPr>
        <p:grpSpPr>
          <a:xfrm>
            <a:off x="4978400" y="1675020"/>
            <a:ext cx="6540500" cy="4570445"/>
            <a:chOff x="642620" y="1675020"/>
            <a:chExt cx="6540500" cy="4570445"/>
          </a:xfrm>
        </p:grpSpPr>
        <p:sp>
          <p:nvSpPr>
            <p:cNvPr id="268" name="Freeform 7"/>
            <p:cNvSpPr/>
            <p:nvPr userDrawn="1"/>
          </p:nvSpPr>
          <p:spPr bwMode="auto">
            <a:xfrm>
              <a:off x="2548120" y="1791310"/>
              <a:ext cx="154501" cy="156161"/>
            </a:xfrm>
            <a:custGeom>
              <a:avLst/>
              <a:gdLst>
                <a:gd name="T0" fmla="*/ 58 w 60"/>
                <a:gd name="T1" fmla="*/ 30 h 60"/>
                <a:gd name="T2" fmla="*/ 56 w 60"/>
                <a:gd name="T3" fmla="*/ 30 h 60"/>
                <a:gd name="T4" fmla="*/ 48 w 60"/>
                <a:gd name="T5" fmla="*/ 48 h 60"/>
                <a:gd name="T6" fmla="*/ 30 w 60"/>
                <a:gd name="T7" fmla="*/ 56 h 60"/>
                <a:gd name="T8" fmla="*/ 12 w 60"/>
                <a:gd name="T9" fmla="*/ 48 h 60"/>
                <a:gd name="T10" fmla="*/ 4 w 60"/>
                <a:gd name="T11" fmla="*/ 30 h 60"/>
                <a:gd name="T12" fmla="*/ 12 w 60"/>
                <a:gd name="T13" fmla="*/ 12 h 60"/>
                <a:gd name="T14" fmla="*/ 30 w 60"/>
                <a:gd name="T15" fmla="*/ 4 h 60"/>
                <a:gd name="T16" fmla="*/ 48 w 60"/>
                <a:gd name="T17" fmla="*/ 12 h 60"/>
                <a:gd name="T18" fmla="*/ 56 w 60"/>
                <a:gd name="T19" fmla="*/ 30 h 60"/>
                <a:gd name="T20" fmla="*/ 58 w 60"/>
                <a:gd name="T21" fmla="*/ 30 h 60"/>
                <a:gd name="T22" fmla="*/ 60 w 60"/>
                <a:gd name="T23" fmla="*/ 30 h 60"/>
                <a:gd name="T24" fmla="*/ 30 w 60"/>
                <a:gd name="T25" fmla="*/ 0 h 60"/>
                <a:gd name="T26" fmla="*/ 0 w 60"/>
                <a:gd name="T27" fmla="*/ 30 h 60"/>
                <a:gd name="T28" fmla="*/ 30 w 60"/>
                <a:gd name="T29" fmla="*/ 60 h 60"/>
                <a:gd name="T30" fmla="*/ 60 w 60"/>
                <a:gd name="T31" fmla="*/ 30 h 60"/>
                <a:gd name="T32" fmla="*/ 58 w 60"/>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60">
                  <a:moveTo>
                    <a:pt x="58" y="30"/>
                  </a:moveTo>
                  <a:cubicBezTo>
                    <a:pt x="56" y="30"/>
                    <a:pt x="56" y="30"/>
                    <a:pt x="56" y="30"/>
                  </a:cubicBezTo>
                  <a:cubicBezTo>
                    <a:pt x="56" y="37"/>
                    <a:pt x="53" y="43"/>
                    <a:pt x="48" y="48"/>
                  </a:cubicBezTo>
                  <a:cubicBezTo>
                    <a:pt x="43" y="53"/>
                    <a:pt x="37" y="56"/>
                    <a:pt x="30" y="56"/>
                  </a:cubicBezTo>
                  <a:cubicBezTo>
                    <a:pt x="23" y="56"/>
                    <a:pt x="16" y="53"/>
                    <a:pt x="12" y="48"/>
                  </a:cubicBezTo>
                  <a:cubicBezTo>
                    <a:pt x="7" y="43"/>
                    <a:pt x="4" y="37"/>
                    <a:pt x="4" y="30"/>
                  </a:cubicBezTo>
                  <a:cubicBezTo>
                    <a:pt x="4" y="23"/>
                    <a:pt x="7" y="16"/>
                    <a:pt x="12" y="12"/>
                  </a:cubicBezTo>
                  <a:cubicBezTo>
                    <a:pt x="16" y="7"/>
                    <a:pt x="23" y="4"/>
                    <a:pt x="30" y="4"/>
                  </a:cubicBezTo>
                  <a:cubicBezTo>
                    <a:pt x="37" y="4"/>
                    <a:pt x="43" y="7"/>
                    <a:pt x="48" y="12"/>
                  </a:cubicBezTo>
                  <a:cubicBezTo>
                    <a:pt x="53" y="16"/>
                    <a:pt x="56" y="23"/>
                    <a:pt x="56" y="30"/>
                  </a:cubicBezTo>
                  <a:cubicBezTo>
                    <a:pt x="58" y="30"/>
                    <a:pt x="58" y="30"/>
                    <a:pt x="58" y="30"/>
                  </a:cubicBezTo>
                  <a:cubicBezTo>
                    <a:pt x="60" y="30"/>
                    <a:pt x="60" y="30"/>
                    <a:pt x="60" y="30"/>
                  </a:cubicBezTo>
                  <a:cubicBezTo>
                    <a:pt x="60" y="14"/>
                    <a:pt x="46" y="0"/>
                    <a:pt x="30" y="0"/>
                  </a:cubicBezTo>
                  <a:cubicBezTo>
                    <a:pt x="14" y="0"/>
                    <a:pt x="0" y="14"/>
                    <a:pt x="0" y="30"/>
                  </a:cubicBezTo>
                  <a:cubicBezTo>
                    <a:pt x="0" y="46"/>
                    <a:pt x="14" y="60"/>
                    <a:pt x="30" y="60"/>
                  </a:cubicBezTo>
                  <a:cubicBezTo>
                    <a:pt x="46" y="60"/>
                    <a:pt x="60" y="46"/>
                    <a:pt x="60" y="30"/>
                  </a:cubicBezTo>
                  <a:lnTo>
                    <a:pt x="58" y="30"/>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9" name="Freeform 8"/>
            <p:cNvSpPr/>
            <p:nvPr userDrawn="1"/>
          </p:nvSpPr>
          <p:spPr bwMode="auto">
            <a:xfrm>
              <a:off x="5599910" y="2003955"/>
              <a:ext cx="993452" cy="412000"/>
            </a:xfrm>
            <a:custGeom>
              <a:avLst/>
              <a:gdLst>
                <a:gd name="T0" fmla="*/ 0 w 383"/>
                <a:gd name="T1" fmla="*/ 159 h 159"/>
                <a:gd name="T2" fmla="*/ 1 w 383"/>
                <a:gd name="T3" fmla="*/ 150 h 159"/>
                <a:gd name="T4" fmla="*/ 35 w 383"/>
                <a:gd name="T5" fmla="*/ 128 h 159"/>
                <a:gd name="T6" fmla="*/ 67 w 383"/>
                <a:gd name="T7" fmla="*/ 117 h 159"/>
                <a:gd name="T8" fmla="*/ 71 w 383"/>
                <a:gd name="T9" fmla="*/ 99 h 159"/>
                <a:gd name="T10" fmla="*/ 98 w 383"/>
                <a:gd name="T11" fmla="*/ 79 h 159"/>
                <a:gd name="T12" fmla="*/ 129 w 383"/>
                <a:gd name="T13" fmla="*/ 93 h 159"/>
                <a:gd name="T14" fmla="*/ 145 w 383"/>
                <a:gd name="T15" fmla="*/ 100 h 159"/>
                <a:gd name="T16" fmla="*/ 154 w 383"/>
                <a:gd name="T17" fmla="*/ 92 h 159"/>
                <a:gd name="T18" fmla="*/ 183 w 383"/>
                <a:gd name="T19" fmla="*/ 22 h 159"/>
                <a:gd name="T20" fmla="*/ 250 w 383"/>
                <a:gd name="T21" fmla="*/ 16 h 159"/>
                <a:gd name="T22" fmla="*/ 288 w 383"/>
                <a:gd name="T23" fmla="*/ 87 h 159"/>
                <a:gd name="T24" fmla="*/ 297 w 383"/>
                <a:gd name="T25" fmla="*/ 112 h 159"/>
                <a:gd name="T26" fmla="*/ 330 w 383"/>
                <a:gd name="T27" fmla="*/ 117 h 159"/>
                <a:gd name="T28" fmla="*/ 368 w 383"/>
                <a:gd name="T29" fmla="*/ 127 h 159"/>
                <a:gd name="T30" fmla="*/ 382 w 383"/>
                <a:gd name="T31" fmla="*/ 159 h 159"/>
                <a:gd name="T32" fmla="*/ 0 w 383"/>
                <a:gd name="T33"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3" h="159">
                  <a:moveTo>
                    <a:pt x="0" y="159"/>
                  </a:moveTo>
                  <a:cubicBezTo>
                    <a:pt x="0" y="157"/>
                    <a:pt x="1" y="154"/>
                    <a:pt x="1" y="150"/>
                  </a:cubicBezTo>
                  <a:cubicBezTo>
                    <a:pt x="4" y="124"/>
                    <a:pt x="23" y="127"/>
                    <a:pt x="35" y="128"/>
                  </a:cubicBezTo>
                  <a:cubicBezTo>
                    <a:pt x="47" y="128"/>
                    <a:pt x="61" y="129"/>
                    <a:pt x="67" y="117"/>
                  </a:cubicBezTo>
                  <a:cubicBezTo>
                    <a:pt x="69" y="111"/>
                    <a:pt x="69" y="105"/>
                    <a:pt x="71" y="99"/>
                  </a:cubicBezTo>
                  <a:cubicBezTo>
                    <a:pt x="75" y="87"/>
                    <a:pt x="86" y="79"/>
                    <a:pt x="98" y="79"/>
                  </a:cubicBezTo>
                  <a:cubicBezTo>
                    <a:pt x="109" y="79"/>
                    <a:pt x="120" y="85"/>
                    <a:pt x="129" y="93"/>
                  </a:cubicBezTo>
                  <a:cubicBezTo>
                    <a:pt x="134" y="97"/>
                    <a:pt x="140" y="101"/>
                    <a:pt x="145" y="100"/>
                  </a:cubicBezTo>
                  <a:cubicBezTo>
                    <a:pt x="149" y="99"/>
                    <a:pt x="152" y="96"/>
                    <a:pt x="154" y="92"/>
                  </a:cubicBezTo>
                  <a:cubicBezTo>
                    <a:pt x="168" y="71"/>
                    <a:pt x="168" y="41"/>
                    <a:pt x="183" y="22"/>
                  </a:cubicBezTo>
                  <a:cubicBezTo>
                    <a:pt x="199" y="1"/>
                    <a:pt x="229" y="0"/>
                    <a:pt x="250" y="16"/>
                  </a:cubicBezTo>
                  <a:cubicBezTo>
                    <a:pt x="271" y="31"/>
                    <a:pt x="283" y="59"/>
                    <a:pt x="288" y="87"/>
                  </a:cubicBezTo>
                  <a:cubicBezTo>
                    <a:pt x="290" y="96"/>
                    <a:pt x="291" y="106"/>
                    <a:pt x="297" y="112"/>
                  </a:cubicBezTo>
                  <a:cubicBezTo>
                    <a:pt x="306" y="121"/>
                    <a:pt x="319" y="118"/>
                    <a:pt x="330" y="117"/>
                  </a:cubicBezTo>
                  <a:cubicBezTo>
                    <a:pt x="343" y="116"/>
                    <a:pt x="358" y="118"/>
                    <a:pt x="368" y="127"/>
                  </a:cubicBezTo>
                  <a:cubicBezTo>
                    <a:pt x="377" y="134"/>
                    <a:pt x="383" y="147"/>
                    <a:pt x="382" y="159"/>
                  </a:cubicBezTo>
                  <a:lnTo>
                    <a:pt x="0" y="15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2" name="Freeform 9"/>
            <p:cNvSpPr/>
            <p:nvPr userDrawn="1"/>
          </p:nvSpPr>
          <p:spPr bwMode="auto">
            <a:xfrm>
              <a:off x="5594927" y="2012262"/>
              <a:ext cx="1001759" cy="408677"/>
            </a:xfrm>
            <a:custGeom>
              <a:avLst/>
              <a:gdLst>
                <a:gd name="T0" fmla="*/ 4 w 386"/>
                <a:gd name="T1" fmla="*/ 156 h 158"/>
                <a:gd name="T2" fmla="*/ 14 w 386"/>
                <a:gd name="T3" fmla="*/ 130 h 158"/>
                <a:gd name="T4" fmla="*/ 37 w 386"/>
                <a:gd name="T5" fmla="*/ 127 h 158"/>
                <a:gd name="T6" fmla="*/ 60 w 386"/>
                <a:gd name="T7" fmla="*/ 125 h 158"/>
                <a:gd name="T8" fmla="*/ 75 w 386"/>
                <a:gd name="T9" fmla="*/ 97 h 158"/>
                <a:gd name="T10" fmla="*/ 100 w 386"/>
                <a:gd name="T11" fmla="*/ 78 h 158"/>
                <a:gd name="T12" fmla="*/ 137 w 386"/>
                <a:gd name="T13" fmla="*/ 97 h 158"/>
                <a:gd name="T14" fmla="*/ 148 w 386"/>
                <a:gd name="T15" fmla="*/ 99 h 158"/>
                <a:gd name="T16" fmla="*/ 172 w 386"/>
                <a:gd name="T17" fmla="*/ 54 h 158"/>
                <a:gd name="T18" fmla="*/ 220 w 386"/>
                <a:gd name="T19" fmla="*/ 4 h 158"/>
                <a:gd name="T20" fmla="*/ 288 w 386"/>
                <a:gd name="T21" fmla="*/ 84 h 158"/>
                <a:gd name="T22" fmla="*/ 298 w 386"/>
                <a:gd name="T23" fmla="*/ 111 h 158"/>
                <a:gd name="T24" fmla="*/ 316 w 386"/>
                <a:gd name="T25" fmla="*/ 117 h 158"/>
                <a:gd name="T26" fmla="*/ 340 w 386"/>
                <a:gd name="T27" fmla="*/ 116 h 158"/>
                <a:gd name="T28" fmla="*/ 382 w 386"/>
                <a:gd name="T29" fmla="*/ 153 h 158"/>
                <a:gd name="T30" fmla="*/ 384 w 386"/>
                <a:gd name="T31" fmla="*/ 156 h 158"/>
                <a:gd name="T32" fmla="*/ 2 w 386"/>
                <a:gd name="T33" fmla="*/ 154 h 158"/>
                <a:gd name="T34" fmla="*/ 4 w 386"/>
                <a:gd name="T35" fmla="*/ 156 h 158"/>
                <a:gd name="T36" fmla="*/ 2 w 386"/>
                <a:gd name="T37" fmla="*/ 158 h 158"/>
                <a:gd name="T38" fmla="*/ 386 w 386"/>
                <a:gd name="T39" fmla="*/ 157 h 158"/>
                <a:gd name="T40" fmla="*/ 372 w 386"/>
                <a:gd name="T41" fmla="*/ 122 h 158"/>
                <a:gd name="T42" fmla="*/ 332 w 386"/>
                <a:gd name="T43" fmla="*/ 112 h 158"/>
                <a:gd name="T44" fmla="*/ 308 w 386"/>
                <a:gd name="T45" fmla="*/ 112 h 158"/>
                <a:gd name="T46" fmla="*/ 295 w 386"/>
                <a:gd name="T47" fmla="*/ 97 h 158"/>
                <a:gd name="T48" fmla="*/ 253 w 386"/>
                <a:gd name="T49" fmla="*/ 11 h 158"/>
                <a:gd name="T50" fmla="*/ 183 w 386"/>
                <a:gd name="T51" fmla="*/ 18 h 158"/>
                <a:gd name="T52" fmla="*/ 155 w 386"/>
                <a:gd name="T53" fmla="*/ 88 h 158"/>
                <a:gd name="T54" fmla="*/ 145 w 386"/>
                <a:gd name="T55" fmla="*/ 95 h 158"/>
                <a:gd name="T56" fmla="*/ 133 w 386"/>
                <a:gd name="T57" fmla="*/ 88 h 158"/>
                <a:gd name="T58" fmla="*/ 100 w 386"/>
                <a:gd name="T59" fmla="*/ 74 h 158"/>
                <a:gd name="T60" fmla="*/ 67 w 386"/>
                <a:gd name="T61" fmla="*/ 113 h 158"/>
                <a:gd name="T62" fmla="*/ 45 w 386"/>
                <a:gd name="T63" fmla="*/ 123 h 158"/>
                <a:gd name="T64" fmla="*/ 28 w 386"/>
                <a:gd name="T65" fmla="*/ 122 h 158"/>
                <a:gd name="T66" fmla="*/ 1 w 386"/>
                <a:gd name="T67" fmla="*/ 147 h 158"/>
                <a:gd name="T68" fmla="*/ 1 w 386"/>
                <a:gd name="T69" fmla="*/ 158 h 158"/>
                <a:gd name="T70" fmla="*/ 2 w 386"/>
                <a:gd name="T71" fmla="*/ 15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6" h="158">
                  <a:moveTo>
                    <a:pt x="2" y="156"/>
                  </a:moveTo>
                  <a:cubicBezTo>
                    <a:pt x="4" y="156"/>
                    <a:pt x="4" y="156"/>
                    <a:pt x="4" y="156"/>
                  </a:cubicBezTo>
                  <a:cubicBezTo>
                    <a:pt x="4" y="154"/>
                    <a:pt x="5" y="151"/>
                    <a:pt x="5" y="148"/>
                  </a:cubicBezTo>
                  <a:cubicBezTo>
                    <a:pt x="6" y="138"/>
                    <a:pt x="10" y="133"/>
                    <a:pt x="14" y="130"/>
                  </a:cubicBezTo>
                  <a:cubicBezTo>
                    <a:pt x="18" y="127"/>
                    <a:pt x="23" y="126"/>
                    <a:pt x="28" y="126"/>
                  </a:cubicBezTo>
                  <a:cubicBezTo>
                    <a:pt x="31" y="126"/>
                    <a:pt x="34" y="126"/>
                    <a:pt x="37" y="127"/>
                  </a:cubicBezTo>
                  <a:cubicBezTo>
                    <a:pt x="39" y="127"/>
                    <a:pt x="42" y="127"/>
                    <a:pt x="45" y="127"/>
                  </a:cubicBezTo>
                  <a:cubicBezTo>
                    <a:pt x="50" y="127"/>
                    <a:pt x="55" y="126"/>
                    <a:pt x="60" y="125"/>
                  </a:cubicBezTo>
                  <a:cubicBezTo>
                    <a:pt x="64" y="123"/>
                    <a:pt x="68" y="120"/>
                    <a:pt x="71" y="114"/>
                  </a:cubicBezTo>
                  <a:cubicBezTo>
                    <a:pt x="73" y="109"/>
                    <a:pt x="73" y="102"/>
                    <a:pt x="75" y="97"/>
                  </a:cubicBezTo>
                  <a:cubicBezTo>
                    <a:pt x="78" y="85"/>
                    <a:pt x="89" y="78"/>
                    <a:pt x="100" y="78"/>
                  </a:cubicBezTo>
                  <a:cubicBezTo>
                    <a:pt x="100" y="78"/>
                    <a:pt x="100" y="78"/>
                    <a:pt x="100" y="78"/>
                  </a:cubicBezTo>
                  <a:cubicBezTo>
                    <a:pt x="111" y="78"/>
                    <a:pt x="121" y="84"/>
                    <a:pt x="130" y="91"/>
                  </a:cubicBezTo>
                  <a:cubicBezTo>
                    <a:pt x="132" y="93"/>
                    <a:pt x="135" y="95"/>
                    <a:pt x="137" y="97"/>
                  </a:cubicBezTo>
                  <a:cubicBezTo>
                    <a:pt x="139" y="98"/>
                    <a:pt x="142" y="99"/>
                    <a:pt x="145" y="99"/>
                  </a:cubicBezTo>
                  <a:cubicBezTo>
                    <a:pt x="146" y="99"/>
                    <a:pt x="147" y="99"/>
                    <a:pt x="148" y="99"/>
                  </a:cubicBezTo>
                  <a:cubicBezTo>
                    <a:pt x="153" y="98"/>
                    <a:pt x="156" y="94"/>
                    <a:pt x="158" y="90"/>
                  </a:cubicBezTo>
                  <a:cubicBezTo>
                    <a:pt x="165" y="80"/>
                    <a:pt x="168" y="67"/>
                    <a:pt x="172" y="54"/>
                  </a:cubicBezTo>
                  <a:cubicBezTo>
                    <a:pt x="175" y="42"/>
                    <a:pt x="179" y="30"/>
                    <a:pt x="186" y="20"/>
                  </a:cubicBezTo>
                  <a:cubicBezTo>
                    <a:pt x="195" y="9"/>
                    <a:pt x="207" y="4"/>
                    <a:pt x="220" y="4"/>
                  </a:cubicBezTo>
                  <a:cubicBezTo>
                    <a:pt x="231" y="4"/>
                    <a:pt x="242" y="7"/>
                    <a:pt x="251" y="14"/>
                  </a:cubicBezTo>
                  <a:cubicBezTo>
                    <a:pt x="271" y="29"/>
                    <a:pt x="283" y="57"/>
                    <a:pt x="288" y="84"/>
                  </a:cubicBezTo>
                  <a:cubicBezTo>
                    <a:pt x="289" y="89"/>
                    <a:pt x="290" y="94"/>
                    <a:pt x="291" y="98"/>
                  </a:cubicBezTo>
                  <a:cubicBezTo>
                    <a:pt x="293" y="103"/>
                    <a:pt x="295" y="107"/>
                    <a:pt x="298" y="111"/>
                  </a:cubicBezTo>
                  <a:cubicBezTo>
                    <a:pt x="300" y="113"/>
                    <a:pt x="303" y="115"/>
                    <a:pt x="307" y="116"/>
                  </a:cubicBezTo>
                  <a:cubicBezTo>
                    <a:pt x="310" y="117"/>
                    <a:pt x="313" y="117"/>
                    <a:pt x="316" y="117"/>
                  </a:cubicBezTo>
                  <a:cubicBezTo>
                    <a:pt x="322" y="117"/>
                    <a:pt x="327" y="117"/>
                    <a:pt x="332" y="116"/>
                  </a:cubicBezTo>
                  <a:cubicBezTo>
                    <a:pt x="335" y="116"/>
                    <a:pt x="337" y="116"/>
                    <a:pt x="340" y="116"/>
                  </a:cubicBezTo>
                  <a:cubicBezTo>
                    <a:pt x="350" y="116"/>
                    <a:pt x="361" y="118"/>
                    <a:pt x="369" y="125"/>
                  </a:cubicBezTo>
                  <a:cubicBezTo>
                    <a:pt x="376" y="132"/>
                    <a:pt x="382" y="143"/>
                    <a:pt x="382" y="153"/>
                  </a:cubicBezTo>
                  <a:cubicBezTo>
                    <a:pt x="382" y="154"/>
                    <a:pt x="382" y="155"/>
                    <a:pt x="382" y="156"/>
                  </a:cubicBezTo>
                  <a:cubicBezTo>
                    <a:pt x="384" y="156"/>
                    <a:pt x="384" y="156"/>
                    <a:pt x="384" y="156"/>
                  </a:cubicBezTo>
                  <a:cubicBezTo>
                    <a:pt x="384" y="154"/>
                    <a:pt x="384" y="154"/>
                    <a:pt x="384" y="154"/>
                  </a:cubicBezTo>
                  <a:cubicBezTo>
                    <a:pt x="2" y="154"/>
                    <a:pt x="2" y="154"/>
                    <a:pt x="2" y="154"/>
                  </a:cubicBezTo>
                  <a:cubicBezTo>
                    <a:pt x="2" y="156"/>
                    <a:pt x="2" y="156"/>
                    <a:pt x="2" y="156"/>
                  </a:cubicBezTo>
                  <a:cubicBezTo>
                    <a:pt x="4" y="156"/>
                    <a:pt x="4" y="156"/>
                    <a:pt x="4" y="156"/>
                  </a:cubicBezTo>
                  <a:cubicBezTo>
                    <a:pt x="2" y="156"/>
                    <a:pt x="2" y="156"/>
                    <a:pt x="2" y="156"/>
                  </a:cubicBezTo>
                  <a:cubicBezTo>
                    <a:pt x="2" y="158"/>
                    <a:pt x="2" y="158"/>
                    <a:pt x="2" y="158"/>
                  </a:cubicBezTo>
                  <a:cubicBezTo>
                    <a:pt x="384" y="158"/>
                    <a:pt x="384" y="158"/>
                    <a:pt x="384" y="158"/>
                  </a:cubicBezTo>
                  <a:cubicBezTo>
                    <a:pt x="385" y="158"/>
                    <a:pt x="385" y="158"/>
                    <a:pt x="386" y="157"/>
                  </a:cubicBezTo>
                  <a:cubicBezTo>
                    <a:pt x="386" y="155"/>
                    <a:pt x="386" y="154"/>
                    <a:pt x="386" y="153"/>
                  </a:cubicBezTo>
                  <a:cubicBezTo>
                    <a:pt x="386" y="141"/>
                    <a:pt x="380" y="129"/>
                    <a:pt x="372" y="122"/>
                  </a:cubicBezTo>
                  <a:cubicBezTo>
                    <a:pt x="362" y="114"/>
                    <a:pt x="351" y="112"/>
                    <a:pt x="340" y="112"/>
                  </a:cubicBezTo>
                  <a:cubicBezTo>
                    <a:pt x="337" y="112"/>
                    <a:pt x="335" y="112"/>
                    <a:pt x="332" y="112"/>
                  </a:cubicBezTo>
                  <a:cubicBezTo>
                    <a:pt x="327" y="113"/>
                    <a:pt x="321" y="113"/>
                    <a:pt x="316" y="113"/>
                  </a:cubicBezTo>
                  <a:cubicBezTo>
                    <a:pt x="313" y="113"/>
                    <a:pt x="310" y="113"/>
                    <a:pt x="308" y="112"/>
                  </a:cubicBezTo>
                  <a:cubicBezTo>
                    <a:pt x="305" y="111"/>
                    <a:pt x="303" y="110"/>
                    <a:pt x="301" y="108"/>
                  </a:cubicBezTo>
                  <a:cubicBezTo>
                    <a:pt x="298" y="105"/>
                    <a:pt x="296" y="101"/>
                    <a:pt x="295" y="97"/>
                  </a:cubicBezTo>
                  <a:cubicBezTo>
                    <a:pt x="294" y="93"/>
                    <a:pt x="293" y="88"/>
                    <a:pt x="292" y="84"/>
                  </a:cubicBezTo>
                  <a:cubicBezTo>
                    <a:pt x="287" y="55"/>
                    <a:pt x="275" y="27"/>
                    <a:pt x="253" y="11"/>
                  </a:cubicBezTo>
                  <a:cubicBezTo>
                    <a:pt x="244" y="4"/>
                    <a:pt x="232" y="0"/>
                    <a:pt x="220" y="0"/>
                  </a:cubicBezTo>
                  <a:cubicBezTo>
                    <a:pt x="206" y="0"/>
                    <a:pt x="192" y="6"/>
                    <a:pt x="183" y="18"/>
                  </a:cubicBezTo>
                  <a:cubicBezTo>
                    <a:pt x="175" y="28"/>
                    <a:pt x="172" y="41"/>
                    <a:pt x="168" y="53"/>
                  </a:cubicBezTo>
                  <a:cubicBezTo>
                    <a:pt x="165" y="66"/>
                    <a:pt x="161" y="78"/>
                    <a:pt x="155" y="88"/>
                  </a:cubicBezTo>
                  <a:cubicBezTo>
                    <a:pt x="153" y="91"/>
                    <a:pt x="150" y="94"/>
                    <a:pt x="147" y="95"/>
                  </a:cubicBezTo>
                  <a:cubicBezTo>
                    <a:pt x="146" y="95"/>
                    <a:pt x="146" y="95"/>
                    <a:pt x="145" y="95"/>
                  </a:cubicBezTo>
                  <a:cubicBezTo>
                    <a:pt x="143" y="95"/>
                    <a:pt x="141" y="94"/>
                    <a:pt x="139" y="93"/>
                  </a:cubicBezTo>
                  <a:cubicBezTo>
                    <a:pt x="137" y="92"/>
                    <a:pt x="135" y="90"/>
                    <a:pt x="133" y="88"/>
                  </a:cubicBezTo>
                  <a:cubicBezTo>
                    <a:pt x="123" y="81"/>
                    <a:pt x="112" y="74"/>
                    <a:pt x="100" y="74"/>
                  </a:cubicBezTo>
                  <a:cubicBezTo>
                    <a:pt x="100" y="74"/>
                    <a:pt x="100" y="74"/>
                    <a:pt x="100" y="74"/>
                  </a:cubicBezTo>
                  <a:cubicBezTo>
                    <a:pt x="88" y="74"/>
                    <a:pt x="75" y="82"/>
                    <a:pt x="71" y="96"/>
                  </a:cubicBezTo>
                  <a:cubicBezTo>
                    <a:pt x="69" y="102"/>
                    <a:pt x="69" y="108"/>
                    <a:pt x="67" y="113"/>
                  </a:cubicBezTo>
                  <a:cubicBezTo>
                    <a:pt x="65" y="117"/>
                    <a:pt x="62" y="119"/>
                    <a:pt x="58" y="121"/>
                  </a:cubicBezTo>
                  <a:cubicBezTo>
                    <a:pt x="55" y="122"/>
                    <a:pt x="50" y="123"/>
                    <a:pt x="45" y="123"/>
                  </a:cubicBezTo>
                  <a:cubicBezTo>
                    <a:pt x="42" y="123"/>
                    <a:pt x="40" y="123"/>
                    <a:pt x="37" y="123"/>
                  </a:cubicBezTo>
                  <a:cubicBezTo>
                    <a:pt x="34" y="122"/>
                    <a:pt x="31" y="122"/>
                    <a:pt x="28" y="122"/>
                  </a:cubicBezTo>
                  <a:cubicBezTo>
                    <a:pt x="23" y="122"/>
                    <a:pt x="16" y="123"/>
                    <a:pt x="11" y="127"/>
                  </a:cubicBezTo>
                  <a:cubicBezTo>
                    <a:pt x="6" y="130"/>
                    <a:pt x="2" y="137"/>
                    <a:pt x="1" y="147"/>
                  </a:cubicBezTo>
                  <a:cubicBezTo>
                    <a:pt x="1" y="150"/>
                    <a:pt x="0" y="153"/>
                    <a:pt x="0" y="156"/>
                  </a:cubicBezTo>
                  <a:cubicBezTo>
                    <a:pt x="0" y="157"/>
                    <a:pt x="0" y="157"/>
                    <a:pt x="1" y="158"/>
                  </a:cubicBezTo>
                  <a:cubicBezTo>
                    <a:pt x="1" y="158"/>
                    <a:pt x="2" y="158"/>
                    <a:pt x="2" y="158"/>
                  </a:cubicBezTo>
                  <a:lnTo>
                    <a:pt x="2" y="156"/>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533" name="组合 532"/>
            <p:cNvGrpSpPr/>
            <p:nvPr userDrawn="1"/>
          </p:nvGrpSpPr>
          <p:grpSpPr>
            <a:xfrm>
              <a:off x="1214104" y="1711568"/>
              <a:ext cx="908726" cy="375452"/>
              <a:chOff x="1244584" y="1825868"/>
              <a:chExt cx="908726" cy="375452"/>
            </a:xfrm>
          </p:grpSpPr>
          <p:sp>
            <p:nvSpPr>
              <p:cNvPr id="789" name="Freeform 10"/>
              <p:cNvSpPr/>
              <p:nvPr userDrawn="1"/>
            </p:nvSpPr>
            <p:spPr bwMode="auto">
              <a:xfrm>
                <a:off x="1244584" y="1825868"/>
                <a:ext cx="902081" cy="370468"/>
              </a:xfrm>
              <a:custGeom>
                <a:avLst/>
                <a:gdLst>
                  <a:gd name="T0" fmla="*/ 20 w 348"/>
                  <a:gd name="T1" fmla="*/ 143 h 143"/>
                  <a:gd name="T2" fmla="*/ 348 w 348"/>
                  <a:gd name="T3" fmla="*/ 143 h 143"/>
                  <a:gd name="T4" fmla="*/ 321 w 348"/>
                  <a:gd name="T5" fmla="*/ 112 h 143"/>
                  <a:gd name="T6" fmla="*/ 288 w 348"/>
                  <a:gd name="T7" fmla="*/ 108 h 143"/>
                  <a:gd name="T8" fmla="*/ 259 w 348"/>
                  <a:gd name="T9" fmla="*/ 69 h 143"/>
                  <a:gd name="T10" fmla="*/ 210 w 348"/>
                  <a:gd name="T11" fmla="*/ 79 h 143"/>
                  <a:gd name="T12" fmla="*/ 187 w 348"/>
                  <a:gd name="T13" fmla="*/ 30 h 143"/>
                  <a:gd name="T14" fmla="*/ 128 w 348"/>
                  <a:gd name="T15" fmla="*/ 9 h 143"/>
                  <a:gd name="T16" fmla="*/ 86 w 348"/>
                  <a:gd name="T17" fmla="*/ 66 h 143"/>
                  <a:gd name="T18" fmla="*/ 20 w 348"/>
                  <a:gd name="T19" fmla="*/ 78 h 143"/>
                  <a:gd name="T20" fmla="*/ 20 w 348"/>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8" h="143">
                    <a:moveTo>
                      <a:pt x="20" y="143"/>
                    </a:moveTo>
                    <a:cubicBezTo>
                      <a:pt x="348" y="143"/>
                      <a:pt x="348" y="143"/>
                      <a:pt x="348" y="143"/>
                    </a:cubicBezTo>
                    <a:cubicBezTo>
                      <a:pt x="348" y="143"/>
                      <a:pt x="342" y="122"/>
                      <a:pt x="321" y="112"/>
                    </a:cubicBezTo>
                    <a:cubicBezTo>
                      <a:pt x="302" y="104"/>
                      <a:pt x="296" y="116"/>
                      <a:pt x="288" y="108"/>
                    </a:cubicBezTo>
                    <a:cubicBezTo>
                      <a:pt x="285" y="104"/>
                      <a:pt x="288" y="69"/>
                      <a:pt x="259" y="69"/>
                    </a:cubicBezTo>
                    <a:cubicBezTo>
                      <a:pt x="230" y="69"/>
                      <a:pt x="224" y="86"/>
                      <a:pt x="210" y="79"/>
                    </a:cubicBezTo>
                    <a:cubicBezTo>
                      <a:pt x="199" y="73"/>
                      <a:pt x="199" y="50"/>
                      <a:pt x="187" y="30"/>
                    </a:cubicBezTo>
                    <a:cubicBezTo>
                      <a:pt x="176" y="11"/>
                      <a:pt x="148" y="0"/>
                      <a:pt x="128" y="9"/>
                    </a:cubicBezTo>
                    <a:cubicBezTo>
                      <a:pt x="93" y="28"/>
                      <a:pt x="98" y="57"/>
                      <a:pt x="86" y="66"/>
                    </a:cubicBezTo>
                    <a:cubicBezTo>
                      <a:pt x="75" y="76"/>
                      <a:pt x="49" y="42"/>
                      <a:pt x="20" y="78"/>
                    </a:cubicBezTo>
                    <a:cubicBezTo>
                      <a:pt x="0" y="103"/>
                      <a:pt x="20" y="143"/>
                      <a:pt x="20" y="1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90" name="Freeform 11"/>
              <p:cNvSpPr/>
              <p:nvPr userDrawn="1"/>
            </p:nvSpPr>
            <p:spPr bwMode="auto">
              <a:xfrm>
                <a:off x="1267842" y="1835836"/>
                <a:ext cx="885468" cy="365484"/>
              </a:xfrm>
              <a:custGeom>
                <a:avLst/>
                <a:gdLst>
                  <a:gd name="T0" fmla="*/ 11 w 341"/>
                  <a:gd name="T1" fmla="*/ 141 h 141"/>
                  <a:gd name="T2" fmla="*/ 340 w 341"/>
                  <a:gd name="T3" fmla="*/ 141 h 141"/>
                  <a:gd name="T4" fmla="*/ 335 w 341"/>
                  <a:gd name="T5" fmla="*/ 126 h 141"/>
                  <a:gd name="T6" fmla="*/ 299 w 341"/>
                  <a:gd name="T7" fmla="*/ 103 h 141"/>
                  <a:gd name="T8" fmla="*/ 283 w 341"/>
                  <a:gd name="T9" fmla="*/ 104 h 141"/>
                  <a:gd name="T10" fmla="*/ 281 w 341"/>
                  <a:gd name="T11" fmla="*/ 103 h 141"/>
                  <a:gd name="T12" fmla="*/ 281 w 341"/>
                  <a:gd name="T13" fmla="*/ 103 h 141"/>
                  <a:gd name="T14" fmla="*/ 281 w 341"/>
                  <a:gd name="T15" fmla="*/ 103 h 141"/>
                  <a:gd name="T16" fmla="*/ 278 w 341"/>
                  <a:gd name="T17" fmla="*/ 91 h 141"/>
                  <a:gd name="T18" fmla="*/ 250 w 341"/>
                  <a:gd name="T19" fmla="*/ 63 h 141"/>
                  <a:gd name="T20" fmla="*/ 214 w 341"/>
                  <a:gd name="T21" fmla="*/ 73 h 141"/>
                  <a:gd name="T22" fmla="*/ 202 w 341"/>
                  <a:gd name="T23" fmla="*/ 73 h 141"/>
                  <a:gd name="T24" fmla="*/ 190 w 341"/>
                  <a:gd name="T25" fmla="*/ 48 h 141"/>
                  <a:gd name="T26" fmla="*/ 135 w 341"/>
                  <a:gd name="T27" fmla="*/ 0 h 141"/>
                  <a:gd name="T28" fmla="*/ 88 w 341"/>
                  <a:gd name="T29" fmla="*/ 36 h 141"/>
                  <a:gd name="T30" fmla="*/ 76 w 341"/>
                  <a:gd name="T31" fmla="*/ 61 h 141"/>
                  <a:gd name="T32" fmla="*/ 59 w 341"/>
                  <a:gd name="T33" fmla="*/ 59 h 141"/>
                  <a:gd name="T34" fmla="*/ 26 w 341"/>
                  <a:gd name="T35" fmla="*/ 59 h 141"/>
                  <a:gd name="T36" fmla="*/ 0 w 341"/>
                  <a:gd name="T37" fmla="*/ 102 h 141"/>
                  <a:gd name="T38" fmla="*/ 11 w 341"/>
                  <a:gd name="T39" fmla="*/ 141 h 141"/>
                  <a:gd name="T40" fmla="*/ 13 w 341"/>
                  <a:gd name="T41" fmla="*/ 138 h 141"/>
                  <a:gd name="T42" fmla="*/ 4 w 341"/>
                  <a:gd name="T43" fmla="*/ 102 h 141"/>
                  <a:gd name="T44" fmla="*/ 28 w 341"/>
                  <a:gd name="T45" fmla="*/ 63 h 141"/>
                  <a:gd name="T46" fmla="*/ 58 w 341"/>
                  <a:gd name="T47" fmla="*/ 63 h 141"/>
                  <a:gd name="T48" fmla="*/ 79 w 341"/>
                  <a:gd name="T49" fmla="*/ 64 h 141"/>
                  <a:gd name="T50" fmla="*/ 95 w 341"/>
                  <a:gd name="T51" fmla="*/ 30 h 141"/>
                  <a:gd name="T52" fmla="*/ 135 w 341"/>
                  <a:gd name="T53" fmla="*/ 4 h 141"/>
                  <a:gd name="T54" fmla="*/ 188 w 341"/>
                  <a:gd name="T55" fmla="*/ 57 h 141"/>
                  <a:gd name="T56" fmla="*/ 201 w 341"/>
                  <a:gd name="T57" fmla="*/ 77 h 141"/>
                  <a:gd name="T58" fmla="*/ 216 w 341"/>
                  <a:gd name="T59" fmla="*/ 77 h 141"/>
                  <a:gd name="T60" fmla="*/ 265 w 341"/>
                  <a:gd name="T61" fmla="*/ 72 h 141"/>
                  <a:gd name="T62" fmla="*/ 276 w 341"/>
                  <a:gd name="T63" fmla="*/ 99 h 141"/>
                  <a:gd name="T64" fmla="*/ 278 w 341"/>
                  <a:gd name="T65" fmla="*/ 105 h 141"/>
                  <a:gd name="T66" fmla="*/ 286 w 341"/>
                  <a:gd name="T67" fmla="*/ 109 h 141"/>
                  <a:gd name="T68" fmla="*/ 311 w 341"/>
                  <a:gd name="T69" fmla="*/ 110 h 141"/>
                  <a:gd name="T70" fmla="*/ 336 w 341"/>
                  <a:gd name="T71" fmla="*/ 137 h 141"/>
                  <a:gd name="T72" fmla="*/ 337 w 341"/>
                  <a:gd name="T73" fmla="*/ 140 h 141"/>
                  <a:gd name="T74" fmla="*/ 339 w 341"/>
                  <a:gd name="T75" fmla="*/ 139 h 141"/>
                  <a:gd name="T76" fmla="*/ 11 w 341"/>
                  <a:gd name="T77" fmla="*/ 137 h 141"/>
                  <a:gd name="T78" fmla="*/ 13 w 341"/>
                  <a:gd name="T79" fmla="*/ 13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141">
                    <a:moveTo>
                      <a:pt x="11" y="139"/>
                    </a:moveTo>
                    <a:cubicBezTo>
                      <a:pt x="11" y="141"/>
                      <a:pt x="11" y="141"/>
                      <a:pt x="11" y="141"/>
                    </a:cubicBezTo>
                    <a:cubicBezTo>
                      <a:pt x="339" y="141"/>
                      <a:pt x="339" y="141"/>
                      <a:pt x="339" y="141"/>
                    </a:cubicBezTo>
                    <a:cubicBezTo>
                      <a:pt x="339" y="141"/>
                      <a:pt x="340" y="141"/>
                      <a:pt x="340" y="141"/>
                    </a:cubicBezTo>
                    <a:cubicBezTo>
                      <a:pt x="341" y="140"/>
                      <a:pt x="341" y="139"/>
                      <a:pt x="341" y="139"/>
                    </a:cubicBezTo>
                    <a:cubicBezTo>
                      <a:pt x="341" y="139"/>
                      <a:pt x="339" y="133"/>
                      <a:pt x="335" y="126"/>
                    </a:cubicBezTo>
                    <a:cubicBezTo>
                      <a:pt x="330" y="119"/>
                      <a:pt x="323" y="111"/>
                      <a:pt x="312" y="107"/>
                    </a:cubicBezTo>
                    <a:cubicBezTo>
                      <a:pt x="307" y="104"/>
                      <a:pt x="302" y="103"/>
                      <a:pt x="299" y="103"/>
                    </a:cubicBezTo>
                    <a:cubicBezTo>
                      <a:pt x="293" y="103"/>
                      <a:pt x="289" y="105"/>
                      <a:pt x="286" y="105"/>
                    </a:cubicBezTo>
                    <a:cubicBezTo>
                      <a:pt x="285" y="105"/>
                      <a:pt x="284" y="105"/>
                      <a:pt x="283" y="104"/>
                    </a:cubicBezTo>
                    <a:cubicBezTo>
                      <a:pt x="283" y="104"/>
                      <a:pt x="282" y="104"/>
                      <a:pt x="281" y="103"/>
                    </a:cubicBezTo>
                    <a:cubicBezTo>
                      <a:pt x="281" y="103"/>
                      <a:pt x="281" y="103"/>
                      <a:pt x="281" y="103"/>
                    </a:cubicBezTo>
                    <a:cubicBezTo>
                      <a:pt x="281" y="103"/>
                      <a:pt x="281" y="103"/>
                      <a:pt x="281" y="103"/>
                    </a:cubicBezTo>
                    <a:cubicBezTo>
                      <a:pt x="281" y="103"/>
                      <a:pt x="281" y="103"/>
                      <a:pt x="281" y="103"/>
                    </a:cubicBezTo>
                    <a:cubicBezTo>
                      <a:pt x="281" y="103"/>
                      <a:pt x="281" y="103"/>
                      <a:pt x="281" y="103"/>
                    </a:cubicBezTo>
                    <a:cubicBezTo>
                      <a:pt x="281" y="103"/>
                      <a:pt x="281" y="103"/>
                      <a:pt x="281" y="103"/>
                    </a:cubicBezTo>
                    <a:cubicBezTo>
                      <a:pt x="281" y="102"/>
                      <a:pt x="280" y="101"/>
                      <a:pt x="280" y="100"/>
                    </a:cubicBezTo>
                    <a:cubicBezTo>
                      <a:pt x="279" y="98"/>
                      <a:pt x="279" y="94"/>
                      <a:pt x="278" y="91"/>
                    </a:cubicBezTo>
                    <a:cubicBezTo>
                      <a:pt x="277" y="85"/>
                      <a:pt x="275" y="78"/>
                      <a:pt x="271" y="73"/>
                    </a:cubicBezTo>
                    <a:cubicBezTo>
                      <a:pt x="266" y="67"/>
                      <a:pt x="260" y="63"/>
                      <a:pt x="250" y="63"/>
                    </a:cubicBezTo>
                    <a:cubicBezTo>
                      <a:pt x="237" y="63"/>
                      <a:pt x="229" y="66"/>
                      <a:pt x="222" y="69"/>
                    </a:cubicBezTo>
                    <a:cubicBezTo>
                      <a:pt x="219" y="71"/>
                      <a:pt x="217" y="72"/>
                      <a:pt x="214" y="73"/>
                    </a:cubicBezTo>
                    <a:cubicBezTo>
                      <a:pt x="212" y="74"/>
                      <a:pt x="210" y="75"/>
                      <a:pt x="208" y="75"/>
                    </a:cubicBezTo>
                    <a:cubicBezTo>
                      <a:pt x="206" y="75"/>
                      <a:pt x="204" y="74"/>
                      <a:pt x="202" y="73"/>
                    </a:cubicBezTo>
                    <a:cubicBezTo>
                      <a:pt x="200" y="72"/>
                      <a:pt x="198" y="70"/>
                      <a:pt x="196" y="67"/>
                    </a:cubicBezTo>
                    <a:cubicBezTo>
                      <a:pt x="194" y="62"/>
                      <a:pt x="192" y="56"/>
                      <a:pt x="190" y="48"/>
                    </a:cubicBezTo>
                    <a:cubicBezTo>
                      <a:pt x="187" y="41"/>
                      <a:pt x="185" y="33"/>
                      <a:pt x="180" y="25"/>
                    </a:cubicBezTo>
                    <a:cubicBezTo>
                      <a:pt x="171" y="10"/>
                      <a:pt x="152" y="0"/>
                      <a:pt x="135" y="0"/>
                    </a:cubicBezTo>
                    <a:cubicBezTo>
                      <a:pt x="129" y="0"/>
                      <a:pt x="124" y="1"/>
                      <a:pt x="119" y="4"/>
                    </a:cubicBezTo>
                    <a:cubicBezTo>
                      <a:pt x="101" y="13"/>
                      <a:pt x="93" y="25"/>
                      <a:pt x="88" y="36"/>
                    </a:cubicBezTo>
                    <a:cubicBezTo>
                      <a:pt x="85" y="42"/>
                      <a:pt x="84" y="47"/>
                      <a:pt x="82" y="51"/>
                    </a:cubicBezTo>
                    <a:cubicBezTo>
                      <a:pt x="80" y="55"/>
                      <a:pt x="79" y="59"/>
                      <a:pt x="76" y="61"/>
                    </a:cubicBezTo>
                    <a:cubicBezTo>
                      <a:pt x="75" y="62"/>
                      <a:pt x="74" y="62"/>
                      <a:pt x="72" y="62"/>
                    </a:cubicBezTo>
                    <a:cubicBezTo>
                      <a:pt x="69" y="62"/>
                      <a:pt x="65" y="60"/>
                      <a:pt x="59" y="59"/>
                    </a:cubicBezTo>
                    <a:cubicBezTo>
                      <a:pt x="54" y="57"/>
                      <a:pt x="48" y="55"/>
                      <a:pt x="42" y="55"/>
                    </a:cubicBezTo>
                    <a:cubicBezTo>
                      <a:pt x="37" y="55"/>
                      <a:pt x="31" y="56"/>
                      <a:pt x="26" y="59"/>
                    </a:cubicBezTo>
                    <a:cubicBezTo>
                      <a:pt x="21" y="62"/>
                      <a:pt x="15" y="66"/>
                      <a:pt x="10" y="73"/>
                    </a:cubicBezTo>
                    <a:cubicBezTo>
                      <a:pt x="2" y="82"/>
                      <a:pt x="0" y="92"/>
                      <a:pt x="0" y="102"/>
                    </a:cubicBezTo>
                    <a:cubicBezTo>
                      <a:pt x="0" y="122"/>
                      <a:pt x="9" y="140"/>
                      <a:pt x="9" y="140"/>
                    </a:cubicBezTo>
                    <a:cubicBezTo>
                      <a:pt x="10" y="141"/>
                      <a:pt x="10" y="141"/>
                      <a:pt x="11" y="141"/>
                    </a:cubicBezTo>
                    <a:cubicBezTo>
                      <a:pt x="11" y="139"/>
                      <a:pt x="11" y="139"/>
                      <a:pt x="11" y="139"/>
                    </a:cubicBezTo>
                    <a:cubicBezTo>
                      <a:pt x="13" y="138"/>
                      <a:pt x="13" y="138"/>
                      <a:pt x="13" y="138"/>
                    </a:cubicBezTo>
                    <a:cubicBezTo>
                      <a:pt x="13" y="138"/>
                      <a:pt x="13" y="138"/>
                      <a:pt x="13" y="138"/>
                    </a:cubicBezTo>
                    <a:cubicBezTo>
                      <a:pt x="11" y="134"/>
                      <a:pt x="4" y="119"/>
                      <a:pt x="4" y="102"/>
                    </a:cubicBezTo>
                    <a:cubicBezTo>
                      <a:pt x="4" y="93"/>
                      <a:pt x="6" y="83"/>
                      <a:pt x="13" y="76"/>
                    </a:cubicBezTo>
                    <a:cubicBezTo>
                      <a:pt x="18" y="69"/>
                      <a:pt x="23" y="65"/>
                      <a:pt x="28" y="63"/>
                    </a:cubicBezTo>
                    <a:cubicBezTo>
                      <a:pt x="33" y="60"/>
                      <a:pt x="37" y="59"/>
                      <a:pt x="42" y="59"/>
                    </a:cubicBezTo>
                    <a:cubicBezTo>
                      <a:pt x="47" y="59"/>
                      <a:pt x="53" y="61"/>
                      <a:pt x="58" y="63"/>
                    </a:cubicBezTo>
                    <a:cubicBezTo>
                      <a:pt x="63" y="64"/>
                      <a:pt x="68" y="66"/>
                      <a:pt x="72" y="66"/>
                    </a:cubicBezTo>
                    <a:cubicBezTo>
                      <a:pt x="74" y="66"/>
                      <a:pt x="77" y="65"/>
                      <a:pt x="79" y="64"/>
                    </a:cubicBezTo>
                    <a:cubicBezTo>
                      <a:pt x="82" y="61"/>
                      <a:pt x="84" y="57"/>
                      <a:pt x="86" y="53"/>
                    </a:cubicBezTo>
                    <a:cubicBezTo>
                      <a:pt x="88" y="46"/>
                      <a:pt x="91" y="38"/>
                      <a:pt x="95" y="30"/>
                    </a:cubicBezTo>
                    <a:cubicBezTo>
                      <a:pt x="100" y="22"/>
                      <a:pt x="108" y="14"/>
                      <a:pt x="120" y="7"/>
                    </a:cubicBezTo>
                    <a:cubicBezTo>
                      <a:pt x="125" y="5"/>
                      <a:pt x="130" y="4"/>
                      <a:pt x="135" y="4"/>
                    </a:cubicBezTo>
                    <a:cubicBezTo>
                      <a:pt x="151" y="4"/>
                      <a:pt x="168" y="14"/>
                      <a:pt x="177" y="27"/>
                    </a:cubicBezTo>
                    <a:cubicBezTo>
                      <a:pt x="182" y="37"/>
                      <a:pt x="185" y="47"/>
                      <a:pt x="188" y="57"/>
                    </a:cubicBezTo>
                    <a:cubicBezTo>
                      <a:pt x="189" y="61"/>
                      <a:pt x="191" y="65"/>
                      <a:pt x="193" y="69"/>
                    </a:cubicBezTo>
                    <a:cubicBezTo>
                      <a:pt x="195" y="72"/>
                      <a:pt x="197" y="75"/>
                      <a:pt x="201" y="77"/>
                    </a:cubicBezTo>
                    <a:cubicBezTo>
                      <a:pt x="203" y="78"/>
                      <a:pt x="205" y="79"/>
                      <a:pt x="208" y="79"/>
                    </a:cubicBezTo>
                    <a:cubicBezTo>
                      <a:pt x="210" y="79"/>
                      <a:pt x="213" y="78"/>
                      <a:pt x="216" y="77"/>
                    </a:cubicBezTo>
                    <a:cubicBezTo>
                      <a:pt x="224" y="73"/>
                      <a:pt x="232" y="67"/>
                      <a:pt x="250" y="67"/>
                    </a:cubicBezTo>
                    <a:cubicBezTo>
                      <a:pt x="257" y="67"/>
                      <a:pt x="261" y="69"/>
                      <a:pt x="265" y="72"/>
                    </a:cubicBezTo>
                    <a:cubicBezTo>
                      <a:pt x="270" y="77"/>
                      <a:pt x="273" y="84"/>
                      <a:pt x="274" y="90"/>
                    </a:cubicBezTo>
                    <a:cubicBezTo>
                      <a:pt x="275" y="94"/>
                      <a:pt x="275" y="97"/>
                      <a:pt x="276" y="99"/>
                    </a:cubicBezTo>
                    <a:cubicBezTo>
                      <a:pt x="276" y="100"/>
                      <a:pt x="276" y="102"/>
                      <a:pt x="276" y="103"/>
                    </a:cubicBezTo>
                    <a:cubicBezTo>
                      <a:pt x="277" y="104"/>
                      <a:pt x="277" y="104"/>
                      <a:pt x="278" y="105"/>
                    </a:cubicBezTo>
                    <a:cubicBezTo>
                      <a:pt x="279" y="107"/>
                      <a:pt x="280" y="108"/>
                      <a:pt x="282" y="108"/>
                    </a:cubicBezTo>
                    <a:cubicBezTo>
                      <a:pt x="283" y="109"/>
                      <a:pt x="284" y="109"/>
                      <a:pt x="286" y="109"/>
                    </a:cubicBezTo>
                    <a:cubicBezTo>
                      <a:pt x="290" y="109"/>
                      <a:pt x="294" y="107"/>
                      <a:pt x="299" y="107"/>
                    </a:cubicBezTo>
                    <a:cubicBezTo>
                      <a:pt x="302" y="107"/>
                      <a:pt x="306" y="108"/>
                      <a:pt x="311" y="110"/>
                    </a:cubicBezTo>
                    <a:cubicBezTo>
                      <a:pt x="321" y="115"/>
                      <a:pt x="327" y="122"/>
                      <a:pt x="331" y="128"/>
                    </a:cubicBezTo>
                    <a:cubicBezTo>
                      <a:pt x="333" y="132"/>
                      <a:pt x="335" y="134"/>
                      <a:pt x="336" y="137"/>
                    </a:cubicBezTo>
                    <a:cubicBezTo>
                      <a:pt x="336" y="138"/>
                      <a:pt x="336" y="138"/>
                      <a:pt x="336" y="139"/>
                    </a:cubicBezTo>
                    <a:cubicBezTo>
                      <a:pt x="337" y="140"/>
                      <a:pt x="337" y="140"/>
                      <a:pt x="337" y="140"/>
                    </a:cubicBezTo>
                    <a:cubicBezTo>
                      <a:pt x="337" y="140"/>
                      <a:pt x="337" y="140"/>
                      <a:pt x="337" y="140"/>
                    </a:cubicBezTo>
                    <a:cubicBezTo>
                      <a:pt x="339" y="139"/>
                      <a:pt x="339" y="139"/>
                      <a:pt x="339" y="139"/>
                    </a:cubicBezTo>
                    <a:cubicBezTo>
                      <a:pt x="339" y="137"/>
                      <a:pt x="339" y="137"/>
                      <a:pt x="339" y="137"/>
                    </a:cubicBezTo>
                    <a:cubicBezTo>
                      <a:pt x="11" y="137"/>
                      <a:pt x="11" y="137"/>
                      <a:pt x="11" y="137"/>
                    </a:cubicBezTo>
                    <a:cubicBezTo>
                      <a:pt x="11" y="139"/>
                      <a:pt x="11" y="139"/>
                      <a:pt x="11" y="139"/>
                    </a:cubicBezTo>
                    <a:cubicBezTo>
                      <a:pt x="13" y="138"/>
                      <a:pt x="13" y="138"/>
                      <a:pt x="13" y="138"/>
                    </a:cubicBezTo>
                    <a:lnTo>
                      <a:pt x="11" y="139"/>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534" name="Freeform 12"/>
            <p:cNvSpPr>
              <a:spLocks noEditPoints="1"/>
            </p:cNvSpPr>
            <p:nvPr userDrawn="1"/>
          </p:nvSpPr>
          <p:spPr bwMode="auto">
            <a:xfrm>
              <a:off x="702426" y="1934181"/>
              <a:ext cx="6299612" cy="3055113"/>
            </a:xfrm>
            <a:custGeom>
              <a:avLst/>
              <a:gdLst>
                <a:gd name="T0" fmla="*/ 1394 w 2427"/>
                <a:gd name="T1" fmla="*/ 0 h 1178"/>
                <a:gd name="T2" fmla="*/ 1242 w 2427"/>
                <a:gd name="T3" fmla="*/ 4 h 1178"/>
                <a:gd name="T4" fmla="*/ 1122 w 2427"/>
                <a:gd name="T5" fmla="*/ 0 h 1178"/>
                <a:gd name="T6" fmla="*/ 990 w 2427"/>
                <a:gd name="T7" fmla="*/ 4 h 1178"/>
                <a:gd name="T8" fmla="*/ 886 w 2427"/>
                <a:gd name="T9" fmla="*/ 44 h 1178"/>
                <a:gd name="T10" fmla="*/ 832 w 2427"/>
                <a:gd name="T11" fmla="*/ 158 h 1178"/>
                <a:gd name="T12" fmla="*/ 895 w 2427"/>
                <a:gd name="T13" fmla="*/ 280 h 1178"/>
                <a:gd name="T14" fmla="*/ 1007 w 2427"/>
                <a:gd name="T15" fmla="*/ 316 h 1178"/>
                <a:gd name="T16" fmla="*/ 1135 w 2427"/>
                <a:gd name="T17" fmla="*/ 312 h 1178"/>
                <a:gd name="T18" fmla="*/ 1267 w 2427"/>
                <a:gd name="T19" fmla="*/ 312 h 1178"/>
                <a:gd name="T20" fmla="*/ 1395 w 2427"/>
                <a:gd name="T21" fmla="*/ 316 h 1178"/>
                <a:gd name="T22" fmla="*/ 1547 w 2427"/>
                <a:gd name="T23" fmla="*/ 312 h 1178"/>
                <a:gd name="T24" fmla="*/ 1667 w 2427"/>
                <a:gd name="T25" fmla="*/ 316 h 1178"/>
                <a:gd name="T26" fmla="*/ 1795 w 2427"/>
                <a:gd name="T27" fmla="*/ 312 h 1178"/>
                <a:gd name="T28" fmla="*/ 1927 w 2427"/>
                <a:gd name="T29" fmla="*/ 312 h 1178"/>
                <a:gd name="T30" fmla="*/ 2055 w 2427"/>
                <a:gd name="T31" fmla="*/ 316 h 1178"/>
                <a:gd name="T32" fmla="*/ 2207 w 2427"/>
                <a:gd name="T33" fmla="*/ 312 h 1178"/>
                <a:gd name="T34" fmla="*/ 2327 w 2427"/>
                <a:gd name="T35" fmla="*/ 316 h 1178"/>
                <a:gd name="T36" fmla="*/ 2413 w 2427"/>
                <a:gd name="T37" fmla="*/ 393 h 1178"/>
                <a:gd name="T38" fmla="*/ 2410 w 2427"/>
                <a:gd name="T39" fmla="*/ 497 h 1178"/>
                <a:gd name="T40" fmla="*/ 2309 w 2427"/>
                <a:gd name="T41" fmla="*/ 572 h 1178"/>
                <a:gd name="T42" fmla="*/ 2189 w 2427"/>
                <a:gd name="T43" fmla="*/ 572 h 1178"/>
                <a:gd name="T44" fmla="*/ 2061 w 2427"/>
                <a:gd name="T45" fmla="*/ 568 h 1178"/>
                <a:gd name="T46" fmla="*/ 1909 w 2427"/>
                <a:gd name="T47" fmla="*/ 572 h 1178"/>
                <a:gd name="T48" fmla="*/ 1789 w 2427"/>
                <a:gd name="T49" fmla="*/ 568 h 1178"/>
                <a:gd name="T50" fmla="*/ 1661 w 2427"/>
                <a:gd name="T51" fmla="*/ 572 h 1178"/>
                <a:gd name="T52" fmla="*/ 1529 w 2427"/>
                <a:gd name="T53" fmla="*/ 572 h 1178"/>
                <a:gd name="T54" fmla="*/ 1401 w 2427"/>
                <a:gd name="T55" fmla="*/ 568 h 1178"/>
                <a:gd name="T56" fmla="*/ 1249 w 2427"/>
                <a:gd name="T57" fmla="*/ 572 h 1178"/>
                <a:gd name="T58" fmla="*/ 1129 w 2427"/>
                <a:gd name="T59" fmla="*/ 568 h 1178"/>
                <a:gd name="T60" fmla="*/ 1001 w 2427"/>
                <a:gd name="T61" fmla="*/ 572 h 1178"/>
                <a:gd name="T62" fmla="*/ 869 w 2427"/>
                <a:gd name="T63" fmla="*/ 572 h 1178"/>
                <a:gd name="T64" fmla="*/ 741 w 2427"/>
                <a:gd name="T65" fmla="*/ 568 h 1178"/>
                <a:gd name="T66" fmla="*/ 589 w 2427"/>
                <a:gd name="T67" fmla="*/ 572 h 1178"/>
                <a:gd name="T68" fmla="*/ 469 w 2427"/>
                <a:gd name="T69" fmla="*/ 568 h 1178"/>
                <a:gd name="T70" fmla="*/ 341 w 2427"/>
                <a:gd name="T71" fmla="*/ 572 h 1178"/>
                <a:gd name="T72" fmla="*/ 209 w 2427"/>
                <a:gd name="T73" fmla="*/ 572 h 1178"/>
                <a:gd name="T74" fmla="*/ 85 w 2427"/>
                <a:gd name="T75" fmla="*/ 597 h 1178"/>
                <a:gd name="T76" fmla="*/ 7 w 2427"/>
                <a:gd name="T77" fmla="*/ 701 h 1178"/>
                <a:gd name="T78" fmla="*/ 14 w 2427"/>
                <a:gd name="T79" fmla="*/ 820 h 1178"/>
                <a:gd name="T80" fmla="*/ 102 w 2427"/>
                <a:gd name="T81" fmla="*/ 910 h 1178"/>
                <a:gd name="T82" fmla="*/ 217 w 2427"/>
                <a:gd name="T83" fmla="*/ 930 h 1178"/>
                <a:gd name="T84" fmla="*/ 349 w 2427"/>
                <a:gd name="T85" fmla="*/ 930 h 1178"/>
                <a:gd name="T86" fmla="*/ 477 w 2427"/>
                <a:gd name="T87" fmla="*/ 934 h 1178"/>
                <a:gd name="T88" fmla="*/ 629 w 2427"/>
                <a:gd name="T89" fmla="*/ 930 h 1178"/>
                <a:gd name="T90" fmla="*/ 749 w 2427"/>
                <a:gd name="T91" fmla="*/ 934 h 1178"/>
                <a:gd name="T92" fmla="*/ 877 w 2427"/>
                <a:gd name="T93" fmla="*/ 930 h 1178"/>
                <a:gd name="T94" fmla="*/ 1009 w 2427"/>
                <a:gd name="T95" fmla="*/ 930 h 1178"/>
                <a:gd name="T96" fmla="*/ 1137 w 2427"/>
                <a:gd name="T97" fmla="*/ 934 h 1178"/>
                <a:gd name="T98" fmla="*/ 1289 w 2427"/>
                <a:gd name="T99" fmla="*/ 930 h 1178"/>
                <a:gd name="T100" fmla="*/ 1409 w 2427"/>
                <a:gd name="T101" fmla="*/ 934 h 1178"/>
                <a:gd name="T102" fmla="*/ 1537 w 2427"/>
                <a:gd name="T103" fmla="*/ 930 h 1178"/>
                <a:gd name="T104" fmla="*/ 1669 w 2427"/>
                <a:gd name="T105" fmla="*/ 930 h 1178"/>
                <a:gd name="T106" fmla="*/ 1797 w 2427"/>
                <a:gd name="T107" fmla="*/ 934 h 1178"/>
                <a:gd name="T108" fmla="*/ 1949 w 2427"/>
                <a:gd name="T109" fmla="*/ 930 h 1178"/>
                <a:gd name="T110" fmla="*/ 2069 w 2427"/>
                <a:gd name="T111" fmla="*/ 934 h 1178"/>
                <a:gd name="T112" fmla="*/ 2197 w 2427"/>
                <a:gd name="T113" fmla="*/ 930 h 1178"/>
                <a:gd name="T114" fmla="*/ 2303 w 2427"/>
                <a:gd name="T115" fmla="*/ 961 h 1178"/>
                <a:gd name="T116" fmla="*/ 2340 w 2427"/>
                <a:gd name="T117" fmla="*/ 1090 h 1178"/>
                <a:gd name="T118" fmla="*/ 2267 w 2427"/>
                <a:gd name="T119" fmla="*/ 1165 h 1178"/>
                <a:gd name="T120" fmla="*/ 2137 w 2427"/>
                <a:gd name="T121" fmla="*/ 1174 h 1178"/>
                <a:gd name="T122" fmla="*/ 2009 w 2427"/>
                <a:gd name="T123" fmla="*/ 1178 h 1178"/>
                <a:gd name="T124" fmla="*/ 1877 w 2427"/>
                <a:gd name="T125" fmla="*/ 1178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7" h="1178">
                  <a:moveTo>
                    <a:pt x="1502" y="4"/>
                  </a:moveTo>
                  <a:cubicBezTo>
                    <a:pt x="1514" y="4"/>
                    <a:pt x="1514" y="4"/>
                    <a:pt x="1514" y="4"/>
                  </a:cubicBezTo>
                  <a:cubicBezTo>
                    <a:pt x="1514" y="0"/>
                    <a:pt x="1514" y="0"/>
                    <a:pt x="1514" y="0"/>
                  </a:cubicBezTo>
                  <a:cubicBezTo>
                    <a:pt x="1502" y="0"/>
                    <a:pt x="1502" y="0"/>
                    <a:pt x="1502" y="0"/>
                  </a:cubicBezTo>
                  <a:cubicBezTo>
                    <a:pt x="1502" y="4"/>
                    <a:pt x="1502" y="4"/>
                    <a:pt x="1502" y="4"/>
                  </a:cubicBezTo>
                  <a:moveTo>
                    <a:pt x="1482" y="4"/>
                  </a:moveTo>
                  <a:cubicBezTo>
                    <a:pt x="1494" y="4"/>
                    <a:pt x="1494" y="4"/>
                    <a:pt x="1494" y="4"/>
                  </a:cubicBezTo>
                  <a:cubicBezTo>
                    <a:pt x="1494" y="0"/>
                    <a:pt x="1494" y="0"/>
                    <a:pt x="1494" y="0"/>
                  </a:cubicBezTo>
                  <a:cubicBezTo>
                    <a:pt x="1482" y="0"/>
                    <a:pt x="1482" y="0"/>
                    <a:pt x="1482" y="0"/>
                  </a:cubicBezTo>
                  <a:cubicBezTo>
                    <a:pt x="1482" y="4"/>
                    <a:pt x="1482" y="4"/>
                    <a:pt x="1482" y="4"/>
                  </a:cubicBezTo>
                  <a:moveTo>
                    <a:pt x="1462" y="4"/>
                  </a:moveTo>
                  <a:cubicBezTo>
                    <a:pt x="1474" y="4"/>
                    <a:pt x="1474" y="4"/>
                    <a:pt x="1474" y="4"/>
                  </a:cubicBezTo>
                  <a:cubicBezTo>
                    <a:pt x="1474" y="0"/>
                    <a:pt x="1474" y="0"/>
                    <a:pt x="1474" y="0"/>
                  </a:cubicBezTo>
                  <a:cubicBezTo>
                    <a:pt x="1462" y="0"/>
                    <a:pt x="1462" y="0"/>
                    <a:pt x="1462" y="0"/>
                  </a:cubicBezTo>
                  <a:cubicBezTo>
                    <a:pt x="1462" y="4"/>
                    <a:pt x="1462" y="4"/>
                    <a:pt x="1462" y="4"/>
                  </a:cubicBezTo>
                  <a:moveTo>
                    <a:pt x="1442" y="4"/>
                  </a:moveTo>
                  <a:cubicBezTo>
                    <a:pt x="1454" y="4"/>
                    <a:pt x="1454" y="4"/>
                    <a:pt x="1454" y="4"/>
                  </a:cubicBezTo>
                  <a:cubicBezTo>
                    <a:pt x="1454" y="0"/>
                    <a:pt x="1454" y="0"/>
                    <a:pt x="1454" y="0"/>
                  </a:cubicBezTo>
                  <a:cubicBezTo>
                    <a:pt x="1442" y="0"/>
                    <a:pt x="1442" y="0"/>
                    <a:pt x="1442" y="0"/>
                  </a:cubicBezTo>
                  <a:cubicBezTo>
                    <a:pt x="1442" y="4"/>
                    <a:pt x="1442" y="4"/>
                    <a:pt x="1442" y="4"/>
                  </a:cubicBezTo>
                  <a:moveTo>
                    <a:pt x="1422" y="4"/>
                  </a:moveTo>
                  <a:cubicBezTo>
                    <a:pt x="1434" y="4"/>
                    <a:pt x="1434" y="4"/>
                    <a:pt x="1434" y="4"/>
                  </a:cubicBezTo>
                  <a:cubicBezTo>
                    <a:pt x="1434" y="0"/>
                    <a:pt x="1434" y="0"/>
                    <a:pt x="1434" y="0"/>
                  </a:cubicBezTo>
                  <a:cubicBezTo>
                    <a:pt x="1422" y="0"/>
                    <a:pt x="1422" y="0"/>
                    <a:pt x="1422" y="0"/>
                  </a:cubicBezTo>
                  <a:cubicBezTo>
                    <a:pt x="1422" y="4"/>
                    <a:pt x="1422" y="4"/>
                    <a:pt x="1422" y="4"/>
                  </a:cubicBezTo>
                  <a:moveTo>
                    <a:pt x="1402" y="4"/>
                  </a:moveTo>
                  <a:cubicBezTo>
                    <a:pt x="1414" y="4"/>
                    <a:pt x="1414" y="4"/>
                    <a:pt x="1414" y="4"/>
                  </a:cubicBezTo>
                  <a:cubicBezTo>
                    <a:pt x="1414" y="0"/>
                    <a:pt x="1414" y="0"/>
                    <a:pt x="1414" y="0"/>
                  </a:cubicBezTo>
                  <a:cubicBezTo>
                    <a:pt x="1402" y="0"/>
                    <a:pt x="1402" y="0"/>
                    <a:pt x="1402" y="0"/>
                  </a:cubicBezTo>
                  <a:cubicBezTo>
                    <a:pt x="1402" y="4"/>
                    <a:pt x="1402" y="4"/>
                    <a:pt x="1402" y="4"/>
                  </a:cubicBezTo>
                  <a:moveTo>
                    <a:pt x="1382" y="4"/>
                  </a:moveTo>
                  <a:cubicBezTo>
                    <a:pt x="1394" y="4"/>
                    <a:pt x="1394" y="4"/>
                    <a:pt x="1394" y="4"/>
                  </a:cubicBezTo>
                  <a:cubicBezTo>
                    <a:pt x="1394" y="0"/>
                    <a:pt x="1394" y="0"/>
                    <a:pt x="1394" y="0"/>
                  </a:cubicBezTo>
                  <a:cubicBezTo>
                    <a:pt x="1382" y="0"/>
                    <a:pt x="1382" y="0"/>
                    <a:pt x="1382" y="0"/>
                  </a:cubicBezTo>
                  <a:cubicBezTo>
                    <a:pt x="1382" y="4"/>
                    <a:pt x="1382" y="4"/>
                    <a:pt x="1382" y="4"/>
                  </a:cubicBezTo>
                  <a:moveTo>
                    <a:pt x="1362" y="4"/>
                  </a:moveTo>
                  <a:cubicBezTo>
                    <a:pt x="1374" y="4"/>
                    <a:pt x="1374" y="4"/>
                    <a:pt x="1374" y="4"/>
                  </a:cubicBezTo>
                  <a:cubicBezTo>
                    <a:pt x="1374" y="0"/>
                    <a:pt x="1374" y="0"/>
                    <a:pt x="1374" y="0"/>
                  </a:cubicBezTo>
                  <a:cubicBezTo>
                    <a:pt x="1362" y="0"/>
                    <a:pt x="1362" y="0"/>
                    <a:pt x="1362" y="0"/>
                  </a:cubicBezTo>
                  <a:cubicBezTo>
                    <a:pt x="1362" y="4"/>
                    <a:pt x="1362" y="4"/>
                    <a:pt x="1362" y="4"/>
                  </a:cubicBezTo>
                  <a:moveTo>
                    <a:pt x="1342" y="4"/>
                  </a:moveTo>
                  <a:cubicBezTo>
                    <a:pt x="1354" y="4"/>
                    <a:pt x="1354" y="4"/>
                    <a:pt x="1354" y="4"/>
                  </a:cubicBezTo>
                  <a:cubicBezTo>
                    <a:pt x="1354" y="0"/>
                    <a:pt x="1354" y="0"/>
                    <a:pt x="1354" y="0"/>
                  </a:cubicBezTo>
                  <a:cubicBezTo>
                    <a:pt x="1342" y="0"/>
                    <a:pt x="1342" y="0"/>
                    <a:pt x="1342" y="0"/>
                  </a:cubicBezTo>
                  <a:cubicBezTo>
                    <a:pt x="1342" y="4"/>
                    <a:pt x="1342" y="4"/>
                    <a:pt x="1342" y="4"/>
                  </a:cubicBezTo>
                  <a:moveTo>
                    <a:pt x="1322" y="4"/>
                  </a:moveTo>
                  <a:cubicBezTo>
                    <a:pt x="1334" y="4"/>
                    <a:pt x="1334" y="4"/>
                    <a:pt x="1334" y="4"/>
                  </a:cubicBezTo>
                  <a:cubicBezTo>
                    <a:pt x="1334" y="0"/>
                    <a:pt x="1334" y="0"/>
                    <a:pt x="1334" y="0"/>
                  </a:cubicBezTo>
                  <a:cubicBezTo>
                    <a:pt x="1322" y="0"/>
                    <a:pt x="1322" y="0"/>
                    <a:pt x="1322" y="0"/>
                  </a:cubicBezTo>
                  <a:cubicBezTo>
                    <a:pt x="1322" y="4"/>
                    <a:pt x="1322" y="4"/>
                    <a:pt x="1322" y="4"/>
                  </a:cubicBezTo>
                  <a:moveTo>
                    <a:pt x="1302" y="4"/>
                  </a:moveTo>
                  <a:cubicBezTo>
                    <a:pt x="1314" y="4"/>
                    <a:pt x="1314" y="4"/>
                    <a:pt x="1314" y="4"/>
                  </a:cubicBezTo>
                  <a:cubicBezTo>
                    <a:pt x="1314" y="0"/>
                    <a:pt x="1314" y="0"/>
                    <a:pt x="1314" y="0"/>
                  </a:cubicBezTo>
                  <a:cubicBezTo>
                    <a:pt x="1302" y="0"/>
                    <a:pt x="1302" y="0"/>
                    <a:pt x="1302" y="0"/>
                  </a:cubicBezTo>
                  <a:cubicBezTo>
                    <a:pt x="1302" y="4"/>
                    <a:pt x="1302" y="4"/>
                    <a:pt x="1302" y="4"/>
                  </a:cubicBezTo>
                  <a:moveTo>
                    <a:pt x="1282" y="4"/>
                  </a:moveTo>
                  <a:cubicBezTo>
                    <a:pt x="1294" y="4"/>
                    <a:pt x="1294" y="4"/>
                    <a:pt x="1294" y="4"/>
                  </a:cubicBezTo>
                  <a:cubicBezTo>
                    <a:pt x="1294" y="0"/>
                    <a:pt x="1294" y="0"/>
                    <a:pt x="1294" y="0"/>
                  </a:cubicBezTo>
                  <a:cubicBezTo>
                    <a:pt x="1282" y="0"/>
                    <a:pt x="1282" y="0"/>
                    <a:pt x="1282" y="0"/>
                  </a:cubicBezTo>
                  <a:cubicBezTo>
                    <a:pt x="1282" y="4"/>
                    <a:pt x="1282" y="4"/>
                    <a:pt x="1282" y="4"/>
                  </a:cubicBezTo>
                  <a:moveTo>
                    <a:pt x="1262" y="4"/>
                  </a:moveTo>
                  <a:cubicBezTo>
                    <a:pt x="1274" y="4"/>
                    <a:pt x="1274" y="4"/>
                    <a:pt x="1274" y="4"/>
                  </a:cubicBezTo>
                  <a:cubicBezTo>
                    <a:pt x="1274" y="0"/>
                    <a:pt x="1274" y="0"/>
                    <a:pt x="1274" y="0"/>
                  </a:cubicBezTo>
                  <a:cubicBezTo>
                    <a:pt x="1262" y="0"/>
                    <a:pt x="1262" y="0"/>
                    <a:pt x="1262" y="0"/>
                  </a:cubicBezTo>
                  <a:cubicBezTo>
                    <a:pt x="1262" y="4"/>
                    <a:pt x="1262" y="4"/>
                    <a:pt x="1262" y="4"/>
                  </a:cubicBezTo>
                  <a:moveTo>
                    <a:pt x="1242" y="4"/>
                  </a:moveTo>
                  <a:cubicBezTo>
                    <a:pt x="1254" y="4"/>
                    <a:pt x="1254" y="4"/>
                    <a:pt x="1254" y="4"/>
                  </a:cubicBezTo>
                  <a:cubicBezTo>
                    <a:pt x="1254" y="0"/>
                    <a:pt x="1254" y="0"/>
                    <a:pt x="1254" y="0"/>
                  </a:cubicBezTo>
                  <a:cubicBezTo>
                    <a:pt x="1242" y="0"/>
                    <a:pt x="1242" y="0"/>
                    <a:pt x="1242" y="0"/>
                  </a:cubicBezTo>
                  <a:cubicBezTo>
                    <a:pt x="1242" y="4"/>
                    <a:pt x="1242" y="4"/>
                    <a:pt x="1242" y="4"/>
                  </a:cubicBezTo>
                  <a:moveTo>
                    <a:pt x="1222" y="4"/>
                  </a:moveTo>
                  <a:cubicBezTo>
                    <a:pt x="1234" y="4"/>
                    <a:pt x="1234" y="4"/>
                    <a:pt x="1234" y="4"/>
                  </a:cubicBezTo>
                  <a:cubicBezTo>
                    <a:pt x="1234" y="0"/>
                    <a:pt x="1234" y="0"/>
                    <a:pt x="1234" y="0"/>
                  </a:cubicBezTo>
                  <a:cubicBezTo>
                    <a:pt x="1222" y="0"/>
                    <a:pt x="1222" y="0"/>
                    <a:pt x="1222" y="0"/>
                  </a:cubicBezTo>
                  <a:cubicBezTo>
                    <a:pt x="1222" y="4"/>
                    <a:pt x="1222" y="4"/>
                    <a:pt x="1222" y="4"/>
                  </a:cubicBezTo>
                  <a:moveTo>
                    <a:pt x="1202" y="4"/>
                  </a:moveTo>
                  <a:cubicBezTo>
                    <a:pt x="1214" y="4"/>
                    <a:pt x="1214" y="4"/>
                    <a:pt x="1214" y="4"/>
                  </a:cubicBezTo>
                  <a:cubicBezTo>
                    <a:pt x="1214" y="0"/>
                    <a:pt x="1214" y="0"/>
                    <a:pt x="1214" y="0"/>
                  </a:cubicBezTo>
                  <a:cubicBezTo>
                    <a:pt x="1202" y="0"/>
                    <a:pt x="1202" y="0"/>
                    <a:pt x="1202" y="0"/>
                  </a:cubicBezTo>
                  <a:cubicBezTo>
                    <a:pt x="1202" y="4"/>
                    <a:pt x="1202" y="4"/>
                    <a:pt x="1202" y="4"/>
                  </a:cubicBezTo>
                  <a:moveTo>
                    <a:pt x="1182" y="4"/>
                  </a:moveTo>
                  <a:cubicBezTo>
                    <a:pt x="1194" y="4"/>
                    <a:pt x="1194" y="4"/>
                    <a:pt x="1194" y="4"/>
                  </a:cubicBezTo>
                  <a:cubicBezTo>
                    <a:pt x="1194" y="0"/>
                    <a:pt x="1194" y="0"/>
                    <a:pt x="1194" y="0"/>
                  </a:cubicBezTo>
                  <a:cubicBezTo>
                    <a:pt x="1182" y="0"/>
                    <a:pt x="1182" y="0"/>
                    <a:pt x="1182" y="0"/>
                  </a:cubicBezTo>
                  <a:cubicBezTo>
                    <a:pt x="1182" y="4"/>
                    <a:pt x="1182" y="4"/>
                    <a:pt x="1182" y="4"/>
                  </a:cubicBezTo>
                  <a:moveTo>
                    <a:pt x="1162" y="4"/>
                  </a:moveTo>
                  <a:cubicBezTo>
                    <a:pt x="1174" y="4"/>
                    <a:pt x="1174" y="4"/>
                    <a:pt x="1174" y="4"/>
                  </a:cubicBezTo>
                  <a:cubicBezTo>
                    <a:pt x="1174" y="0"/>
                    <a:pt x="1174" y="0"/>
                    <a:pt x="1174" y="0"/>
                  </a:cubicBezTo>
                  <a:cubicBezTo>
                    <a:pt x="1162" y="0"/>
                    <a:pt x="1162" y="0"/>
                    <a:pt x="1162" y="0"/>
                  </a:cubicBezTo>
                  <a:cubicBezTo>
                    <a:pt x="1162" y="4"/>
                    <a:pt x="1162" y="4"/>
                    <a:pt x="1162" y="4"/>
                  </a:cubicBezTo>
                  <a:moveTo>
                    <a:pt x="1142" y="4"/>
                  </a:moveTo>
                  <a:cubicBezTo>
                    <a:pt x="1154" y="4"/>
                    <a:pt x="1154" y="4"/>
                    <a:pt x="1154" y="4"/>
                  </a:cubicBezTo>
                  <a:cubicBezTo>
                    <a:pt x="1154" y="0"/>
                    <a:pt x="1154" y="0"/>
                    <a:pt x="1154" y="0"/>
                  </a:cubicBezTo>
                  <a:cubicBezTo>
                    <a:pt x="1142" y="0"/>
                    <a:pt x="1142" y="0"/>
                    <a:pt x="1142" y="0"/>
                  </a:cubicBezTo>
                  <a:cubicBezTo>
                    <a:pt x="1142" y="4"/>
                    <a:pt x="1142" y="4"/>
                    <a:pt x="1142" y="4"/>
                  </a:cubicBezTo>
                  <a:moveTo>
                    <a:pt x="1122" y="4"/>
                  </a:moveTo>
                  <a:cubicBezTo>
                    <a:pt x="1134" y="4"/>
                    <a:pt x="1134" y="4"/>
                    <a:pt x="1134" y="4"/>
                  </a:cubicBezTo>
                  <a:cubicBezTo>
                    <a:pt x="1134" y="0"/>
                    <a:pt x="1134" y="0"/>
                    <a:pt x="1134" y="0"/>
                  </a:cubicBezTo>
                  <a:cubicBezTo>
                    <a:pt x="1122" y="0"/>
                    <a:pt x="1122" y="0"/>
                    <a:pt x="1122" y="0"/>
                  </a:cubicBezTo>
                  <a:cubicBezTo>
                    <a:pt x="1122" y="4"/>
                    <a:pt x="1122" y="4"/>
                    <a:pt x="1122" y="4"/>
                  </a:cubicBezTo>
                  <a:moveTo>
                    <a:pt x="1102" y="4"/>
                  </a:moveTo>
                  <a:cubicBezTo>
                    <a:pt x="1114" y="4"/>
                    <a:pt x="1114" y="4"/>
                    <a:pt x="1114" y="4"/>
                  </a:cubicBezTo>
                  <a:cubicBezTo>
                    <a:pt x="1114" y="0"/>
                    <a:pt x="1114" y="0"/>
                    <a:pt x="1114" y="0"/>
                  </a:cubicBezTo>
                  <a:cubicBezTo>
                    <a:pt x="1102" y="0"/>
                    <a:pt x="1102" y="0"/>
                    <a:pt x="1102" y="0"/>
                  </a:cubicBezTo>
                  <a:cubicBezTo>
                    <a:pt x="1102" y="4"/>
                    <a:pt x="1102" y="4"/>
                    <a:pt x="1102" y="4"/>
                  </a:cubicBezTo>
                  <a:moveTo>
                    <a:pt x="1082" y="4"/>
                  </a:moveTo>
                  <a:cubicBezTo>
                    <a:pt x="1094" y="4"/>
                    <a:pt x="1094" y="4"/>
                    <a:pt x="1094" y="4"/>
                  </a:cubicBezTo>
                  <a:cubicBezTo>
                    <a:pt x="1094" y="0"/>
                    <a:pt x="1094" y="0"/>
                    <a:pt x="1094" y="0"/>
                  </a:cubicBezTo>
                  <a:cubicBezTo>
                    <a:pt x="1082" y="0"/>
                    <a:pt x="1082" y="0"/>
                    <a:pt x="1082" y="0"/>
                  </a:cubicBezTo>
                  <a:cubicBezTo>
                    <a:pt x="1082" y="4"/>
                    <a:pt x="1082" y="4"/>
                    <a:pt x="1082" y="4"/>
                  </a:cubicBezTo>
                  <a:moveTo>
                    <a:pt x="1062" y="4"/>
                  </a:moveTo>
                  <a:cubicBezTo>
                    <a:pt x="1074" y="4"/>
                    <a:pt x="1074" y="4"/>
                    <a:pt x="1074" y="4"/>
                  </a:cubicBezTo>
                  <a:cubicBezTo>
                    <a:pt x="1074" y="0"/>
                    <a:pt x="1074" y="0"/>
                    <a:pt x="1074" y="0"/>
                  </a:cubicBezTo>
                  <a:cubicBezTo>
                    <a:pt x="1062" y="0"/>
                    <a:pt x="1062" y="0"/>
                    <a:pt x="1062" y="0"/>
                  </a:cubicBezTo>
                  <a:cubicBezTo>
                    <a:pt x="1062" y="4"/>
                    <a:pt x="1062" y="4"/>
                    <a:pt x="1062" y="4"/>
                  </a:cubicBezTo>
                  <a:moveTo>
                    <a:pt x="1042" y="4"/>
                  </a:moveTo>
                  <a:cubicBezTo>
                    <a:pt x="1054" y="4"/>
                    <a:pt x="1054" y="4"/>
                    <a:pt x="1054" y="4"/>
                  </a:cubicBezTo>
                  <a:cubicBezTo>
                    <a:pt x="1054" y="0"/>
                    <a:pt x="1054" y="0"/>
                    <a:pt x="1054" y="0"/>
                  </a:cubicBezTo>
                  <a:cubicBezTo>
                    <a:pt x="1042" y="0"/>
                    <a:pt x="1042" y="0"/>
                    <a:pt x="1042" y="0"/>
                  </a:cubicBezTo>
                  <a:cubicBezTo>
                    <a:pt x="1042" y="4"/>
                    <a:pt x="1042" y="4"/>
                    <a:pt x="1042" y="4"/>
                  </a:cubicBezTo>
                  <a:moveTo>
                    <a:pt x="1022" y="4"/>
                  </a:moveTo>
                  <a:cubicBezTo>
                    <a:pt x="1034" y="4"/>
                    <a:pt x="1034" y="4"/>
                    <a:pt x="1034" y="4"/>
                  </a:cubicBezTo>
                  <a:cubicBezTo>
                    <a:pt x="1034" y="0"/>
                    <a:pt x="1034" y="0"/>
                    <a:pt x="1034" y="0"/>
                  </a:cubicBezTo>
                  <a:cubicBezTo>
                    <a:pt x="1022" y="0"/>
                    <a:pt x="1022" y="0"/>
                    <a:pt x="1022" y="0"/>
                  </a:cubicBezTo>
                  <a:cubicBezTo>
                    <a:pt x="1022" y="4"/>
                    <a:pt x="1022" y="4"/>
                    <a:pt x="1022" y="4"/>
                  </a:cubicBezTo>
                  <a:moveTo>
                    <a:pt x="1002" y="4"/>
                  </a:moveTo>
                  <a:cubicBezTo>
                    <a:pt x="1014" y="4"/>
                    <a:pt x="1014" y="4"/>
                    <a:pt x="1014" y="4"/>
                  </a:cubicBezTo>
                  <a:cubicBezTo>
                    <a:pt x="1014" y="0"/>
                    <a:pt x="1014" y="0"/>
                    <a:pt x="1014" y="0"/>
                  </a:cubicBezTo>
                  <a:cubicBezTo>
                    <a:pt x="1002" y="0"/>
                    <a:pt x="1002" y="0"/>
                    <a:pt x="1002" y="0"/>
                  </a:cubicBezTo>
                  <a:cubicBezTo>
                    <a:pt x="1002" y="4"/>
                    <a:pt x="1002" y="4"/>
                    <a:pt x="1002" y="4"/>
                  </a:cubicBezTo>
                  <a:moveTo>
                    <a:pt x="983" y="5"/>
                  </a:moveTo>
                  <a:cubicBezTo>
                    <a:pt x="985" y="5"/>
                    <a:pt x="987" y="4"/>
                    <a:pt x="990" y="4"/>
                  </a:cubicBezTo>
                  <a:cubicBezTo>
                    <a:pt x="994" y="4"/>
                    <a:pt x="994" y="4"/>
                    <a:pt x="994" y="4"/>
                  </a:cubicBezTo>
                  <a:cubicBezTo>
                    <a:pt x="994" y="0"/>
                    <a:pt x="994" y="0"/>
                    <a:pt x="994" y="0"/>
                  </a:cubicBezTo>
                  <a:cubicBezTo>
                    <a:pt x="990" y="0"/>
                    <a:pt x="990" y="0"/>
                    <a:pt x="990" y="0"/>
                  </a:cubicBezTo>
                  <a:cubicBezTo>
                    <a:pt x="987" y="0"/>
                    <a:pt x="985" y="1"/>
                    <a:pt x="982" y="1"/>
                  </a:cubicBezTo>
                  <a:cubicBezTo>
                    <a:pt x="983" y="5"/>
                    <a:pt x="983" y="5"/>
                    <a:pt x="983" y="5"/>
                  </a:cubicBezTo>
                  <a:moveTo>
                    <a:pt x="963" y="7"/>
                  </a:moveTo>
                  <a:cubicBezTo>
                    <a:pt x="967" y="6"/>
                    <a:pt x="971" y="6"/>
                    <a:pt x="975" y="5"/>
                  </a:cubicBezTo>
                  <a:cubicBezTo>
                    <a:pt x="974" y="1"/>
                    <a:pt x="974" y="1"/>
                    <a:pt x="974" y="1"/>
                  </a:cubicBezTo>
                  <a:cubicBezTo>
                    <a:pt x="970" y="2"/>
                    <a:pt x="966" y="2"/>
                    <a:pt x="962" y="3"/>
                  </a:cubicBezTo>
                  <a:cubicBezTo>
                    <a:pt x="963" y="7"/>
                    <a:pt x="963" y="7"/>
                    <a:pt x="963" y="7"/>
                  </a:cubicBezTo>
                  <a:moveTo>
                    <a:pt x="944" y="11"/>
                  </a:moveTo>
                  <a:cubicBezTo>
                    <a:pt x="948" y="10"/>
                    <a:pt x="951" y="9"/>
                    <a:pt x="955" y="8"/>
                  </a:cubicBezTo>
                  <a:cubicBezTo>
                    <a:pt x="954" y="4"/>
                    <a:pt x="954" y="4"/>
                    <a:pt x="954" y="4"/>
                  </a:cubicBezTo>
                  <a:cubicBezTo>
                    <a:pt x="950" y="5"/>
                    <a:pt x="946" y="6"/>
                    <a:pt x="943" y="8"/>
                  </a:cubicBezTo>
                  <a:cubicBezTo>
                    <a:pt x="944" y="11"/>
                    <a:pt x="944" y="11"/>
                    <a:pt x="944" y="11"/>
                  </a:cubicBezTo>
                  <a:cubicBezTo>
                    <a:pt x="944" y="11"/>
                    <a:pt x="944" y="11"/>
                    <a:pt x="944" y="11"/>
                  </a:cubicBezTo>
                  <a:moveTo>
                    <a:pt x="925" y="18"/>
                  </a:moveTo>
                  <a:cubicBezTo>
                    <a:pt x="929" y="17"/>
                    <a:pt x="933" y="15"/>
                    <a:pt x="936" y="14"/>
                  </a:cubicBezTo>
                  <a:cubicBezTo>
                    <a:pt x="935" y="10"/>
                    <a:pt x="935" y="10"/>
                    <a:pt x="935" y="10"/>
                  </a:cubicBezTo>
                  <a:cubicBezTo>
                    <a:pt x="931" y="12"/>
                    <a:pt x="927" y="13"/>
                    <a:pt x="924" y="15"/>
                  </a:cubicBezTo>
                  <a:cubicBezTo>
                    <a:pt x="925" y="18"/>
                    <a:pt x="925" y="18"/>
                    <a:pt x="925" y="18"/>
                  </a:cubicBezTo>
                  <a:moveTo>
                    <a:pt x="908" y="28"/>
                  </a:moveTo>
                  <a:cubicBezTo>
                    <a:pt x="911" y="26"/>
                    <a:pt x="915" y="24"/>
                    <a:pt x="918" y="22"/>
                  </a:cubicBezTo>
                  <a:cubicBezTo>
                    <a:pt x="916" y="18"/>
                    <a:pt x="916" y="18"/>
                    <a:pt x="916" y="18"/>
                  </a:cubicBezTo>
                  <a:cubicBezTo>
                    <a:pt x="913" y="20"/>
                    <a:pt x="909" y="22"/>
                    <a:pt x="906" y="24"/>
                  </a:cubicBezTo>
                  <a:cubicBezTo>
                    <a:pt x="908" y="28"/>
                    <a:pt x="908" y="28"/>
                    <a:pt x="908" y="28"/>
                  </a:cubicBezTo>
                  <a:moveTo>
                    <a:pt x="892" y="39"/>
                  </a:moveTo>
                  <a:cubicBezTo>
                    <a:pt x="895" y="37"/>
                    <a:pt x="898" y="34"/>
                    <a:pt x="901" y="32"/>
                  </a:cubicBezTo>
                  <a:cubicBezTo>
                    <a:pt x="899" y="29"/>
                    <a:pt x="899" y="29"/>
                    <a:pt x="899" y="29"/>
                  </a:cubicBezTo>
                  <a:cubicBezTo>
                    <a:pt x="896" y="31"/>
                    <a:pt x="893" y="34"/>
                    <a:pt x="889" y="36"/>
                  </a:cubicBezTo>
                  <a:cubicBezTo>
                    <a:pt x="892" y="39"/>
                    <a:pt x="892" y="39"/>
                    <a:pt x="892" y="39"/>
                  </a:cubicBezTo>
                  <a:moveTo>
                    <a:pt x="878" y="53"/>
                  </a:moveTo>
                  <a:cubicBezTo>
                    <a:pt x="880" y="50"/>
                    <a:pt x="883" y="47"/>
                    <a:pt x="886" y="44"/>
                  </a:cubicBezTo>
                  <a:cubicBezTo>
                    <a:pt x="883" y="42"/>
                    <a:pt x="883" y="42"/>
                    <a:pt x="883" y="42"/>
                  </a:cubicBezTo>
                  <a:cubicBezTo>
                    <a:pt x="880" y="44"/>
                    <a:pt x="877" y="47"/>
                    <a:pt x="875" y="50"/>
                  </a:cubicBezTo>
                  <a:cubicBezTo>
                    <a:pt x="878" y="53"/>
                    <a:pt x="878" y="53"/>
                    <a:pt x="878" y="53"/>
                  </a:cubicBezTo>
                  <a:moveTo>
                    <a:pt x="865" y="68"/>
                  </a:moveTo>
                  <a:cubicBezTo>
                    <a:pt x="867" y="65"/>
                    <a:pt x="870" y="62"/>
                    <a:pt x="872" y="59"/>
                  </a:cubicBezTo>
                  <a:cubicBezTo>
                    <a:pt x="869" y="56"/>
                    <a:pt x="869" y="56"/>
                    <a:pt x="869" y="56"/>
                  </a:cubicBezTo>
                  <a:cubicBezTo>
                    <a:pt x="867" y="59"/>
                    <a:pt x="864" y="62"/>
                    <a:pt x="862" y="66"/>
                  </a:cubicBezTo>
                  <a:cubicBezTo>
                    <a:pt x="865" y="68"/>
                    <a:pt x="865" y="68"/>
                    <a:pt x="865" y="68"/>
                  </a:cubicBezTo>
                  <a:moveTo>
                    <a:pt x="854" y="85"/>
                  </a:moveTo>
                  <a:cubicBezTo>
                    <a:pt x="856" y="81"/>
                    <a:pt x="858" y="78"/>
                    <a:pt x="861" y="74"/>
                  </a:cubicBezTo>
                  <a:cubicBezTo>
                    <a:pt x="857" y="72"/>
                    <a:pt x="857" y="72"/>
                    <a:pt x="857" y="72"/>
                  </a:cubicBezTo>
                  <a:cubicBezTo>
                    <a:pt x="855" y="76"/>
                    <a:pt x="853" y="79"/>
                    <a:pt x="851" y="83"/>
                  </a:cubicBezTo>
                  <a:cubicBezTo>
                    <a:pt x="854" y="85"/>
                    <a:pt x="854" y="85"/>
                    <a:pt x="854" y="85"/>
                  </a:cubicBezTo>
                  <a:moveTo>
                    <a:pt x="846" y="103"/>
                  </a:moveTo>
                  <a:cubicBezTo>
                    <a:pt x="848" y="99"/>
                    <a:pt x="849" y="95"/>
                    <a:pt x="851" y="92"/>
                  </a:cubicBezTo>
                  <a:cubicBezTo>
                    <a:pt x="847" y="90"/>
                    <a:pt x="847" y="90"/>
                    <a:pt x="847" y="90"/>
                  </a:cubicBezTo>
                  <a:cubicBezTo>
                    <a:pt x="845" y="94"/>
                    <a:pt x="844" y="97"/>
                    <a:pt x="842" y="101"/>
                  </a:cubicBezTo>
                  <a:cubicBezTo>
                    <a:pt x="846" y="103"/>
                    <a:pt x="846" y="103"/>
                    <a:pt x="846" y="103"/>
                  </a:cubicBezTo>
                  <a:moveTo>
                    <a:pt x="840" y="121"/>
                  </a:moveTo>
                  <a:cubicBezTo>
                    <a:pt x="841" y="118"/>
                    <a:pt x="842" y="114"/>
                    <a:pt x="843" y="110"/>
                  </a:cubicBezTo>
                  <a:cubicBezTo>
                    <a:pt x="840" y="109"/>
                    <a:pt x="840" y="109"/>
                    <a:pt x="840" y="109"/>
                  </a:cubicBezTo>
                  <a:cubicBezTo>
                    <a:pt x="838" y="113"/>
                    <a:pt x="837" y="116"/>
                    <a:pt x="836" y="120"/>
                  </a:cubicBezTo>
                  <a:cubicBezTo>
                    <a:pt x="840" y="121"/>
                    <a:pt x="840" y="121"/>
                    <a:pt x="840" y="121"/>
                  </a:cubicBezTo>
                  <a:moveTo>
                    <a:pt x="837" y="141"/>
                  </a:moveTo>
                  <a:cubicBezTo>
                    <a:pt x="837" y="137"/>
                    <a:pt x="838" y="133"/>
                    <a:pt x="838" y="129"/>
                  </a:cubicBezTo>
                  <a:cubicBezTo>
                    <a:pt x="835" y="128"/>
                    <a:pt x="835" y="128"/>
                    <a:pt x="835" y="128"/>
                  </a:cubicBezTo>
                  <a:cubicBezTo>
                    <a:pt x="834" y="132"/>
                    <a:pt x="833" y="136"/>
                    <a:pt x="833" y="140"/>
                  </a:cubicBezTo>
                  <a:cubicBezTo>
                    <a:pt x="837" y="141"/>
                    <a:pt x="837" y="141"/>
                    <a:pt x="837" y="141"/>
                  </a:cubicBezTo>
                  <a:moveTo>
                    <a:pt x="836" y="160"/>
                  </a:moveTo>
                  <a:cubicBezTo>
                    <a:pt x="836" y="160"/>
                    <a:pt x="836" y="159"/>
                    <a:pt x="836" y="158"/>
                  </a:cubicBezTo>
                  <a:cubicBezTo>
                    <a:pt x="836" y="155"/>
                    <a:pt x="836" y="152"/>
                    <a:pt x="836" y="149"/>
                  </a:cubicBezTo>
                  <a:cubicBezTo>
                    <a:pt x="832" y="148"/>
                    <a:pt x="832" y="148"/>
                    <a:pt x="832" y="148"/>
                  </a:cubicBezTo>
                  <a:cubicBezTo>
                    <a:pt x="832" y="152"/>
                    <a:pt x="832" y="155"/>
                    <a:pt x="832" y="158"/>
                  </a:cubicBezTo>
                  <a:cubicBezTo>
                    <a:pt x="832" y="159"/>
                    <a:pt x="832" y="160"/>
                    <a:pt x="832" y="161"/>
                  </a:cubicBezTo>
                  <a:cubicBezTo>
                    <a:pt x="836" y="160"/>
                    <a:pt x="836" y="160"/>
                    <a:pt x="836" y="160"/>
                  </a:cubicBezTo>
                  <a:moveTo>
                    <a:pt x="837" y="180"/>
                  </a:moveTo>
                  <a:cubicBezTo>
                    <a:pt x="837" y="176"/>
                    <a:pt x="836" y="172"/>
                    <a:pt x="836" y="168"/>
                  </a:cubicBezTo>
                  <a:cubicBezTo>
                    <a:pt x="832" y="169"/>
                    <a:pt x="832" y="169"/>
                    <a:pt x="832" y="169"/>
                  </a:cubicBezTo>
                  <a:cubicBezTo>
                    <a:pt x="832" y="173"/>
                    <a:pt x="833" y="177"/>
                    <a:pt x="833" y="181"/>
                  </a:cubicBezTo>
                  <a:cubicBezTo>
                    <a:pt x="837" y="180"/>
                    <a:pt x="837" y="180"/>
                    <a:pt x="837" y="180"/>
                  </a:cubicBezTo>
                  <a:moveTo>
                    <a:pt x="841" y="199"/>
                  </a:moveTo>
                  <a:cubicBezTo>
                    <a:pt x="840" y="196"/>
                    <a:pt x="839" y="192"/>
                    <a:pt x="839" y="188"/>
                  </a:cubicBezTo>
                  <a:cubicBezTo>
                    <a:pt x="835" y="189"/>
                    <a:pt x="835" y="189"/>
                    <a:pt x="835" y="189"/>
                  </a:cubicBezTo>
                  <a:cubicBezTo>
                    <a:pt x="835" y="193"/>
                    <a:pt x="836" y="197"/>
                    <a:pt x="837" y="201"/>
                  </a:cubicBezTo>
                  <a:cubicBezTo>
                    <a:pt x="841" y="199"/>
                    <a:pt x="841" y="199"/>
                    <a:pt x="841" y="199"/>
                  </a:cubicBezTo>
                  <a:moveTo>
                    <a:pt x="848" y="218"/>
                  </a:moveTo>
                  <a:cubicBezTo>
                    <a:pt x="846" y="214"/>
                    <a:pt x="845" y="211"/>
                    <a:pt x="844" y="207"/>
                  </a:cubicBezTo>
                  <a:cubicBezTo>
                    <a:pt x="840" y="208"/>
                    <a:pt x="840" y="208"/>
                    <a:pt x="840" y="208"/>
                  </a:cubicBezTo>
                  <a:cubicBezTo>
                    <a:pt x="841" y="212"/>
                    <a:pt x="842" y="216"/>
                    <a:pt x="844" y="220"/>
                  </a:cubicBezTo>
                  <a:cubicBezTo>
                    <a:pt x="848" y="218"/>
                    <a:pt x="848" y="218"/>
                    <a:pt x="848" y="218"/>
                  </a:cubicBezTo>
                  <a:moveTo>
                    <a:pt x="857" y="236"/>
                  </a:moveTo>
                  <a:cubicBezTo>
                    <a:pt x="855" y="232"/>
                    <a:pt x="853" y="229"/>
                    <a:pt x="851" y="225"/>
                  </a:cubicBezTo>
                  <a:cubicBezTo>
                    <a:pt x="847" y="227"/>
                    <a:pt x="847" y="227"/>
                    <a:pt x="847" y="227"/>
                  </a:cubicBezTo>
                  <a:cubicBezTo>
                    <a:pt x="849" y="231"/>
                    <a:pt x="851" y="234"/>
                    <a:pt x="853" y="238"/>
                  </a:cubicBezTo>
                  <a:cubicBezTo>
                    <a:pt x="857" y="236"/>
                    <a:pt x="857" y="236"/>
                    <a:pt x="857" y="236"/>
                  </a:cubicBezTo>
                  <a:moveTo>
                    <a:pt x="868" y="252"/>
                  </a:moveTo>
                  <a:cubicBezTo>
                    <a:pt x="865" y="249"/>
                    <a:pt x="863" y="246"/>
                    <a:pt x="861" y="242"/>
                  </a:cubicBezTo>
                  <a:cubicBezTo>
                    <a:pt x="857" y="245"/>
                    <a:pt x="857" y="245"/>
                    <a:pt x="857" y="245"/>
                  </a:cubicBezTo>
                  <a:cubicBezTo>
                    <a:pt x="860" y="248"/>
                    <a:pt x="862" y="251"/>
                    <a:pt x="864" y="254"/>
                  </a:cubicBezTo>
                  <a:cubicBezTo>
                    <a:pt x="868" y="252"/>
                    <a:pt x="868" y="252"/>
                    <a:pt x="868" y="252"/>
                  </a:cubicBezTo>
                  <a:moveTo>
                    <a:pt x="881" y="267"/>
                  </a:moveTo>
                  <a:cubicBezTo>
                    <a:pt x="878" y="264"/>
                    <a:pt x="875" y="261"/>
                    <a:pt x="873" y="258"/>
                  </a:cubicBezTo>
                  <a:cubicBezTo>
                    <a:pt x="869" y="261"/>
                    <a:pt x="869" y="261"/>
                    <a:pt x="869" y="261"/>
                  </a:cubicBezTo>
                  <a:cubicBezTo>
                    <a:pt x="872" y="264"/>
                    <a:pt x="875" y="267"/>
                    <a:pt x="878" y="270"/>
                  </a:cubicBezTo>
                  <a:cubicBezTo>
                    <a:pt x="881" y="267"/>
                    <a:pt x="881" y="267"/>
                    <a:pt x="881" y="267"/>
                  </a:cubicBezTo>
                  <a:moveTo>
                    <a:pt x="895" y="280"/>
                  </a:moveTo>
                  <a:cubicBezTo>
                    <a:pt x="892" y="278"/>
                    <a:pt x="889" y="275"/>
                    <a:pt x="886" y="272"/>
                  </a:cubicBezTo>
                  <a:cubicBezTo>
                    <a:pt x="884" y="275"/>
                    <a:pt x="884" y="275"/>
                    <a:pt x="884" y="275"/>
                  </a:cubicBezTo>
                  <a:cubicBezTo>
                    <a:pt x="887" y="278"/>
                    <a:pt x="890" y="281"/>
                    <a:pt x="893" y="283"/>
                  </a:cubicBezTo>
                  <a:cubicBezTo>
                    <a:pt x="895" y="280"/>
                    <a:pt x="895" y="280"/>
                    <a:pt x="895" y="280"/>
                  </a:cubicBezTo>
                  <a:moveTo>
                    <a:pt x="912" y="291"/>
                  </a:moveTo>
                  <a:cubicBezTo>
                    <a:pt x="908" y="289"/>
                    <a:pt x="905" y="287"/>
                    <a:pt x="902" y="285"/>
                  </a:cubicBezTo>
                  <a:cubicBezTo>
                    <a:pt x="899" y="288"/>
                    <a:pt x="899" y="288"/>
                    <a:pt x="899" y="288"/>
                  </a:cubicBezTo>
                  <a:cubicBezTo>
                    <a:pt x="903" y="290"/>
                    <a:pt x="906" y="292"/>
                    <a:pt x="910" y="294"/>
                  </a:cubicBezTo>
                  <a:cubicBezTo>
                    <a:pt x="912" y="291"/>
                    <a:pt x="912" y="291"/>
                    <a:pt x="912" y="291"/>
                  </a:cubicBezTo>
                  <a:moveTo>
                    <a:pt x="929" y="300"/>
                  </a:moveTo>
                  <a:cubicBezTo>
                    <a:pt x="926" y="298"/>
                    <a:pt x="922" y="297"/>
                    <a:pt x="919" y="295"/>
                  </a:cubicBezTo>
                  <a:cubicBezTo>
                    <a:pt x="917" y="298"/>
                    <a:pt x="917" y="298"/>
                    <a:pt x="917" y="298"/>
                  </a:cubicBezTo>
                  <a:cubicBezTo>
                    <a:pt x="920" y="300"/>
                    <a:pt x="924" y="302"/>
                    <a:pt x="928" y="304"/>
                  </a:cubicBezTo>
                  <a:cubicBezTo>
                    <a:pt x="929" y="300"/>
                    <a:pt x="929" y="300"/>
                    <a:pt x="929" y="300"/>
                  </a:cubicBezTo>
                  <a:moveTo>
                    <a:pt x="948" y="306"/>
                  </a:moveTo>
                  <a:cubicBezTo>
                    <a:pt x="944" y="305"/>
                    <a:pt x="940" y="304"/>
                    <a:pt x="937" y="303"/>
                  </a:cubicBezTo>
                  <a:cubicBezTo>
                    <a:pt x="935" y="307"/>
                    <a:pt x="935" y="307"/>
                    <a:pt x="935" y="307"/>
                  </a:cubicBezTo>
                  <a:cubicBezTo>
                    <a:pt x="939" y="308"/>
                    <a:pt x="943" y="309"/>
                    <a:pt x="947" y="310"/>
                  </a:cubicBezTo>
                  <a:cubicBezTo>
                    <a:pt x="948" y="306"/>
                    <a:pt x="948" y="306"/>
                    <a:pt x="948" y="306"/>
                  </a:cubicBezTo>
                  <a:moveTo>
                    <a:pt x="967" y="311"/>
                  </a:moveTo>
                  <a:cubicBezTo>
                    <a:pt x="963" y="310"/>
                    <a:pt x="959" y="309"/>
                    <a:pt x="956" y="308"/>
                  </a:cubicBezTo>
                  <a:cubicBezTo>
                    <a:pt x="955" y="312"/>
                    <a:pt x="955" y="312"/>
                    <a:pt x="955" y="312"/>
                  </a:cubicBezTo>
                  <a:cubicBezTo>
                    <a:pt x="959" y="313"/>
                    <a:pt x="963" y="314"/>
                    <a:pt x="967" y="314"/>
                  </a:cubicBezTo>
                  <a:cubicBezTo>
                    <a:pt x="967" y="311"/>
                    <a:pt x="967" y="311"/>
                    <a:pt x="967" y="311"/>
                  </a:cubicBezTo>
                  <a:moveTo>
                    <a:pt x="987" y="312"/>
                  </a:moveTo>
                  <a:cubicBezTo>
                    <a:pt x="983" y="312"/>
                    <a:pt x="979" y="312"/>
                    <a:pt x="975" y="311"/>
                  </a:cubicBezTo>
                  <a:cubicBezTo>
                    <a:pt x="975" y="315"/>
                    <a:pt x="975" y="315"/>
                    <a:pt x="975" y="315"/>
                  </a:cubicBezTo>
                  <a:cubicBezTo>
                    <a:pt x="979" y="316"/>
                    <a:pt x="983" y="316"/>
                    <a:pt x="987" y="316"/>
                  </a:cubicBezTo>
                  <a:cubicBezTo>
                    <a:pt x="987" y="312"/>
                    <a:pt x="987" y="312"/>
                    <a:pt x="987" y="312"/>
                  </a:cubicBezTo>
                  <a:moveTo>
                    <a:pt x="1007" y="312"/>
                  </a:moveTo>
                  <a:cubicBezTo>
                    <a:pt x="995" y="312"/>
                    <a:pt x="995" y="312"/>
                    <a:pt x="995" y="312"/>
                  </a:cubicBezTo>
                  <a:cubicBezTo>
                    <a:pt x="995" y="316"/>
                    <a:pt x="995" y="316"/>
                    <a:pt x="995" y="316"/>
                  </a:cubicBezTo>
                  <a:cubicBezTo>
                    <a:pt x="1007" y="316"/>
                    <a:pt x="1007" y="316"/>
                    <a:pt x="1007" y="316"/>
                  </a:cubicBezTo>
                  <a:cubicBezTo>
                    <a:pt x="1007" y="312"/>
                    <a:pt x="1007" y="312"/>
                    <a:pt x="1007" y="312"/>
                  </a:cubicBezTo>
                  <a:moveTo>
                    <a:pt x="1027" y="312"/>
                  </a:moveTo>
                  <a:cubicBezTo>
                    <a:pt x="1015" y="312"/>
                    <a:pt x="1015" y="312"/>
                    <a:pt x="1015" y="312"/>
                  </a:cubicBezTo>
                  <a:cubicBezTo>
                    <a:pt x="1015" y="316"/>
                    <a:pt x="1015" y="316"/>
                    <a:pt x="1015" y="316"/>
                  </a:cubicBezTo>
                  <a:cubicBezTo>
                    <a:pt x="1027" y="316"/>
                    <a:pt x="1027" y="316"/>
                    <a:pt x="1027" y="316"/>
                  </a:cubicBezTo>
                  <a:cubicBezTo>
                    <a:pt x="1027" y="312"/>
                    <a:pt x="1027" y="312"/>
                    <a:pt x="1027" y="312"/>
                  </a:cubicBezTo>
                  <a:moveTo>
                    <a:pt x="1047" y="312"/>
                  </a:moveTo>
                  <a:cubicBezTo>
                    <a:pt x="1035" y="312"/>
                    <a:pt x="1035" y="312"/>
                    <a:pt x="1035" y="312"/>
                  </a:cubicBezTo>
                  <a:cubicBezTo>
                    <a:pt x="1035" y="316"/>
                    <a:pt x="1035" y="316"/>
                    <a:pt x="1035" y="316"/>
                  </a:cubicBezTo>
                  <a:cubicBezTo>
                    <a:pt x="1047" y="316"/>
                    <a:pt x="1047" y="316"/>
                    <a:pt x="1047" y="316"/>
                  </a:cubicBezTo>
                  <a:cubicBezTo>
                    <a:pt x="1047" y="312"/>
                    <a:pt x="1047" y="312"/>
                    <a:pt x="1047" y="312"/>
                  </a:cubicBezTo>
                  <a:moveTo>
                    <a:pt x="1067" y="312"/>
                  </a:moveTo>
                  <a:cubicBezTo>
                    <a:pt x="1055" y="312"/>
                    <a:pt x="1055" y="312"/>
                    <a:pt x="1055" y="312"/>
                  </a:cubicBezTo>
                  <a:cubicBezTo>
                    <a:pt x="1055" y="316"/>
                    <a:pt x="1055" y="316"/>
                    <a:pt x="1055" y="316"/>
                  </a:cubicBezTo>
                  <a:cubicBezTo>
                    <a:pt x="1067" y="316"/>
                    <a:pt x="1067" y="316"/>
                    <a:pt x="1067" y="316"/>
                  </a:cubicBezTo>
                  <a:cubicBezTo>
                    <a:pt x="1067" y="312"/>
                    <a:pt x="1067" y="312"/>
                    <a:pt x="1067" y="312"/>
                  </a:cubicBezTo>
                  <a:moveTo>
                    <a:pt x="1087" y="312"/>
                  </a:moveTo>
                  <a:cubicBezTo>
                    <a:pt x="1075" y="312"/>
                    <a:pt x="1075" y="312"/>
                    <a:pt x="1075" y="312"/>
                  </a:cubicBezTo>
                  <a:cubicBezTo>
                    <a:pt x="1075" y="316"/>
                    <a:pt x="1075" y="316"/>
                    <a:pt x="1075" y="316"/>
                  </a:cubicBezTo>
                  <a:cubicBezTo>
                    <a:pt x="1087" y="316"/>
                    <a:pt x="1087" y="316"/>
                    <a:pt x="1087" y="316"/>
                  </a:cubicBezTo>
                  <a:cubicBezTo>
                    <a:pt x="1087" y="312"/>
                    <a:pt x="1087" y="312"/>
                    <a:pt x="1087" y="312"/>
                  </a:cubicBezTo>
                  <a:moveTo>
                    <a:pt x="1107" y="312"/>
                  </a:moveTo>
                  <a:cubicBezTo>
                    <a:pt x="1095" y="312"/>
                    <a:pt x="1095" y="312"/>
                    <a:pt x="1095" y="312"/>
                  </a:cubicBezTo>
                  <a:cubicBezTo>
                    <a:pt x="1095" y="316"/>
                    <a:pt x="1095" y="316"/>
                    <a:pt x="1095" y="316"/>
                  </a:cubicBezTo>
                  <a:cubicBezTo>
                    <a:pt x="1107" y="316"/>
                    <a:pt x="1107" y="316"/>
                    <a:pt x="1107" y="316"/>
                  </a:cubicBezTo>
                  <a:cubicBezTo>
                    <a:pt x="1107" y="312"/>
                    <a:pt x="1107" y="312"/>
                    <a:pt x="1107" y="312"/>
                  </a:cubicBezTo>
                  <a:moveTo>
                    <a:pt x="1127" y="312"/>
                  </a:moveTo>
                  <a:cubicBezTo>
                    <a:pt x="1115" y="312"/>
                    <a:pt x="1115" y="312"/>
                    <a:pt x="1115" y="312"/>
                  </a:cubicBezTo>
                  <a:cubicBezTo>
                    <a:pt x="1115" y="316"/>
                    <a:pt x="1115" y="316"/>
                    <a:pt x="1115" y="316"/>
                  </a:cubicBezTo>
                  <a:cubicBezTo>
                    <a:pt x="1127" y="316"/>
                    <a:pt x="1127" y="316"/>
                    <a:pt x="1127" y="316"/>
                  </a:cubicBezTo>
                  <a:cubicBezTo>
                    <a:pt x="1127" y="312"/>
                    <a:pt x="1127" y="312"/>
                    <a:pt x="1127" y="312"/>
                  </a:cubicBezTo>
                  <a:moveTo>
                    <a:pt x="1147" y="312"/>
                  </a:moveTo>
                  <a:cubicBezTo>
                    <a:pt x="1135" y="312"/>
                    <a:pt x="1135" y="312"/>
                    <a:pt x="1135" y="312"/>
                  </a:cubicBezTo>
                  <a:cubicBezTo>
                    <a:pt x="1135" y="316"/>
                    <a:pt x="1135" y="316"/>
                    <a:pt x="1135" y="316"/>
                  </a:cubicBezTo>
                  <a:cubicBezTo>
                    <a:pt x="1147" y="316"/>
                    <a:pt x="1147" y="316"/>
                    <a:pt x="1147" y="316"/>
                  </a:cubicBezTo>
                  <a:cubicBezTo>
                    <a:pt x="1147" y="312"/>
                    <a:pt x="1147" y="312"/>
                    <a:pt x="1147" y="312"/>
                  </a:cubicBezTo>
                  <a:moveTo>
                    <a:pt x="1167" y="312"/>
                  </a:moveTo>
                  <a:cubicBezTo>
                    <a:pt x="1155" y="312"/>
                    <a:pt x="1155" y="312"/>
                    <a:pt x="1155" y="312"/>
                  </a:cubicBezTo>
                  <a:cubicBezTo>
                    <a:pt x="1155" y="316"/>
                    <a:pt x="1155" y="316"/>
                    <a:pt x="1155" y="316"/>
                  </a:cubicBezTo>
                  <a:cubicBezTo>
                    <a:pt x="1167" y="316"/>
                    <a:pt x="1167" y="316"/>
                    <a:pt x="1167" y="316"/>
                  </a:cubicBezTo>
                  <a:cubicBezTo>
                    <a:pt x="1167" y="312"/>
                    <a:pt x="1167" y="312"/>
                    <a:pt x="1167" y="312"/>
                  </a:cubicBezTo>
                  <a:moveTo>
                    <a:pt x="1187" y="312"/>
                  </a:moveTo>
                  <a:cubicBezTo>
                    <a:pt x="1175" y="312"/>
                    <a:pt x="1175" y="312"/>
                    <a:pt x="1175" y="312"/>
                  </a:cubicBezTo>
                  <a:cubicBezTo>
                    <a:pt x="1175" y="316"/>
                    <a:pt x="1175" y="316"/>
                    <a:pt x="1175" y="316"/>
                  </a:cubicBezTo>
                  <a:cubicBezTo>
                    <a:pt x="1187" y="316"/>
                    <a:pt x="1187" y="316"/>
                    <a:pt x="1187" y="316"/>
                  </a:cubicBezTo>
                  <a:cubicBezTo>
                    <a:pt x="1187" y="312"/>
                    <a:pt x="1187" y="312"/>
                    <a:pt x="1187" y="312"/>
                  </a:cubicBezTo>
                  <a:moveTo>
                    <a:pt x="1207" y="312"/>
                  </a:moveTo>
                  <a:cubicBezTo>
                    <a:pt x="1195" y="312"/>
                    <a:pt x="1195" y="312"/>
                    <a:pt x="1195" y="312"/>
                  </a:cubicBezTo>
                  <a:cubicBezTo>
                    <a:pt x="1195" y="316"/>
                    <a:pt x="1195" y="316"/>
                    <a:pt x="1195" y="316"/>
                  </a:cubicBezTo>
                  <a:cubicBezTo>
                    <a:pt x="1207" y="316"/>
                    <a:pt x="1207" y="316"/>
                    <a:pt x="1207" y="316"/>
                  </a:cubicBezTo>
                  <a:cubicBezTo>
                    <a:pt x="1207" y="312"/>
                    <a:pt x="1207" y="312"/>
                    <a:pt x="1207" y="312"/>
                  </a:cubicBezTo>
                  <a:moveTo>
                    <a:pt x="1227" y="312"/>
                  </a:moveTo>
                  <a:cubicBezTo>
                    <a:pt x="1215" y="312"/>
                    <a:pt x="1215" y="312"/>
                    <a:pt x="1215" y="312"/>
                  </a:cubicBezTo>
                  <a:cubicBezTo>
                    <a:pt x="1215" y="316"/>
                    <a:pt x="1215" y="316"/>
                    <a:pt x="1215" y="316"/>
                  </a:cubicBezTo>
                  <a:cubicBezTo>
                    <a:pt x="1227" y="316"/>
                    <a:pt x="1227" y="316"/>
                    <a:pt x="1227" y="316"/>
                  </a:cubicBezTo>
                  <a:cubicBezTo>
                    <a:pt x="1227" y="312"/>
                    <a:pt x="1227" y="312"/>
                    <a:pt x="1227" y="312"/>
                  </a:cubicBezTo>
                  <a:moveTo>
                    <a:pt x="1247" y="312"/>
                  </a:moveTo>
                  <a:cubicBezTo>
                    <a:pt x="1235" y="312"/>
                    <a:pt x="1235" y="312"/>
                    <a:pt x="1235" y="312"/>
                  </a:cubicBezTo>
                  <a:cubicBezTo>
                    <a:pt x="1235" y="316"/>
                    <a:pt x="1235" y="316"/>
                    <a:pt x="1235" y="316"/>
                  </a:cubicBezTo>
                  <a:cubicBezTo>
                    <a:pt x="1247" y="316"/>
                    <a:pt x="1247" y="316"/>
                    <a:pt x="1247" y="316"/>
                  </a:cubicBezTo>
                  <a:cubicBezTo>
                    <a:pt x="1247" y="312"/>
                    <a:pt x="1247" y="312"/>
                    <a:pt x="1247" y="312"/>
                  </a:cubicBezTo>
                  <a:moveTo>
                    <a:pt x="1267" y="312"/>
                  </a:moveTo>
                  <a:cubicBezTo>
                    <a:pt x="1255" y="312"/>
                    <a:pt x="1255" y="312"/>
                    <a:pt x="1255" y="312"/>
                  </a:cubicBezTo>
                  <a:cubicBezTo>
                    <a:pt x="1255" y="316"/>
                    <a:pt x="1255" y="316"/>
                    <a:pt x="1255" y="316"/>
                  </a:cubicBezTo>
                  <a:cubicBezTo>
                    <a:pt x="1267" y="316"/>
                    <a:pt x="1267" y="316"/>
                    <a:pt x="1267" y="316"/>
                  </a:cubicBezTo>
                  <a:cubicBezTo>
                    <a:pt x="1267" y="312"/>
                    <a:pt x="1267" y="312"/>
                    <a:pt x="1267" y="312"/>
                  </a:cubicBezTo>
                  <a:moveTo>
                    <a:pt x="1287" y="312"/>
                  </a:moveTo>
                  <a:cubicBezTo>
                    <a:pt x="1275" y="312"/>
                    <a:pt x="1275" y="312"/>
                    <a:pt x="1275" y="312"/>
                  </a:cubicBezTo>
                  <a:cubicBezTo>
                    <a:pt x="1275" y="316"/>
                    <a:pt x="1275" y="316"/>
                    <a:pt x="1275" y="316"/>
                  </a:cubicBezTo>
                  <a:cubicBezTo>
                    <a:pt x="1287" y="316"/>
                    <a:pt x="1287" y="316"/>
                    <a:pt x="1287" y="316"/>
                  </a:cubicBezTo>
                  <a:cubicBezTo>
                    <a:pt x="1287" y="312"/>
                    <a:pt x="1287" y="312"/>
                    <a:pt x="1287" y="312"/>
                  </a:cubicBezTo>
                  <a:moveTo>
                    <a:pt x="1307" y="312"/>
                  </a:moveTo>
                  <a:cubicBezTo>
                    <a:pt x="1295" y="312"/>
                    <a:pt x="1295" y="312"/>
                    <a:pt x="1295" y="312"/>
                  </a:cubicBezTo>
                  <a:cubicBezTo>
                    <a:pt x="1295" y="316"/>
                    <a:pt x="1295" y="316"/>
                    <a:pt x="1295" y="316"/>
                  </a:cubicBezTo>
                  <a:cubicBezTo>
                    <a:pt x="1307" y="316"/>
                    <a:pt x="1307" y="316"/>
                    <a:pt x="1307" y="316"/>
                  </a:cubicBezTo>
                  <a:cubicBezTo>
                    <a:pt x="1307" y="312"/>
                    <a:pt x="1307" y="312"/>
                    <a:pt x="1307" y="312"/>
                  </a:cubicBezTo>
                  <a:moveTo>
                    <a:pt x="1327" y="312"/>
                  </a:moveTo>
                  <a:cubicBezTo>
                    <a:pt x="1315" y="312"/>
                    <a:pt x="1315" y="312"/>
                    <a:pt x="1315" y="312"/>
                  </a:cubicBezTo>
                  <a:cubicBezTo>
                    <a:pt x="1315" y="316"/>
                    <a:pt x="1315" y="316"/>
                    <a:pt x="1315" y="316"/>
                  </a:cubicBezTo>
                  <a:cubicBezTo>
                    <a:pt x="1327" y="316"/>
                    <a:pt x="1327" y="316"/>
                    <a:pt x="1327" y="316"/>
                  </a:cubicBezTo>
                  <a:cubicBezTo>
                    <a:pt x="1327" y="312"/>
                    <a:pt x="1327" y="312"/>
                    <a:pt x="1327" y="312"/>
                  </a:cubicBezTo>
                  <a:moveTo>
                    <a:pt x="1347" y="312"/>
                  </a:moveTo>
                  <a:cubicBezTo>
                    <a:pt x="1335" y="312"/>
                    <a:pt x="1335" y="312"/>
                    <a:pt x="1335" y="312"/>
                  </a:cubicBezTo>
                  <a:cubicBezTo>
                    <a:pt x="1335" y="316"/>
                    <a:pt x="1335" y="316"/>
                    <a:pt x="1335" y="316"/>
                  </a:cubicBezTo>
                  <a:cubicBezTo>
                    <a:pt x="1347" y="316"/>
                    <a:pt x="1347" y="316"/>
                    <a:pt x="1347" y="316"/>
                  </a:cubicBezTo>
                  <a:cubicBezTo>
                    <a:pt x="1347" y="312"/>
                    <a:pt x="1347" y="312"/>
                    <a:pt x="1347" y="312"/>
                  </a:cubicBezTo>
                  <a:moveTo>
                    <a:pt x="1367" y="312"/>
                  </a:moveTo>
                  <a:cubicBezTo>
                    <a:pt x="1355" y="312"/>
                    <a:pt x="1355" y="312"/>
                    <a:pt x="1355" y="312"/>
                  </a:cubicBezTo>
                  <a:cubicBezTo>
                    <a:pt x="1355" y="316"/>
                    <a:pt x="1355" y="316"/>
                    <a:pt x="1355" y="316"/>
                  </a:cubicBezTo>
                  <a:cubicBezTo>
                    <a:pt x="1367" y="316"/>
                    <a:pt x="1367" y="316"/>
                    <a:pt x="1367" y="316"/>
                  </a:cubicBezTo>
                  <a:cubicBezTo>
                    <a:pt x="1367" y="312"/>
                    <a:pt x="1367" y="312"/>
                    <a:pt x="1367" y="312"/>
                  </a:cubicBezTo>
                  <a:moveTo>
                    <a:pt x="1387" y="312"/>
                  </a:moveTo>
                  <a:cubicBezTo>
                    <a:pt x="1375" y="312"/>
                    <a:pt x="1375" y="312"/>
                    <a:pt x="1375" y="312"/>
                  </a:cubicBezTo>
                  <a:cubicBezTo>
                    <a:pt x="1375" y="316"/>
                    <a:pt x="1375" y="316"/>
                    <a:pt x="1375" y="316"/>
                  </a:cubicBezTo>
                  <a:cubicBezTo>
                    <a:pt x="1387" y="316"/>
                    <a:pt x="1387" y="316"/>
                    <a:pt x="1387" y="316"/>
                  </a:cubicBezTo>
                  <a:cubicBezTo>
                    <a:pt x="1387" y="312"/>
                    <a:pt x="1387" y="312"/>
                    <a:pt x="1387" y="312"/>
                  </a:cubicBezTo>
                  <a:moveTo>
                    <a:pt x="1407" y="312"/>
                  </a:moveTo>
                  <a:cubicBezTo>
                    <a:pt x="1395" y="312"/>
                    <a:pt x="1395" y="312"/>
                    <a:pt x="1395" y="312"/>
                  </a:cubicBezTo>
                  <a:cubicBezTo>
                    <a:pt x="1395" y="316"/>
                    <a:pt x="1395" y="316"/>
                    <a:pt x="1395" y="316"/>
                  </a:cubicBezTo>
                  <a:cubicBezTo>
                    <a:pt x="1407" y="316"/>
                    <a:pt x="1407" y="316"/>
                    <a:pt x="1407" y="316"/>
                  </a:cubicBezTo>
                  <a:cubicBezTo>
                    <a:pt x="1407" y="312"/>
                    <a:pt x="1407" y="312"/>
                    <a:pt x="1407" y="312"/>
                  </a:cubicBezTo>
                  <a:moveTo>
                    <a:pt x="1427" y="312"/>
                  </a:moveTo>
                  <a:cubicBezTo>
                    <a:pt x="1415" y="312"/>
                    <a:pt x="1415" y="312"/>
                    <a:pt x="1415" y="312"/>
                  </a:cubicBezTo>
                  <a:cubicBezTo>
                    <a:pt x="1415" y="316"/>
                    <a:pt x="1415" y="316"/>
                    <a:pt x="1415" y="316"/>
                  </a:cubicBezTo>
                  <a:cubicBezTo>
                    <a:pt x="1427" y="316"/>
                    <a:pt x="1427" y="316"/>
                    <a:pt x="1427" y="316"/>
                  </a:cubicBezTo>
                  <a:cubicBezTo>
                    <a:pt x="1427" y="312"/>
                    <a:pt x="1427" y="312"/>
                    <a:pt x="1427" y="312"/>
                  </a:cubicBezTo>
                  <a:moveTo>
                    <a:pt x="1447" y="312"/>
                  </a:moveTo>
                  <a:cubicBezTo>
                    <a:pt x="1435" y="312"/>
                    <a:pt x="1435" y="312"/>
                    <a:pt x="1435" y="312"/>
                  </a:cubicBezTo>
                  <a:cubicBezTo>
                    <a:pt x="1435" y="316"/>
                    <a:pt x="1435" y="316"/>
                    <a:pt x="1435" y="316"/>
                  </a:cubicBezTo>
                  <a:cubicBezTo>
                    <a:pt x="1447" y="316"/>
                    <a:pt x="1447" y="316"/>
                    <a:pt x="1447" y="316"/>
                  </a:cubicBezTo>
                  <a:cubicBezTo>
                    <a:pt x="1447" y="312"/>
                    <a:pt x="1447" y="312"/>
                    <a:pt x="1447" y="312"/>
                  </a:cubicBezTo>
                  <a:moveTo>
                    <a:pt x="1467" y="312"/>
                  </a:moveTo>
                  <a:cubicBezTo>
                    <a:pt x="1455" y="312"/>
                    <a:pt x="1455" y="312"/>
                    <a:pt x="1455" y="312"/>
                  </a:cubicBezTo>
                  <a:cubicBezTo>
                    <a:pt x="1455" y="316"/>
                    <a:pt x="1455" y="316"/>
                    <a:pt x="1455" y="316"/>
                  </a:cubicBezTo>
                  <a:cubicBezTo>
                    <a:pt x="1467" y="316"/>
                    <a:pt x="1467" y="316"/>
                    <a:pt x="1467" y="316"/>
                  </a:cubicBezTo>
                  <a:cubicBezTo>
                    <a:pt x="1467" y="312"/>
                    <a:pt x="1467" y="312"/>
                    <a:pt x="1467" y="312"/>
                  </a:cubicBezTo>
                  <a:moveTo>
                    <a:pt x="1487" y="312"/>
                  </a:moveTo>
                  <a:cubicBezTo>
                    <a:pt x="1475" y="312"/>
                    <a:pt x="1475" y="312"/>
                    <a:pt x="1475" y="312"/>
                  </a:cubicBezTo>
                  <a:cubicBezTo>
                    <a:pt x="1475" y="316"/>
                    <a:pt x="1475" y="316"/>
                    <a:pt x="1475" y="316"/>
                  </a:cubicBezTo>
                  <a:cubicBezTo>
                    <a:pt x="1487" y="316"/>
                    <a:pt x="1487" y="316"/>
                    <a:pt x="1487" y="316"/>
                  </a:cubicBezTo>
                  <a:cubicBezTo>
                    <a:pt x="1487" y="312"/>
                    <a:pt x="1487" y="312"/>
                    <a:pt x="1487" y="312"/>
                  </a:cubicBezTo>
                  <a:moveTo>
                    <a:pt x="1507" y="312"/>
                  </a:moveTo>
                  <a:cubicBezTo>
                    <a:pt x="1495" y="312"/>
                    <a:pt x="1495" y="312"/>
                    <a:pt x="1495" y="312"/>
                  </a:cubicBezTo>
                  <a:cubicBezTo>
                    <a:pt x="1495" y="316"/>
                    <a:pt x="1495" y="316"/>
                    <a:pt x="1495" y="316"/>
                  </a:cubicBezTo>
                  <a:cubicBezTo>
                    <a:pt x="1507" y="316"/>
                    <a:pt x="1507" y="316"/>
                    <a:pt x="1507" y="316"/>
                  </a:cubicBezTo>
                  <a:cubicBezTo>
                    <a:pt x="1507" y="312"/>
                    <a:pt x="1507" y="312"/>
                    <a:pt x="1507" y="312"/>
                  </a:cubicBezTo>
                  <a:moveTo>
                    <a:pt x="1527" y="312"/>
                  </a:moveTo>
                  <a:cubicBezTo>
                    <a:pt x="1515" y="312"/>
                    <a:pt x="1515" y="312"/>
                    <a:pt x="1515" y="312"/>
                  </a:cubicBezTo>
                  <a:cubicBezTo>
                    <a:pt x="1515" y="316"/>
                    <a:pt x="1515" y="316"/>
                    <a:pt x="1515" y="316"/>
                  </a:cubicBezTo>
                  <a:cubicBezTo>
                    <a:pt x="1527" y="316"/>
                    <a:pt x="1527" y="316"/>
                    <a:pt x="1527" y="316"/>
                  </a:cubicBezTo>
                  <a:cubicBezTo>
                    <a:pt x="1527" y="312"/>
                    <a:pt x="1527" y="312"/>
                    <a:pt x="1527" y="312"/>
                  </a:cubicBezTo>
                  <a:moveTo>
                    <a:pt x="1547" y="312"/>
                  </a:moveTo>
                  <a:cubicBezTo>
                    <a:pt x="1535" y="312"/>
                    <a:pt x="1535" y="312"/>
                    <a:pt x="1535" y="312"/>
                  </a:cubicBezTo>
                  <a:cubicBezTo>
                    <a:pt x="1535" y="316"/>
                    <a:pt x="1535" y="316"/>
                    <a:pt x="1535" y="316"/>
                  </a:cubicBezTo>
                  <a:cubicBezTo>
                    <a:pt x="1547" y="316"/>
                    <a:pt x="1547" y="316"/>
                    <a:pt x="1547" y="316"/>
                  </a:cubicBezTo>
                  <a:cubicBezTo>
                    <a:pt x="1547" y="312"/>
                    <a:pt x="1547" y="312"/>
                    <a:pt x="1547" y="312"/>
                  </a:cubicBezTo>
                  <a:moveTo>
                    <a:pt x="1567" y="312"/>
                  </a:moveTo>
                  <a:cubicBezTo>
                    <a:pt x="1555" y="312"/>
                    <a:pt x="1555" y="312"/>
                    <a:pt x="1555" y="312"/>
                  </a:cubicBezTo>
                  <a:cubicBezTo>
                    <a:pt x="1555" y="316"/>
                    <a:pt x="1555" y="316"/>
                    <a:pt x="1555" y="316"/>
                  </a:cubicBezTo>
                  <a:cubicBezTo>
                    <a:pt x="1567" y="316"/>
                    <a:pt x="1567" y="316"/>
                    <a:pt x="1567" y="316"/>
                  </a:cubicBezTo>
                  <a:cubicBezTo>
                    <a:pt x="1567" y="312"/>
                    <a:pt x="1567" y="312"/>
                    <a:pt x="1567" y="312"/>
                  </a:cubicBezTo>
                  <a:moveTo>
                    <a:pt x="1587" y="312"/>
                  </a:moveTo>
                  <a:cubicBezTo>
                    <a:pt x="1575" y="312"/>
                    <a:pt x="1575" y="312"/>
                    <a:pt x="1575" y="312"/>
                  </a:cubicBezTo>
                  <a:cubicBezTo>
                    <a:pt x="1575" y="316"/>
                    <a:pt x="1575" y="316"/>
                    <a:pt x="1575" y="316"/>
                  </a:cubicBezTo>
                  <a:cubicBezTo>
                    <a:pt x="1587" y="316"/>
                    <a:pt x="1587" y="316"/>
                    <a:pt x="1587" y="316"/>
                  </a:cubicBezTo>
                  <a:cubicBezTo>
                    <a:pt x="1587" y="312"/>
                    <a:pt x="1587" y="312"/>
                    <a:pt x="1587" y="312"/>
                  </a:cubicBezTo>
                  <a:moveTo>
                    <a:pt x="1607" y="312"/>
                  </a:moveTo>
                  <a:cubicBezTo>
                    <a:pt x="1595" y="312"/>
                    <a:pt x="1595" y="312"/>
                    <a:pt x="1595" y="312"/>
                  </a:cubicBezTo>
                  <a:cubicBezTo>
                    <a:pt x="1595" y="316"/>
                    <a:pt x="1595" y="316"/>
                    <a:pt x="1595" y="316"/>
                  </a:cubicBezTo>
                  <a:cubicBezTo>
                    <a:pt x="1607" y="316"/>
                    <a:pt x="1607" y="316"/>
                    <a:pt x="1607" y="316"/>
                  </a:cubicBezTo>
                  <a:cubicBezTo>
                    <a:pt x="1607" y="312"/>
                    <a:pt x="1607" y="312"/>
                    <a:pt x="1607" y="312"/>
                  </a:cubicBezTo>
                  <a:moveTo>
                    <a:pt x="1627" y="312"/>
                  </a:moveTo>
                  <a:cubicBezTo>
                    <a:pt x="1615" y="312"/>
                    <a:pt x="1615" y="312"/>
                    <a:pt x="1615" y="312"/>
                  </a:cubicBezTo>
                  <a:cubicBezTo>
                    <a:pt x="1615" y="316"/>
                    <a:pt x="1615" y="316"/>
                    <a:pt x="1615" y="316"/>
                  </a:cubicBezTo>
                  <a:cubicBezTo>
                    <a:pt x="1627" y="316"/>
                    <a:pt x="1627" y="316"/>
                    <a:pt x="1627" y="316"/>
                  </a:cubicBezTo>
                  <a:cubicBezTo>
                    <a:pt x="1627" y="312"/>
                    <a:pt x="1627" y="312"/>
                    <a:pt x="1627" y="312"/>
                  </a:cubicBezTo>
                  <a:moveTo>
                    <a:pt x="1647" y="312"/>
                  </a:moveTo>
                  <a:cubicBezTo>
                    <a:pt x="1635" y="312"/>
                    <a:pt x="1635" y="312"/>
                    <a:pt x="1635" y="312"/>
                  </a:cubicBezTo>
                  <a:cubicBezTo>
                    <a:pt x="1635" y="316"/>
                    <a:pt x="1635" y="316"/>
                    <a:pt x="1635" y="316"/>
                  </a:cubicBezTo>
                  <a:cubicBezTo>
                    <a:pt x="1647" y="316"/>
                    <a:pt x="1647" y="316"/>
                    <a:pt x="1647" y="316"/>
                  </a:cubicBezTo>
                  <a:cubicBezTo>
                    <a:pt x="1647" y="312"/>
                    <a:pt x="1647" y="312"/>
                    <a:pt x="1647" y="312"/>
                  </a:cubicBezTo>
                  <a:moveTo>
                    <a:pt x="1667" y="312"/>
                  </a:moveTo>
                  <a:cubicBezTo>
                    <a:pt x="1655" y="312"/>
                    <a:pt x="1655" y="312"/>
                    <a:pt x="1655" y="312"/>
                  </a:cubicBezTo>
                  <a:cubicBezTo>
                    <a:pt x="1655" y="316"/>
                    <a:pt x="1655" y="316"/>
                    <a:pt x="1655" y="316"/>
                  </a:cubicBezTo>
                  <a:cubicBezTo>
                    <a:pt x="1667" y="316"/>
                    <a:pt x="1667" y="316"/>
                    <a:pt x="1667" y="316"/>
                  </a:cubicBezTo>
                  <a:cubicBezTo>
                    <a:pt x="1667" y="312"/>
                    <a:pt x="1667" y="312"/>
                    <a:pt x="1667" y="312"/>
                  </a:cubicBezTo>
                  <a:moveTo>
                    <a:pt x="1687" y="312"/>
                  </a:moveTo>
                  <a:cubicBezTo>
                    <a:pt x="1675" y="312"/>
                    <a:pt x="1675" y="312"/>
                    <a:pt x="1675" y="312"/>
                  </a:cubicBezTo>
                  <a:cubicBezTo>
                    <a:pt x="1675" y="316"/>
                    <a:pt x="1675" y="316"/>
                    <a:pt x="1675" y="316"/>
                  </a:cubicBezTo>
                  <a:cubicBezTo>
                    <a:pt x="1687" y="316"/>
                    <a:pt x="1687" y="316"/>
                    <a:pt x="1687" y="316"/>
                  </a:cubicBezTo>
                  <a:cubicBezTo>
                    <a:pt x="1687" y="312"/>
                    <a:pt x="1687" y="312"/>
                    <a:pt x="1687" y="312"/>
                  </a:cubicBezTo>
                  <a:moveTo>
                    <a:pt x="1707" y="312"/>
                  </a:moveTo>
                  <a:cubicBezTo>
                    <a:pt x="1695" y="312"/>
                    <a:pt x="1695" y="312"/>
                    <a:pt x="1695" y="312"/>
                  </a:cubicBezTo>
                  <a:cubicBezTo>
                    <a:pt x="1695" y="316"/>
                    <a:pt x="1695" y="316"/>
                    <a:pt x="1695" y="316"/>
                  </a:cubicBezTo>
                  <a:cubicBezTo>
                    <a:pt x="1707" y="316"/>
                    <a:pt x="1707" y="316"/>
                    <a:pt x="1707" y="316"/>
                  </a:cubicBezTo>
                  <a:cubicBezTo>
                    <a:pt x="1707" y="312"/>
                    <a:pt x="1707" y="312"/>
                    <a:pt x="1707" y="312"/>
                  </a:cubicBezTo>
                  <a:moveTo>
                    <a:pt x="1727" y="312"/>
                  </a:moveTo>
                  <a:cubicBezTo>
                    <a:pt x="1715" y="312"/>
                    <a:pt x="1715" y="312"/>
                    <a:pt x="1715" y="312"/>
                  </a:cubicBezTo>
                  <a:cubicBezTo>
                    <a:pt x="1715" y="316"/>
                    <a:pt x="1715" y="316"/>
                    <a:pt x="1715" y="316"/>
                  </a:cubicBezTo>
                  <a:cubicBezTo>
                    <a:pt x="1727" y="316"/>
                    <a:pt x="1727" y="316"/>
                    <a:pt x="1727" y="316"/>
                  </a:cubicBezTo>
                  <a:cubicBezTo>
                    <a:pt x="1727" y="312"/>
                    <a:pt x="1727" y="312"/>
                    <a:pt x="1727" y="312"/>
                  </a:cubicBezTo>
                  <a:moveTo>
                    <a:pt x="1747" y="312"/>
                  </a:moveTo>
                  <a:cubicBezTo>
                    <a:pt x="1735" y="312"/>
                    <a:pt x="1735" y="312"/>
                    <a:pt x="1735" y="312"/>
                  </a:cubicBezTo>
                  <a:cubicBezTo>
                    <a:pt x="1735" y="316"/>
                    <a:pt x="1735" y="316"/>
                    <a:pt x="1735" y="316"/>
                  </a:cubicBezTo>
                  <a:cubicBezTo>
                    <a:pt x="1747" y="316"/>
                    <a:pt x="1747" y="316"/>
                    <a:pt x="1747" y="316"/>
                  </a:cubicBezTo>
                  <a:cubicBezTo>
                    <a:pt x="1747" y="312"/>
                    <a:pt x="1747" y="312"/>
                    <a:pt x="1747" y="312"/>
                  </a:cubicBezTo>
                  <a:moveTo>
                    <a:pt x="1767" y="312"/>
                  </a:moveTo>
                  <a:cubicBezTo>
                    <a:pt x="1755" y="312"/>
                    <a:pt x="1755" y="312"/>
                    <a:pt x="1755" y="312"/>
                  </a:cubicBezTo>
                  <a:cubicBezTo>
                    <a:pt x="1755" y="316"/>
                    <a:pt x="1755" y="316"/>
                    <a:pt x="1755" y="316"/>
                  </a:cubicBezTo>
                  <a:cubicBezTo>
                    <a:pt x="1767" y="316"/>
                    <a:pt x="1767" y="316"/>
                    <a:pt x="1767" y="316"/>
                  </a:cubicBezTo>
                  <a:cubicBezTo>
                    <a:pt x="1767" y="312"/>
                    <a:pt x="1767" y="312"/>
                    <a:pt x="1767" y="312"/>
                  </a:cubicBezTo>
                  <a:moveTo>
                    <a:pt x="1787" y="312"/>
                  </a:moveTo>
                  <a:cubicBezTo>
                    <a:pt x="1775" y="312"/>
                    <a:pt x="1775" y="312"/>
                    <a:pt x="1775" y="312"/>
                  </a:cubicBezTo>
                  <a:cubicBezTo>
                    <a:pt x="1775" y="316"/>
                    <a:pt x="1775" y="316"/>
                    <a:pt x="1775" y="316"/>
                  </a:cubicBezTo>
                  <a:cubicBezTo>
                    <a:pt x="1787" y="316"/>
                    <a:pt x="1787" y="316"/>
                    <a:pt x="1787" y="316"/>
                  </a:cubicBezTo>
                  <a:cubicBezTo>
                    <a:pt x="1787" y="312"/>
                    <a:pt x="1787" y="312"/>
                    <a:pt x="1787" y="312"/>
                  </a:cubicBezTo>
                  <a:moveTo>
                    <a:pt x="1807" y="312"/>
                  </a:moveTo>
                  <a:cubicBezTo>
                    <a:pt x="1795" y="312"/>
                    <a:pt x="1795" y="312"/>
                    <a:pt x="1795" y="312"/>
                  </a:cubicBezTo>
                  <a:cubicBezTo>
                    <a:pt x="1795" y="316"/>
                    <a:pt x="1795" y="316"/>
                    <a:pt x="1795" y="316"/>
                  </a:cubicBezTo>
                  <a:cubicBezTo>
                    <a:pt x="1807" y="316"/>
                    <a:pt x="1807" y="316"/>
                    <a:pt x="1807" y="316"/>
                  </a:cubicBezTo>
                  <a:cubicBezTo>
                    <a:pt x="1807" y="312"/>
                    <a:pt x="1807" y="312"/>
                    <a:pt x="1807" y="312"/>
                  </a:cubicBezTo>
                  <a:moveTo>
                    <a:pt x="1827" y="312"/>
                  </a:moveTo>
                  <a:cubicBezTo>
                    <a:pt x="1815" y="312"/>
                    <a:pt x="1815" y="312"/>
                    <a:pt x="1815" y="312"/>
                  </a:cubicBezTo>
                  <a:cubicBezTo>
                    <a:pt x="1815" y="316"/>
                    <a:pt x="1815" y="316"/>
                    <a:pt x="1815" y="316"/>
                  </a:cubicBezTo>
                  <a:cubicBezTo>
                    <a:pt x="1827" y="316"/>
                    <a:pt x="1827" y="316"/>
                    <a:pt x="1827" y="316"/>
                  </a:cubicBezTo>
                  <a:cubicBezTo>
                    <a:pt x="1827" y="312"/>
                    <a:pt x="1827" y="312"/>
                    <a:pt x="1827" y="312"/>
                  </a:cubicBezTo>
                  <a:moveTo>
                    <a:pt x="1847" y="312"/>
                  </a:moveTo>
                  <a:cubicBezTo>
                    <a:pt x="1835" y="312"/>
                    <a:pt x="1835" y="312"/>
                    <a:pt x="1835" y="312"/>
                  </a:cubicBezTo>
                  <a:cubicBezTo>
                    <a:pt x="1835" y="316"/>
                    <a:pt x="1835" y="316"/>
                    <a:pt x="1835" y="316"/>
                  </a:cubicBezTo>
                  <a:cubicBezTo>
                    <a:pt x="1847" y="316"/>
                    <a:pt x="1847" y="316"/>
                    <a:pt x="1847" y="316"/>
                  </a:cubicBezTo>
                  <a:cubicBezTo>
                    <a:pt x="1847" y="312"/>
                    <a:pt x="1847" y="312"/>
                    <a:pt x="1847" y="312"/>
                  </a:cubicBezTo>
                  <a:moveTo>
                    <a:pt x="1867" y="312"/>
                  </a:moveTo>
                  <a:cubicBezTo>
                    <a:pt x="1855" y="312"/>
                    <a:pt x="1855" y="312"/>
                    <a:pt x="1855" y="312"/>
                  </a:cubicBezTo>
                  <a:cubicBezTo>
                    <a:pt x="1855" y="316"/>
                    <a:pt x="1855" y="316"/>
                    <a:pt x="1855" y="316"/>
                  </a:cubicBezTo>
                  <a:cubicBezTo>
                    <a:pt x="1867" y="316"/>
                    <a:pt x="1867" y="316"/>
                    <a:pt x="1867" y="316"/>
                  </a:cubicBezTo>
                  <a:cubicBezTo>
                    <a:pt x="1867" y="312"/>
                    <a:pt x="1867" y="312"/>
                    <a:pt x="1867" y="312"/>
                  </a:cubicBezTo>
                  <a:moveTo>
                    <a:pt x="1887" y="312"/>
                  </a:moveTo>
                  <a:cubicBezTo>
                    <a:pt x="1875" y="312"/>
                    <a:pt x="1875" y="312"/>
                    <a:pt x="1875" y="312"/>
                  </a:cubicBezTo>
                  <a:cubicBezTo>
                    <a:pt x="1875" y="316"/>
                    <a:pt x="1875" y="316"/>
                    <a:pt x="1875" y="316"/>
                  </a:cubicBezTo>
                  <a:cubicBezTo>
                    <a:pt x="1887" y="316"/>
                    <a:pt x="1887" y="316"/>
                    <a:pt x="1887" y="316"/>
                  </a:cubicBezTo>
                  <a:cubicBezTo>
                    <a:pt x="1887" y="312"/>
                    <a:pt x="1887" y="312"/>
                    <a:pt x="1887" y="312"/>
                  </a:cubicBezTo>
                  <a:moveTo>
                    <a:pt x="1907" y="312"/>
                  </a:moveTo>
                  <a:cubicBezTo>
                    <a:pt x="1895" y="312"/>
                    <a:pt x="1895" y="312"/>
                    <a:pt x="1895" y="312"/>
                  </a:cubicBezTo>
                  <a:cubicBezTo>
                    <a:pt x="1895" y="316"/>
                    <a:pt x="1895" y="316"/>
                    <a:pt x="1895" y="316"/>
                  </a:cubicBezTo>
                  <a:cubicBezTo>
                    <a:pt x="1907" y="316"/>
                    <a:pt x="1907" y="316"/>
                    <a:pt x="1907" y="316"/>
                  </a:cubicBezTo>
                  <a:cubicBezTo>
                    <a:pt x="1907" y="312"/>
                    <a:pt x="1907" y="312"/>
                    <a:pt x="1907" y="312"/>
                  </a:cubicBezTo>
                  <a:moveTo>
                    <a:pt x="1927" y="312"/>
                  </a:moveTo>
                  <a:cubicBezTo>
                    <a:pt x="1915" y="312"/>
                    <a:pt x="1915" y="312"/>
                    <a:pt x="1915" y="312"/>
                  </a:cubicBezTo>
                  <a:cubicBezTo>
                    <a:pt x="1915" y="316"/>
                    <a:pt x="1915" y="316"/>
                    <a:pt x="1915" y="316"/>
                  </a:cubicBezTo>
                  <a:cubicBezTo>
                    <a:pt x="1927" y="316"/>
                    <a:pt x="1927" y="316"/>
                    <a:pt x="1927" y="316"/>
                  </a:cubicBezTo>
                  <a:cubicBezTo>
                    <a:pt x="1927" y="312"/>
                    <a:pt x="1927" y="312"/>
                    <a:pt x="1927" y="312"/>
                  </a:cubicBezTo>
                  <a:moveTo>
                    <a:pt x="1947" y="312"/>
                  </a:moveTo>
                  <a:cubicBezTo>
                    <a:pt x="1935" y="312"/>
                    <a:pt x="1935" y="312"/>
                    <a:pt x="1935" y="312"/>
                  </a:cubicBezTo>
                  <a:cubicBezTo>
                    <a:pt x="1935" y="316"/>
                    <a:pt x="1935" y="316"/>
                    <a:pt x="1935" y="316"/>
                  </a:cubicBezTo>
                  <a:cubicBezTo>
                    <a:pt x="1947" y="316"/>
                    <a:pt x="1947" y="316"/>
                    <a:pt x="1947" y="316"/>
                  </a:cubicBezTo>
                  <a:cubicBezTo>
                    <a:pt x="1947" y="312"/>
                    <a:pt x="1947" y="312"/>
                    <a:pt x="1947" y="312"/>
                  </a:cubicBezTo>
                  <a:moveTo>
                    <a:pt x="1967" y="312"/>
                  </a:moveTo>
                  <a:cubicBezTo>
                    <a:pt x="1955" y="312"/>
                    <a:pt x="1955" y="312"/>
                    <a:pt x="1955" y="312"/>
                  </a:cubicBezTo>
                  <a:cubicBezTo>
                    <a:pt x="1955" y="316"/>
                    <a:pt x="1955" y="316"/>
                    <a:pt x="1955" y="316"/>
                  </a:cubicBezTo>
                  <a:cubicBezTo>
                    <a:pt x="1967" y="316"/>
                    <a:pt x="1967" y="316"/>
                    <a:pt x="1967" y="316"/>
                  </a:cubicBezTo>
                  <a:cubicBezTo>
                    <a:pt x="1967" y="312"/>
                    <a:pt x="1967" y="312"/>
                    <a:pt x="1967" y="312"/>
                  </a:cubicBezTo>
                  <a:moveTo>
                    <a:pt x="1987" y="312"/>
                  </a:moveTo>
                  <a:cubicBezTo>
                    <a:pt x="1975" y="312"/>
                    <a:pt x="1975" y="312"/>
                    <a:pt x="1975" y="312"/>
                  </a:cubicBezTo>
                  <a:cubicBezTo>
                    <a:pt x="1975" y="316"/>
                    <a:pt x="1975" y="316"/>
                    <a:pt x="1975" y="316"/>
                  </a:cubicBezTo>
                  <a:cubicBezTo>
                    <a:pt x="1987" y="316"/>
                    <a:pt x="1987" y="316"/>
                    <a:pt x="1987" y="316"/>
                  </a:cubicBezTo>
                  <a:cubicBezTo>
                    <a:pt x="1987" y="312"/>
                    <a:pt x="1987" y="312"/>
                    <a:pt x="1987" y="312"/>
                  </a:cubicBezTo>
                  <a:moveTo>
                    <a:pt x="2007" y="312"/>
                  </a:moveTo>
                  <a:cubicBezTo>
                    <a:pt x="1995" y="312"/>
                    <a:pt x="1995" y="312"/>
                    <a:pt x="1995" y="312"/>
                  </a:cubicBezTo>
                  <a:cubicBezTo>
                    <a:pt x="1995" y="316"/>
                    <a:pt x="1995" y="316"/>
                    <a:pt x="1995" y="316"/>
                  </a:cubicBezTo>
                  <a:cubicBezTo>
                    <a:pt x="2007" y="316"/>
                    <a:pt x="2007" y="316"/>
                    <a:pt x="2007" y="316"/>
                  </a:cubicBezTo>
                  <a:cubicBezTo>
                    <a:pt x="2007" y="312"/>
                    <a:pt x="2007" y="312"/>
                    <a:pt x="2007" y="312"/>
                  </a:cubicBezTo>
                  <a:moveTo>
                    <a:pt x="2027" y="312"/>
                  </a:moveTo>
                  <a:cubicBezTo>
                    <a:pt x="2015" y="312"/>
                    <a:pt x="2015" y="312"/>
                    <a:pt x="2015" y="312"/>
                  </a:cubicBezTo>
                  <a:cubicBezTo>
                    <a:pt x="2015" y="316"/>
                    <a:pt x="2015" y="316"/>
                    <a:pt x="2015" y="316"/>
                  </a:cubicBezTo>
                  <a:cubicBezTo>
                    <a:pt x="2027" y="316"/>
                    <a:pt x="2027" y="316"/>
                    <a:pt x="2027" y="316"/>
                  </a:cubicBezTo>
                  <a:cubicBezTo>
                    <a:pt x="2027" y="312"/>
                    <a:pt x="2027" y="312"/>
                    <a:pt x="2027" y="312"/>
                  </a:cubicBezTo>
                  <a:moveTo>
                    <a:pt x="2047" y="312"/>
                  </a:moveTo>
                  <a:cubicBezTo>
                    <a:pt x="2035" y="312"/>
                    <a:pt x="2035" y="312"/>
                    <a:pt x="2035" y="312"/>
                  </a:cubicBezTo>
                  <a:cubicBezTo>
                    <a:pt x="2035" y="316"/>
                    <a:pt x="2035" y="316"/>
                    <a:pt x="2035" y="316"/>
                  </a:cubicBezTo>
                  <a:cubicBezTo>
                    <a:pt x="2047" y="316"/>
                    <a:pt x="2047" y="316"/>
                    <a:pt x="2047" y="316"/>
                  </a:cubicBezTo>
                  <a:cubicBezTo>
                    <a:pt x="2047" y="312"/>
                    <a:pt x="2047" y="312"/>
                    <a:pt x="2047" y="312"/>
                  </a:cubicBezTo>
                  <a:moveTo>
                    <a:pt x="2067" y="312"/>
                  </a:moveTo>
                  <a:cubicBezTo>
                    <a:pt x="2055" y="312"/>
                    <a:pt x="2055" y="312"/>
                    <a:pt x="2055" y="312"/>
                  </a:cubicBezTo>
                  <a:cubicBezTo>
                    <a:pt x="2055" y="316"/>
                    <a:pt x="2055" y="316"/>
                    <a:pt x="2055" y="316"/>
                  </a:cubicBezTo>
                  <a:cubicBezTo>
                    <a:pt x="2067" y="316"/>
                    <a:pt x="2067" y="316"/>
                    <a:pt x="2067" y="316"/>
                  </a:cubicBezTo>
                  <a:cubicBezTo>
                    <a:pt x="2067" y="312"/>
                    <a:pt x="2067" y="312"/>
                    <a:pt x="2067" y="312"/>
                  </a:cubicBezTo>
                  <a:moveTo>
                    <a:pt x="2087" y="312"/>
                  </a:moveTo>
                  <a:cubicBezTo>
                    <a:pt x="2075" y="312"/>
                    <a:pt x="2075" y="312"/>
                    <a:pt x="2075" y="312"/>
                  </a:cubicBezTo>
                  <a:cubicBezTo>
                    <a:pt x="2075" y="316"/>
                    <a:pt x="2075" y="316"/>
                    <a:pt x="2075" y="316"/>
                  </a:cubicBezTo>
                  <a:cubicBezTo>
                    <a:pt x="2087" y="316"/>
                    <a:pt x="2087" y="316"/>
                    <a:pt x="2087" y="316"/>
                  </a:cubicBezTo>
                  <a:cubicBezTo>
                    <a:pt x="2087" y="312"/>
                    <a:pt x="2087" y="312"/>
                    <a:pt x="2087" y="312"/>
                  </a:cubicBezTo>
                  <a:moveTo>
                    <a:pt x="2107" y="312"/>
                  </a:moveTo>
                  <a:cubicBezTo>
                    <a:pt x="2095" y="312"/>
                    <a:pt x="2095" y="312"/>
                    <a:pt x="2095" y="312"/>
                  </a:cubicBezTo>
                  <a:cubicBezTo>
                    <a:pt x="2095" y="316"/>
                    <a:pt x="2095" y="316"/>
                    <a:pt x="2095" y="316"/>
                  </a:cubicBezTo>
                  <a:cubicBezTo>
                    <a:pt x="2107" y="316"/>
                    <a:pt x="2107" y="316"/>
                    <a:pt x="2107" y="316"/>
                  </a:cubicBezTo>
                  <a:cubicBezTo>
                    <a:pt x="2107" y="312"/>
                    <a:pt x="2107" y="312"/>
                    <a:pt x="2107" y="312"/>
                  </a:cubicBezTo>
                  <a:moveTo>
                    <a:pt x="2127" y="312"/>
                  </a:moveTo>
                  <a:cubicBezTo>
                    <a:pt x="2115" y="312"/>
                    <a:pt x="2115" y="312"/>
                    <a:pt x="2115" y="312"/>
                  </a:cubicBezTo>
                  <a:cubicBezTo>
                    <a:pt x="2115" y="316"/>
                    <a:pt x="2115" y="316"/>
                    <a:pt x="2115" y="316"/>
                  </a:cubicBezTo>
                  <a:cubicBezTo>
                    <a:pt x="2127" y="316"/>
                    <a:pt x="2127" y="316"/>
                    <a:pt x="2127" y="316"/>
                  </a:cubicBezTo>
                  <a:cubicBezTo>
                    <a:pt x="2127" y="312"/>
                    <a:pt x="2127" y="312"/>
                    <a:pt x="2127" y="312"/>
                  </a:cubicBezTo>
                  <a:moveTo>
                    <a:pt x="2147" y="312"/>
                  </a:moveTo>
                  <a:cubicBezTo>
                    <a:pt x="2135" y="312"/>
                    <a:pt x="2135" y="312"/>
                    <a:pt x="2135" y="312"/>
                  </a:cubicBezTo>
                  <a:cubicBezTo>
                    <a:pt x="2135" y="316"/>
                    <a:pt x="2135" y="316"/>
                    <a:pt x="2135" y="316"/>
                  </a:cubicBezTo>
                  <a:cubicBezTo>
                    <a:pt x="2147" y="316"/>
                    <a:pt x="2147" y="316"/>
                    <a:pt x="2147" y="316"/>
                  </a:cubicBezTo>
                  <a:cubicBezTo>
                    <a:pt x="2147" y="312"/>
                    <a:pt x="2147" y="312"/>
                    <a:pt x="2147" y="312"/>
                  </a:cubicBezTo>
                  <a:moveTo>
                    <a:pt x="2167" y="312"/>
                  </a:moveTo>
                  <a:cubicBezTo>
                    <a:pt x="2155" y="312"/>
                    <a:pt x="2155" y="312"/>
                    <a:pt x="2155" y="312"/>
                  </a:cubicBezTo>
                  <a:cubicBezTo>
                    <a:pt x="2155" y="316"/>
                    <a:pt x="2155" y="316"/>
                    <a:pt x="2155" y="316"/>
                  </a:cubicBezTo>
                  <a:cubicBezTo>
                    <a:pt x="2167" y="316"/>
                    <a:pt x="2167" y="316"/>
                    <a:pt x="2167" y="316"/>
                  </a:cubicBezTo>
                  <a:cubicBezTo>
                    <a:pt x="2167" y="312"/>
                    <a:pt x="2167" y="312"/>
                    <a:pt x="2167" y="312"/>
                  </a:cubicBezTo>
                  <a:moveTo>
                    <a:pt x="2187" y="312"/>
                  </a:moveTo>
                  <a:cubicBezTo>
                    <a:pt x="2175" y="312"/>
                    <a:pt x="2175" y="312"/>
                    <a:pt x="2175" y="312"/>
                  </a:cubicBezTo>
                  <a:cubicBezTo>
                    <a:pt x="2175" y="316"/>
                    <a:pt x="2175" y="316"/>
                    <a:pt x="2175" y="316"/>
                  </a:cubicBezTo>
                  <a:cubicBezTo>
                    <a:pt x="2187" y="316"/>
                    <a:pt x="2187" y="316"/>
                    <a:pt x="2187" y="316"/>
                  </a:cubicBezTo>
                  <a:cubicBezTo>
                    <a:pt x="2187" y="312"/>
                    <a:pt x="2187" y="312"/>
                    <a:pt x="2187" y="312"/>
                  </a:cubicBezTo>
                  <a:moveTo>
                    <a:pt x="2207" y="312"/>
                  </a:moveTo>
                  <a:cubicBezTo>
                    <a:pt x="2195" y="312"/>
                    <a:pt x="2195" y="312"/>
                    <a:pt x="2195" y="312"/>
                  </a:cubicBezTo>
                  <a:cubicBezTo>
                    <a:pt x="2195" y="316"/>
                    <a:pt x="2195" y="316"/>
                    <a:pt x="2195" y="316"/>
                  </a:cubicBezTo>
                  <a:cubicBezTo>
                    <a:pt x="2207" y="316"/>
                    <a:pt x="2207" y="316"/>
                    <a:pt x="2207" y="316"/>
                  </a:cubicBezTo>
                  <a:cubicBezTo>
                    <a:pt x="2207" y="312"/>
                    <a:pt x="2207" y="312"/>
                    <a:pt x="2207" y="312"/>
                  </a:cubicBezTo>
                  <a:moveTo>
                    <a:pt x="2227" y="312"/>
                  </a:moveTo>
                  <a:cubicBezTo>
                    <a:pt x="2215" y="312"/>
                    <a:pt x="2215" y="312"/>
                    <a:pt x="2215" y="312"/>
                  </a:cubicBezTo>
                  <a:cubicBezTo>
                    <a:pt x="2215" y="316"/>
                    <a:pt x="2215" y="316"/>
                    <a:pt x="2215" y="316"/>
                  </a:cubicBezTo>
                  <a:cubicBezTo>
                    <a:pt x="2227" y="316"/>
                    <a:pt x="2227" y="316"/>
                    <a:pt x="2227" y="316"/>
                  </a:cubicBezTo>
                  <a:cubicBezTo>
                    <a:pt x="2227" y="312"/>
                    <a:pt x="2227" y="312"/>
                    <a:pt x="2227" y="312"/>
                  </a:cubicBezTo>
                  <a:moveTo>
                    <a:pt x="2247" y="312"/>
                  </a:moveTo>
                  <a:cubicBezTo>
                    <a:pt x="2235" y="312"/>
                    <a:pt x="2235" y="312"/>
                    <a:pt x="2235" y="312"/>
                  </a:cubicBezTo>
                  <a:cubicBezTo>
                    <a:pt x="2235" y="316"/>
                    <a:pt x="2235" y="316"/>
                    <a:pt x="2235" y="316"/>
                  </a:cubicBezTo>
                  <a:cubicBezTo>
                    <a:pt x="2247" y="316"/>
                    <a:pt x="2247" y="316"/>
                    <a:pt x="2247" y="316"/>
                  </a:cubicBezTo>
                  <a:cubicBezTo>
                    <a:pt x="2247" y="312"/>
                    <a:pt x="2247" y="312"/>
                    <a:pt x="2247" y="312"/>
                  </a:cubicBezTo>
                  <a:moveTo>
                    <a:pt x="2267" y="312"/>
                  </a:moveTo>
                  <a:cubicBezTo>
                    <a:pt x="2255" y="312"/>
                    <a:pt x="2255" y="312"/>
                    <a:pt x="2255" y="312"/>
                  </a:cubicBezTo>
                  <a:cubicBezTo>
                    <a:pt x="2255" y="316"/>
                    <a:pt x="2255" y="316"/>
                    <a:pt x="2255" y="316"/>
                  </a:cubicBezTo>
                  <a:cubicBezTo>
                    <a:pt x="2267" y="316"/>
                    <a:pt x="2267" y="316"/>
                    <a:pt x="2267" y="316"/>
                  </a:cubicBezTo>
                  <a:cubicBezTo>
                    <a:pt x="2267" y="312"/>
                    <a:pt x="2267" y="312"/>
                    <a:pt x="2267" y="312"/>
                  </a:cubicBezTo>
                  <a:moveTo>
                    <a:pt x="2287" y="312"/>
                  </a:moveTo>
                  <a:cubicBezTo>
                    <a:pt x="2275" y="312"/>
                    <a:pt x="2275" y="312"/>
                    <a:pt x="2275" y="312"/>
                  </a:cubicBezTo>
                  <a:cubicBezTo>
                    <a:pt x="2275" y="316"/>
                    <a:pt x="2275" y="316"/>
                    <a:pt x="2275" y="316"/>
                  </a:cubicBezTo>
                  <a:cubicBezTo>
                    <a:pt x="2287" y="316"/>
                    <a:pt x="2287" y="316"/>
                    <a:pt x="2287" y="316"/>
                  </a:cubicBezTo>
                  <a:cubicBezTo>
                    <a:pt x="2287" y="312"/>
                    <a:pt x="2287" y="312"/>
                    <a:pt x="2287" y="312"/>
                  </a:cubicBezTo>
                  <a:moveTo>
                    <a:pt x="2307" y="313"/>
                  </a:moveTo>
                  <a:cubicBezTo>
                    <a:pt x="2304" y="312"/>
                    <a:pt x="2300" y="312"/>
                    <a:pt x="2296" y="312"/>
                  </a:cubicBezTo>
                  <a:cubicBezTo>
                    <a:pt x="2295" y="312"/>
                    <a:pt x="2295" y="312"/>
                    <a:pt x="2295" y="312"/>
                  </a:cubicBezTo>
                  <a:cubicBezTo>
                    <a:pt x="2295" y="316"/>
                    <a:pt x="2295" y="316"/>
                    <a:pt x="2295" y="316"/>
                  </a:cubicBezTo>
                  <a:cubicBezTo>
                    <a:pt x="2296" y="316"/>
                    <a:pt x="2296" y="316"/>
                    <a:pt x="2296" y="316"/>
                  </a:cubicBezTo>
                  <a:cubicBezTo>
                    <a:pt x="2300" y="316"/>
                    <a:pt x="2303" y="316"/>
                    <a:pt x="2307" y="317"/>
                  </a:cubicBezTo>
                  <a:cubicBezTo>
                    <a:pt x="2307" y="313"/>
                    <a:pt x="2307" y="313"/>
                    <a:pt x="2307" y="313"/>
                  </a:cubicBezTo>
                  <a:cubicBezTo>
                    <a:pt x="2307" y="313"/>
                    <a:pt x="2307" y="313"/>
                    <a:pt x="2307" y="313"/>
                  </a:cubicBezTo>
                  <a:moveTo>
                    <a:pt x="2327" y="316"/>
                  </a:moveTo>
                  <a:cubicBezTo>
                    <a:pt x="2323" y="315"/>
                    <a:pt x="2319" y="314"/>
                    <a:pt x="2315" y="313"/>
                  </a:cubicBezTo>
                  <a:cubicBezTo>
                    <a:pt x="2315" y="317"/>
                    <a:pt x="2315" y="317"/>
                    <a:pt x="2315" y="317"/>
                  </a:cubicBezTo>
                  <a:cubicBezTo>
                    <a:pt x="2318" y="318"/>
                    <a:pt x="2322" y="319"/>
                    <a:pt x="2326" y="320"/>
                  </a:cubicBezTo>
                  <a:cubicBezTo>
                    <a:pt x="2327" y="316"/>
                    <a:pt x="2327" y="316"/>
                    <a:pt x="2327" y="316"/>
                  </a:cubicBezTo>
                  <a:moveTo>
                    <a:pt x="2346" y="322"/>
                  </a:moveTo>
                  <a:cubicBezTo>
                    <a:pt x="2343" y="320"/>
                    <a:pt x="2339" y="319"/>
                    <a:pt x="2335" y="318"/>
                  </a:cubicBezTo>
                  <a:cubicBezTo>
                    <a:pt x="2334" y="322"/>
                    <a:pt x="2334" y="322"/>
                    <a:pt x="2334" y="322"/>
                  </a:cubicBezTo>
                  <a:cubicBezTo>
                    <a:pt x="2337" y="323"/>
                    <a:pt x="2341" y="324"/>
                    <a:pt x="2345" y="326"/>
                  </a:cubicBezTo>
                  <a:cubicBezTo>
                    <a:pt x="2346" y="322"/>
                    <a:pt x="2346" y="322"/>
                    <a:pt x="2346" y="322"/>
                  </a:cubicBezTo>
                  <a:moveTo>
                    <a:pt x="2364" y="331"/>
                  </a:moveTo>
                  <a:cubicBezTo>
                    <a:pt x="2361" y="329"/>
                    <a:pt x="2357" y="327"/>
                    <a:pt x="2354" y="325"/>
                  </a:cubicBezTo>
                  <a:cubicBezTo>
                    <a:pt x="2352" y="329"/>
                    <a:pt x="2352" y="329"/>
                    <a:pt x="2352" y="329"/>
                  </a:cubicBezTo>
                  <a:cubicBezTo>
                    <a:pt x="2355" y="331"/>
                    <a:pt x="2359" y="333"/>
                    <a:pt x="2362" y="335"/>
                  </a:cubicBezTo>
                  <a:cubicBezTo>
                    <a:pt x="2364" y="331"/>
                    <a:pt x="2364" y="331"/>
                    <a:pt x="2364" y="331"/>
                  </a:cubicBezTo>
                  <a:moveTo>
                    <a:pt x="2381" y="343"/>
                  </a:moveTo>
                  <a:cubicBezTo>
                    <a:pt x="2378" y="341"/>
                    <a:pt x="2374" y="338"/>
                    <a:pt x="2371" y="336"/>
                  </a:cubicBezTo>
                  <a:cubicBezTo>
                    <a:pt x="2369" y="339"/>
                    <a:pt x="2369" y="339"/>
                    <a:pt x="2369" y="339"/>
                  </a:cubicBezTo>
                  <a:cubicBezTo>
                    <a:pt x="2372" y="341"/>
                    <a:pt x="2375" y="344"/>
                    <a:pt x="2378" y="346"/>
                  </a:cubicBezTo>
                  <a:cubicBezTo>
                    <a:pt x="2381" y="343"/>
                    <a:pt x="2381" y="343"/>
                    <a:pt x="2381" y="343"/>
                  </a:cubicBezTo>
                  <a:moveTo>
                    <a:pt x="2395" y="357"/>
                  </a:moveTo>
                  <a:cubicBezTo>
                    <a:pt x="2393" y="354"/>
                    <a:pt x="2390" y="351"/>
                    <a:pt x="2387" y="349"/>
                  </a:cubicBezTo>
                  <a:cubicBezTo>
                    <a:pt x="2384" y="352"/>
                    <a:pt x="2384" y="352"/>
                    <a:pt x="2384" y="352"/>
                  </a:cubicBezTo>
                  <a:cubicBezTo>
                    <a:pt x="2387" y="354"/>
                    <a:pt x="2390" y="357"/>
                    <a:pt x="2392" y="360"/>
                  </a:cubicBezTo>
                  <a:cubicBezTo>
                    <a:pt x="2395" y="357"/>
                    <a:pt x="2395" y="357"/>
                    <a:pt x="2395" y="357"/>
                  </a:cubicBezTo>
                  <a:moveTo>
                    <a:pt x="2407" y="374"/>
                  </a:moveTo>
                  <a:cubicBezTo>
                    <a:pt x="2405" y="370"/>
                    <a:pt x="2403" y="367"/>
                    <a:pt x="2400" y="364"/>
                  </a:cubicBezTo>
                  <a:cubicBezTo>
                    <a:pt x="2397" y="366"/>
                    <a:pt x="2397" y="366"/>
                    <a:pt x="2397" y="366"/>
                  </a:cubicBezTo>
                  <a:cubicBezTo>
                    <a:pt x="2399" y="369"/>
                    <a:pt x="2402" y="373"/>
                    <a:pt x="2404" y="376"/>
                  </a:cubicBezTo>
                  <a:cubicBezTo>
                    <a:pt x="2407" y="374"/>
                    <a:pt x="2407" y="374"/>
                    <a:pt x="2407" y="374"/>
                  </a:cubicBezTo>
                  <a:moveTo>
                    <a:pt x="2416" y="392"/>
                  </a:moveTo>
                  <a:cubicBezTo>
                    <a:pt x="2415" y="388"/>
                    <a:pt x="2413" y="384"/>
                    <a:pt x="2411" y="381"/>
                  </a:cubicBezTo>
                  <a:cubicBezTo>
                    <a:pt x="2408" y="383"/>
                    <a:pt x="2408" y="383"/>
                    <a:pt x="2408" y="383"/>
                  </a:cubicBezTo>
                  <a:cubicBezTo>
                    <a:pt x="2410" y="386"/>
                    <a:pt x="2411" y="390"/>
                    <a:pt x="2413" y="393"/>
                  </a:cubicBezTo>
                  <a:cubicBezTo>
                    <a:pt x="2416" y="392"/>
                    <a:pt x="2416" y="392"/>
                    <a:pt x="2416" y="392"/>
                  </a:cubicBezTo>
                  <a:moveTo>
                    <a:pt x="2423" y="411"/>
                  </a:moveTo>
                  <a:cubicBezTo>
                    <a:pt x="2422" y="407"/>
                    <a:pt x="2421" y="403"/>
                    <a:pt x="2419" y="399"/>
                  </a:cubicBezTo>
                  <a:cubicBezTo>
                    <a:pt x="2416" y="401"/>
                    <a:pt x="2416" y="401"/>
                    <a:pt x="2416" y="401"/>
                  </a:cubicBezTo>
                  <a:cubicBezTo>
                    <a:pt x="2417" y="405"/>
                    <a:pt x="2418" y="408"/>
                    <a:pt x="2419" y="412"/>
                  </a:cubicBezTo>
                  <a:cubicBezTo>
                    <a:pt x="2423" y="411"/>
                    <a:pt x="2423" y="411"/>
                    <a:pt x="2423" y="411"/>
                  </a:cubicBezTo>
                  <a:cubicBezTo>
                    <a:pt x="2423" y="411"/>
                    <a:pt x="2423" y="411"/>
                    <a:pt x="2423" y="411"/>
                  </a:cubicBezTo>
                  <a:moveTo>
                    <a:pt x="2426" y="431"/>
                  </a:moveTo>
                  <a:cubicBezTo>
                    <a:pt x="2426" y="427"/>
                    <a:pt x="2425" y="423"/>
                    <a:pt x="2425" y="419"/>
                  </a:cubicBezTo>
                  <a:cubicBezTo>
                    <a:pt x="2421" y="420"/>
                    <a:pt x="2421" y="420"/>
                    <a:pt x="2421" y="420"/>
                  </a:cubicBezTo>
                  <a:cubicBezTo>
                    <a:pt x="2421" y="424"/>
                    <a:pt x="2422" y="428"/>
                    <a:pt x="2422" y="432"/>
                  </a:cubicBezTo>
                  <a:cubicBezTo>
                    <a:pt x="2426" y="431"/>
                    <a:pt x="2426" y="431"/>
                    <a:pt x="2426" y="431"/>
                  </a:cubicBezTo>
                  <a:moveTo>
                    <a:pt x="2426" y="451"/>
                  </a:moveTo>
                  <a:cubicBezTo>
                    <a:pt x="2426" y="448"/>
                    <a:pt x="2427" y="445"/>
                    <a:pt x="2427" y="442"/>
                  </a:cubicBezTo>
                  <a:cubicBezTo>
                    <a:pt x="2427" y="441"/>
                    <a:pt x="2427" y="440"/>
                    <a:pt x="2427" y="439"/>
                  </a:cubicBezTo>
                  <a:cubicBezTo>
                    <a:pt x="2423" y="439"/>
                    <a:pt x="2423" y="439"/>
                    <a:pt x="2423" y="439"/>
                  </a:cubicBezTo>
                  <a:cubicBezTo>
                    <a:pt x="2423" y="440"/>
                    <a:pt x="2423" y="441"/>
                    <a:pt x="2423" y="442"/>
                  </a:cubicBezTo>
                  <a:cubicBezTo>
                    <a:pt x="2423" y="445"/>
                    <a:pt x="2422" y="448"/>
                    <a:pt x="2422" y="451"/>
                  </a:cubicBezTo>
                  <a:cubicBezTo>
                    <a:pt x="2426" y="451"/>
                    <a:pt x="2426" y="451"/>
                    <a:pt x="2426" y="451"/>
                  </a:cubicBezTo>
                  <a:moveTo>
                    <a:pt x="2423" y="472"/>
                  </a:moveTo>
                  <a:cubicBezTo>
                    <a:pt x="2424" y="468"/>
                    <a:pt x="2425" y="464"/>
                    <a:pt x="2425" y="460"/>
                  </a:cubicBezTo>
                  <a:cubicBezTo>
                    <a:pt x="2421" y="459"/>
                    <a:pt x="2421" y="459"/>
                    <a:pt x="2421" y="459"/>
                  </a:cubicBezTo>
                  <a:cubicBezTo>
                    <a:pt x="2421" y="463"/>
                    <a:pt x="2420" y="467"/>
                    <a:pt x="2419" y="471"/>
                  </a:cubicBezTo>
                  <a:cubicBezTo>
                    <a:pt x="2423" y="472"/>
                    <a:pt x="2423" y="472"/>
                    <a:pt x="2423" y="472"/>
                  </a:cubicBezTo>
                  <a:cubicBezTo>
                    <a:pt x="2423" y="472"/>
                    <a:pt x="2423" y="472"/>
                    <a:pt x="2423" y="472"/>
                  </a:cubicBezTo>
                  <a:moveTo>
                    <a:pt x="2417" y="491"/>
                  </a:moveTo>
                  <a:cubicBezTo>
                    <a:pt x="2419" y="487"/>
                    <a:pt x="2420" y="483"/>
                    <a:pt x="2421" y="479"/>
                  </a:cubicBezTo>
                  <a:cubicBezTo>
                    <a:pt x="2417" y="478"/>
                    <a:pt x="2417" y="478"/>
                    <a:pt x="2417" y="478"/>
                  </a:cubicBezTo>
                  <a:cubicBezTo>
                    <a:pt x="2416" y="482"/>
                    <a:pt x="2415" y="486"/>
                    <a:pt x="2413" y="489"/>
                  </a:cubicBezTo>
                  <a:cubicBezTo>
                    <a:pt x="2417" y="491"/>
                    <a:pt x="2417" y="491"/>
                    <a:pt x="2417" y="491"/>
                  </a:cubicBezTo>
                  <a:moveTo>
                    <a:pt x="2408" y="509"/>
                  </a:moveTo>
                  <a:cubicBezTo>
                    <a:pt x="2410" y="506"/>
                    <a:pt x="2412" y="502"/>
                    <a:pt x="2414" y="498"/>
                  </a:cubicBezTo>
                  <a:cubicBezTo>
                    <a:pt x="2410" y="497"/>
                    <a:pt x="2410" y="497"/>
                    <a:pt x="2410" y="497"/>
                  </a:cubicBezTo>
                  <a:cubicBezTo>
                    <a:pt x="2409" y="500"/>
                    <a:pt x="2407" y="504"/>
                    <a:pt x="2405" y="507"/>
                  </a:cubicBezTo>
                  <a:cubicBezTo>
                    <a:pt x="2408" y="509"/>
                    <a:pt x="2408" y="509"/>
                    <a:pt x="2408" y="509"/>
                  </a:cubicBezTo>
                  <a:moveTo>
                    <a:pt x="2396" y="526"/>
                  </a:moveTo>
                  <a:cubicBezTo>
                    <a:pt x="2399" y="522"/>
                    <a:pt x="2401" y="519"/>
                    <a:pt x="2404" y="516"/>
                  </a:cubicBezTo>
                  <a:cubicBezTo>
                    <a:pt x="2400" y="514"/>
                    <a:pt x="2400" y="514"/>
                    <a:pt x="2400" y="514"/>
                  </a:cubicBezTo>
                  <a:cubicBezTo>
                    <a:pt x="2398" y="517"/>
                    <a:pt x="2396" y="520"/>
                    <a:pt x="2393" y="523"/>
                  </a:cubicBezTo>
                  <a:cubicBezTo>
                    <a:pt x="2396" y="526"/>
                    <a:pt x="2396" y="526"/>
                    <a:pt x="2396" y="526"/>
                  </a:cubicBezTo>
                  <a:moveTo>
                    <a:pt x="2382" y="540"/>
                  </a:moveTo>
                  <a:cubicBezTo>
                    <a:pt x="2385" y="537"/>
                    <a:pt x="2388" y="535"/>
                    <a:pt x="2391" y="532"/>
                  </a:cubicBezTo>
                  <a:cubicBezTo>
                    <a:pt x="2388" y="529"/>
                    <a:pt x="2388" y="529"/>
                    <a:pt x="2388" y="529"/>
                  </a:cubicBezTo>
                  <a:cubicBezTo>
                    <a:pt x="2385" y="532"/>
                    <a:pt x="2383" y="534"/>
                    <a:pt x="2380" y="537"/>
                  </a:cubicBezTo>
                  <a:cubicBezTo>
                    <a:pt x="2382" y="540"/>
                    <a:pt x="2382" y="540"/>
                    <a:pt x="2382" y="540"/>
                  </a:cubicBezTo>
                  <a:moveTo>
                    <a:pt x="2366" y="552"/>
                  </a:moveTo>
                  <a:cubicBezTo>
                    <a:pt x="2369" y="550"/>
                    <a:pt x="2373" y="548"/>
                    <a:pt x="2376" y="545"/>
                  </a:cubicBezTo>
                  <a:cubicBezTo>
                    <a:pt x="2374" y="542"/>
                    <a:pt x="2374" y="542"/>
                    <a:pt x="2374" y="542"/>
                  </a:cubicBezTo>
                  <a:cubicBezTo>
                    <a:pt x="2370" y="545"/>
                    <a:pt x="2367" y="547"/>
                    <a:pt x="2364" y="549"/>
                  </a:cubicBezTo>
                  <a:cubicBezTo>
                    <a:pt x="2366" y="552"/>
                    <a:pt x="2366" y="552"/>
                    <a:pt x="2366" y="552"/>
                  </a:cubicBezTo>
                  <a:moveTo>
                    <a:pt x="2348" y="562"/>
                  </a:moveTo>
                  <a:cubicBezTo>
                    <a:pt x="2352" y="560"/>
                    <a:pt x="2355" y="558"/>
                    <a:pt x="2359" y="556"/>
                  </a:cubicBezTo>
                  <a:cubicBezTo>
                    <a:pt x="2357" y="553"/>
                    <a:pt x="2357" y="553"/>
                    <a:pt x="2357" y="553"/>
                  </a:cubicBezTo>
                  <a:cubicBezTo>
                    <a:pt x="2354" y="555"/>
                    <a:pt x="2350" y="557"/>
                    <a:pt x="2346" y="558"/>
                  </a:cubicBezTo>
                  <a:cubicBezTo>
                    <a:pt x="2348" y="562"/>
                    <a:pt x="2348" y="562"/>
                    <a:pt x="2348" y="562"/>
                  </a:cubicBezTo>
                  <a:cubicBezTo>
                    <a:pt x="2348" y="562"/>
                    <a:pt x="2348" y="562"/>
                    <a:pt x="2348" y="562"/>
                  </a:cubicBezTo>
                  <a:moveTo>
                    <a:pt x="2329" y="568"/>
                  </a:moveTo>
                  <a:cubicBezTo>
                    <a:pt x="2333" y="567"/>
                    <a:pt x="2337" y="566"/>
                    <a:pt x="2340" y="565"/>
                  </a:cubicBezTo>
                  <a:cubicBezTo>
                    <a:pt x="2339" y="561"/>
                    <a:pt x="2339" y="561"/>
                    <a:pt x="2339" y="561"/>
                  </a:cubicBezTo>
                  <a:cubicBezTo>
                    <a:pt x="2335" y="562"/>
                    <a:pt x="2332" y="563"/>
                    <a:pt x="2328" y="564"/>
                  </a:cubicBezTo>
                  <a:cubicBezTo>
                    <a:pt x="2329" y="568"/>
                    <a:pt x="2329" y="568"/>
                    <a:pt x="2329" y="568"/>
                  </a:cubicBezTo>
                  <a:moveTo>
                    <a:pt x="2309" y="572"/>
                  </a:moveTo>
                  <a:cubicBezTo>
                    <a:pt x="2313" y="571"/>
                    <a:pt x="2317" y="571"/>
                    <a:pt x="2321" y="570"/>
                  </a:cubicBezTo>
                  <a:cubicBezTo>
                    <a:pt x="2320" y="566"/>
                    <a:pt x="2320" y="566"/>
                    <a:pt x="2320" y="566"/>
                  </a:cubicBezTo>
                  <a:cubicBezTo>
                    <a:pt x="2316" y="567"/>
                    <a:pt x="2312" y="567"/>
                    <a:pt x="2308" y="568"/>
                  </a:cubicBezTo>
                  <a:cubicBezTo>
                    <a:pt x="2309" y="572"/>
                    <a:pt x="2309" y="572"/>
                    <a:pt x="2309" y="572"/>
                  </a:cubicBezTo>
                  <a:cubicBezTo>
                    <a:pt x="2309" y="572"/>
                    <a:pt x="2309" y="572"/>
                    <a:pt x="2309" y="572"/>
                  </a:cubicBezTo>
                  <a:moveTo>
                    <a:pt x="2289" y="572"/>
                  </a:moveTo>
                  <a:cubicBezTo>
                    <a:pt x="2296" y="572"/>
                    <a:pt x="2296" y="572"/>
                    <a:pt x="2296" y="572"/>
                  </a:cubicBezTo>
                  <a:cubicBezTo>
                    <a:pt x="2298" y="572"/>
                    <a:pt x="2299" y="572"/>
                    <a:pt x="2301" y="572"/>
                  </a:cubicBezTo>
                  <a:cubicBezTo>
                    <a:pt x="2301" y="568"/>
                    <a:pt x="2301" y="568"/>
                    <a:pt x="2301" y="568"/>
                  </a:cubicBezTo>
                  <a:cubicBezTo>
                    <a:pt x="2299" y="568"/>
                    <a:pt x="2298" y="568"/>
                    <a:pt x="2296" y="568"/>
                  </a:cubicBezTo>
                  <a:cubicBezTo>
                    <a:pt x="2289" y="568"/>
                    <a:pt x="2289" y="568"/>
                    <a:pt x="2289" y="568"/>
                  </a:cubicBezTo>
                  <a:cubicBezTo>
                    <a:pt x="2289" y="572"/>
                    <a:pt x="2289" y="572"/>
                    <a:pt x="2289" y="572"/>
                  </a:cubicBezTo>
                  <a:moveTo>
                    <a:pt x="2269" y="572"/>
                  </a:moveTo>
                  <a:cubicBezTo>
                    <a:pt x="2281" y="572"/>
                    <a:pt x="2281" y="572"/>
                    <a:pt x="2281" y="572"/>
                  </a:cubicBezTo>
                  <a:cubicBezTo>
                    <a:pt x="2281" y="568"/>
                    <a:pt x="2281" y="568"/>
                    <a:pt x="2281" y="568"/>
                  </a:cubicBezTo>
                  <a:cubicBezTo>
                    <a:pt x="2269" y="568"/>
                    <a:pt x="2269" y="568"/>
                    <a:pt x="2269" y="568"/>
                  </a:cubicBezTo>
                  <a:cubicBezTo>
                    <a:pt x="2269" y="572"/>
                    <a:pt x="2269" y="572"/>
                    <a:pt x="2269" y="572"/>
                  </a:cubicBezTo>
                  <a:moveTo>
                    <a:pt x="2249" y="572"/>
                  </a:moveTo>
                  <a:cubicBezTo>
                    <a:pt x="2261" y="572"/>
                    <a:pt x="2261" y="572"/>
                    <a:pt x="2261" y="572"/>
                  </a:cubicBezTo>
                  <a:cubicBezTo>
                    <a:pt x="2261" y="568"/>
                    <a:pt x="2261" y="568"/>
                    <a:pt x="2261" y="568"/>
                  </a:cubicBezTo>
                  <a:cubicBezTo>
                    <a:pt x="2249" y="568"/>
                    <a:pt x="2249" y="568"/>
                    <a:pt x="2249" y="568"/>
                  </a:cubicBezTo>
                  <a:cubicBezTo>
                    <a:pt x="2249" y="572"/>
                    <a:pt x="2249" y="572"/>
                    <a:pt x="2249" y="572"/>
                  </a:cubicBezTo>
                  <a:moveTo>
                    <a:pt x="2229" y="572"/>
                  </a:moveTo>
                  <a:cubicBezTo>
                    <a:pt x="2241" y="572"/>
                    <a:pt x="2241" y="572"/>
                    <a:pt x="2241" y="572"/>
                  </a:cubicBezTo>
                  <a:cubicBezTo>
                    <a:pt x="2241" y="568"/>
                    <a:pt x="2241" y="568"/>
                    <a:pt x="2241" y="568"/>
                  </a:cubicBezTo>
                  <a:cubicBezTo>
                    <a:pt x="2229" y="568"/>
                    <a:pt x="2229" y="568"/>
                    <a:pt x="2229" y="568"/>
                  </a:cubicBezTo>
                  <a:cubicBezTo>
                    <a:pt x="2229" y="572"/>
                    <a:pt x="2229" y="572"/>
                    <a:pt x="2229" y="572"/>
                  </a:cubicBezTo>
                  <a:moveTo>
                    <a:pt x="2209" y="572"/>
                  </a:moveTo>
                  <a:cubicBezTo>
                    <a:pt x="2221" y="572"/>
                    <a:pt x="2221" y="572"/>
                    <a:pt x="2221" y="572"/>
                  </a:cubicBezTo>
                  <a:cubicBezTo>
                    <a:pt x="2221" y="568"/>
                    <a:pt x="2221" y="568"/>
                    <a:pt x="2221" y="568"/>
                  </a:cubicBezTo>
                  <a:cubicBezTo>
                    <a:pt x="2209" y="568"/>
                    <a:pt x="2209" y="568"/>
                    <a:pt x="2209" y="568"/>
                  </a:cubicBezTo>
                  <a:cubicBezTo>
                    <a:pt x="2209" y="572"/>
                    <a:pt x="2209" y="572"/>
                    <a:pt x="2209" y="572"/>
                  </a:cubicBezTo>
                  <a:moveTo>
                    <a:pt x="2189" y="572"/>
                  </a:moveTo>
                  <a:cubicBezTo>
                    <a:pt x="2201" y="572"/>
                    <a:pt x="2201" y="572"/>
                    <a:pt x="2201" y="572"/>
                  </a:cubicBezTo>
                  <a:cubicBezTo>
                    <a:pt x="2201" y="568"/>
                    <a:pt x="2201" y="568"/>
                    <a:pt x="2201" y="568"/>
                  </a:cubicBezTo>
                  <a:cubicBezTo>
                    <a:pt x="2189" y="568"/>
                    <a:pt x="2189" y="568"/>
                    <a:pt x="2189" y="568"/>
                  </a:cubicBezTo>
                  <a:cubicBezTo>
                    <a:pt x="2189" y="572"/>
                    <a:pt x="2189" y="572"/>
                    <a:pt x="2189" y="572"/>
                  </a:cubicBezTo>
                  <a:moveTo>
                    <a:pt x="2169" y="572"/>
                  </a:moveTo>
                  <a:cubicBezTo>
                    <a:pt x="2181" y="572"/>
                    <a:pt x="2181" y="572"/>
                    <a:pt x="2181" y="572"/>
                  </a:cubicBezTo>
                  <a:cubicBezTo>
                    <a:pt x="2181" y="568"/>
                    <a:pt x="2181" y="568"/>
                    <a:pt x="2181" y="568"/>
                  </a:cubicBezTo>
                  <a:cubicBezTo>
                    <a:pt x="2169" y="568"/>
                    <a:pt x="2169" y="568"/>
                    <a:pt x="2169" y="568"/>
                  </a:cubicBezTo>
                  <a:cubicBezTo>
                    <a:pt x="2169" y="572"/>
                    <a:pt x="2169" y="572"/>
                    <a:pt x="2169" y="572"/>
                  </a:cubicBezTo>
                  <a:moveTo>
                    <a:pt x="2149" y="572"/>
                  </a:moveTo>
                  <a:cubicBezTo>
                    <a:pt x="2161" y="572"/>
                    <a:pt x="2161" y="572"/>
                    <a:pt x="2161" y="572"/>
                  </a:cubicBezTo>
                  <a:cubicBezTo>
                    <a:pt x="2161" y="568"/>
                    <a:pt x="2161" y="568"/>
                    <a:pt x="2161" y="568"/>
                  </a:cubicBezTo>
                  <a:cubicBezTo>
                    <a:pt x="2149" y="568"/>
                    <a:pt x="2149" y="568"/>
                    <a:pt x="2149" y="568"/>
                  </a:cubicBezTo>
                  <a:cubicBezTo>
                    <a:pt x="2149" y="572"/>
                    <a:pt x="2149" y="572"/>
                    <a:pt x="2149" y="572"/>
                  </a:cubicBezTo>
                  <a:moveTo>
                    <a:pt x="2129" y="572"/>
                  </a:moveTo>
                  <a:cubicBezTo>
                    <a:pt x="2141" y="572"/>
                    <a:pt x="2141" y="572"/>
                    <a:pt x="2141" y="572"/>
                  </a:cubicBezTo>
                  <a:cubicBezTo>
                    <a:pt x="2141" y="568"/>
                    <a:pt x="2141" y="568"/>
                    <a:pt x="2141" y="568"/>
                  </a:cubicBezTo>
                  <a:cubicBezTo>
                    <a:pt x="2129" y="568"/>
                    <a:pt x="2129" y="568"/>
                    <a:pt x="2129" y="568"/>
                  </a:cubicBezTo>
                  <a:cubicBezTo>
                    <a:pt x="2129" y="572"/>
                    <a:pt x="2129" y="572"/>
                    <a:pt x="2129" y="572"/>
                  </a:cubicBezTo>
                  <a:moveTo>
                    <a:pt x="2109" y="572"/>
                  </a:moveTo>
                  <a:cubicBezTo>
                    <a:pt x="2121" y="572"/>
                    <a:pt x="2121" y="572"/>
                    <a:pt x="2121" y="572"/>
                  </a:cubicBezTo>
                  <a:cubicBezTo>
                    <a:pt x="2121" y="568"/>
                    <a:pt x="2121" y="568"/>
                    <a:pt x="2121" y="568"/>
                  </a:cubicBezTo>
                  <a:cubicBezTo>
                    <a:pt x="2109" y="568"/>
                    <a:pt x="2109" y="568"/>
                    <a:pt x="2109" y="568"/>
                  </a:cubicBezTo>
                  <a:cubicBezTo>
                    <a:pt x="2109" y="572"/>
                    <a:pt x="2109" y="572"/>
                    <a:pt x="2109" y="572"/>
                  </a:cubicBezTo>
                  <a:moveTo>
                    <a:pt x="2089" y="572"/>
                  </a:moveTo>
                  <a:cubicBezTo>
                    <a:pt x="2101" y="572"/>
                    <a:pt x="2101" y="572"/>
                    <a:pt x="2101" y="572"/>
                  </a:cubicBezTo>
                  <a:cubicBezTo>
                    <a:pt x="2101" y="568"/>
                    <a:pt x="2101" y="568"/>
                    <a:pt x="2101" y="568"/>
                  </a:cubicBezTo>
                  <a:cubicBezTo>
                    <a:pt x="2089" y="568"/>
                    <a:pt x="2089" y="568"/>
                    <a:pt x="2089" y="568"/>
                  </a:cubicBezTo>
                  <a:cubicBezTo>
                    <a:pt x="2089" y="572"/>
                    <a:pt x="2089" y="572"/>
                    <a:pt x="2089" y="572"/>
                  </a:cubicBezTo>
                  <a:moveTo>
                    <a:pt x="2069" y="572"/>
                  </a:moveTo>
                  <a:cubicBezTo>
                    <a:pt x="2081" y="572"/>
                    <a:pt x="2081" y="572"/>
                    <a:pt x="2081" y="572"/>
                  </a:cubicBezTo>
                  <a:cubicBezTo>
                    <a:pt x="2081" y="568"/>
                    <a:pt x="2081" y="568"/>
                    <a:pt x="2081" y="568"/>
                  </a:cubicBezTo>
                  <a:cubicBezTo>
                    <a:pt x="2069" y="568"/>
                    <a:pt x="2069" y="568"/>
                    <a:pt x="2069" y="568"/>
                  </a:cubicBezTo>
                  <a:cubicBezTo>
                    <a:pt x="2069" y="572"/>
                    <a:pt x="2069" y="572"/>
                    <a:pt x="2069" y="572"/>
                  </a:cubicBezTo>
                  <a:moveTo>
                    <a:pt x="2049" y="572"/>
                  </a:moveTo>
                  <a:cubicBezTo>
                    <a:pt x="2061" y="572"/>
                    <a:pt x="2061" y="572"/>
                    <a:pt x="2061" y="572"/>
                  </a:cubicBezTo>
                  <a:cubicBezTo>
                    <a:pt x="2061" y="568"/>
                    <a:pt x="2061" y="568"/>
                    <a:pt x="2061" y="568"/>
                  </a:cubicBezTo>
                  <a:cubicBezTo>
                    <a:pt x="2049" y="568"/>
                    <a:pt x="2049" y="568"/>
                    <a:pt x="2049" y="568"/>
                  </a:cubicBezTo>
                  <a:cubicBezTo>
                    <a:pt x="2049" y="572"/>
                    <a:pt x="2049" y="572"/>
                    <a:pt x="2049" y="572"/>
                  </a:cubicBezTo>
                  <a:moveTo>
                    <a:pt x="2029" y="572"/>
                  </a:moveTo>
                  <a:cubicBezTo>
                    <a:pt x="2041" y="572"/>
                    <a:pt x="2041" y="572"/>
                    <a:pt x="2041" y="572"/>
                  </a:cubicBezTo>
                  <a:cubicBezTo>
                    <a:pt x="2041" y="568"/>
                    <a:pt x="2041" y="568"/>
                    <a:pt x="2041" y="568"/>
                  </a:cubicBezTo>
                  <a:cubicBezTo>
                    <a:pt x="2029" y="568"/>
                    <a:pt x="2029" y="568"/>
                    <a:pt x="2029" y="568"/>
                  </a:cubicBezTo>
                  <a:cubicBezTo>
                    <a:pt x="2029" y="572"/>
                    <a:pt x="2029" y="572"/>
                    <a:pt x="2029" y="572"/>
                  </a:cubicBezTo>
                  <a:moveTo>
                    <a:pt x="2009" y="572"/>
                  </a:moveTo>
                  <a:cubicBezTo>
                    <a:pt x="2021" y="572"/>
                    <a:pt x="2021" y="572"/>
                    <a:pt x="2021" y="572"/>
                  </a:cubicBezTo>
                  <a:cubicBezTo>
                    <a:pt x="2021" y="568"/>
                    <a:pt x="2021" y="568"/>
                    <a:pt x="2021" y="568"/>
                  </a:cubicBezTo>
                  <a:cubicBezTo>
                    <a:pt x="2009" y="568"/>
                    <a:pt x="2009" y="568"/>
                    <a:pt x="2009" y="568"/>
                  </a:cubicBezTo>
                  <a:cubicBezTo>
                    <a:pt x="2009" y="572"/>
                    <a:pt x="2009" y="572"/>
                    <a:pt x="2009" y="572"/>
                  </a:cubicBezTo>
                  <a:moveTo>
                    <a:pt x="1989" y="572"/>
                  </a:moveTo>
                  <a:cubicBezTo>
                    <a:pt x="2001" y="572"/>
                    <a:pt x="2001" y="572"/>
                    <a:pt x="2001" y="572"/>
                  </a:cubicBezTo>
                  <a:cubicBezTo>
                    <a:pt x="2001" y="568"/>
                    <a:pt x="2001" y="568"/>
                    <a:pt x="2001" y="568"/>
                  </a:cubicBezTo>
                  <a:cubicBezTo>
                    <a:pt x="1989" y="568"/>
                    <a:pt x="1989" y="568"/>
                    <a:pt x="1989" y="568"/>
                  </a:cubicBezTo>
                  <a:cubicBezTo>
                    <a:pt x="1989" y="572"/>
                    <a:pt x="1989" y="572"/>
                    <a:pt x="1989" y="572"/>
                  </a:cubicBezTo>
                  <a:moveTo>
                    <a:pt x="1969" y="572"/>
                  </a:moveTo>
                  <a:cubicBezTo>
                    <a:pt x="1981" y="572"/>
                    <a:pt x="1981" y="572"/>
                    <a:pt x="1981" y="572"/>
                  </a:cubicBezTo>
                  <a:cubicBezTo>
                    <a:pt x="1981" y="568"/>
                    <a:pt x="1981" y="568"/>
                    <a:pt x="1981" y="568"/>
                  </a:cubicBezTo>
                  <a:cubicBezTo>
                    <a:pt x="1969" y="568"/>
                    <a:pt x="1969" y="568"/>
                    <a:pt x="1969" y="568"/>
                  </a:cubicBezTo>
                  <a:cubicBezTo>
                    <a:pt x="1969" y="572"/>
                    <a:pt x="1969" y="572"/>
                    <a:pt x="1969" y="572"/>
                  </a:cubicBezTo>
                  <a:moveTo>
                    <a:pt x="1949" y="572"/>
                  </a:moveTo>
                  <a:cubicBezTo>
                    <a:pt x="1961" y="572"/>
                    <a:pt x="1961" y="572"/>
                    <a:pt x="1961" y="572"/>
                  </a:cubicBezTo>
                  <a:cubicBezTo>
                    <a:pt x="1961" y="568"/>
                    <a:pt x="1961" y="568"/>
                    <a:pt x="1961" y="568"/>
                  </a:cubicBezTo>
                  <a:cubicBezTo>
                    <a:pt x="1949" y="568"/>
                    <a:pt x="1949" y="568"/>
                    <a:pt x="1949" y="568"/>
                  </a:cubicBezTo>
                  <a:cubicBezTo>
                    <a:pt x="1949" y="572"/>
                    <a:pt x="1949" y="572"/>
                    <a:pt x="1949" y="572"/>
                  </a:cubicBezTo>
                  <a:moveTo>
                    <a:pt x="1929" y="572"/>
                  </a:moveTo>
                  <a:cubicBezTo>
                    <a:pt x="1941" y="572"/>
                    <a:pt x="1941" y="572"/>
                    <a:pt x="1941" y="572"/>
                  </a:cubicBezTo>
                  <a:cubicBezTo>
                    <a:pt x="1941" y="568"/>
                    <a:pt x="1941" y="568"/>
                    <a:pt x="1941" y="568"/>
                  </a:cubicBezTo>
                  <a:cubicBezTo>
                    <a:pt x="1929" y="568"/>
                    <a:pt x="1929" y="568"/>
                    <a:pt x="1929" y="568"/>
                  </a:cubicBezTo>
                  <a:cubicBezTo>
                    <a:pt x="1929" y="572"/>
                    <a:pt x="1929" y="572"/>
                    <a:pt x="1929" y="572"/>
                  </a:cubicBezTo>
                  <a:moveTo>
                    <a:pt x="1909" y="572"/>
                  </a:moveTo>
                  <a:cubicBezTo>
                    <a:pt x="1921" y="572"/>
                    <a:pt x="1921" y="572"/>
                    <a:pt x="1921" y="572"/>
                  </a:cubicBezTo>
                  <a:cubicBezTo>
                    <a:pt x="1921" y="568"/>
                    <a:pt x="1921" y="568"/>
                    <a:pt x="1921" y="568"/>
                  </a:cubicBezTo>
                  <a:cubicBezTo>
                    <a:pt x="1909" y="568"/>
                    <a:pt x="1909" y="568"/>
                    <a:pt x="1909" y="568"/>
                  </a:cubicBezTo>
                  <a:cubicBezTo>
                    <a:pt x="1909" y="572"/>
                    <a:pt x="1909" y="572"/>
                    <a:pt x="1909" y="572"/>
                  </a:cubicBezTo>
                  <a:moveTo>
                    <a:pt x="1889" y="572"/>
                  </a:moveTo>
                  <a:cubicBezTo>
                    <a:pt x="1901" y="572"/>
                    <a:pt x="1901" y="572"/>
                    <a:pt x="1901" y="572"/>
                  </a:cubicBezTo>
                  <a:cubicBezTo>
                    <a:pt x="1901" y="568"/>
                    <a:pt x="1901" y="568"/>
                    <a:pt x="1901" y="568"/>
                  </a:cubicBezTo>
                  <a:cubicBezTo>
                    <a:pt x="1889" y="568"/>
                    <a:pt x="1889" y="568"/>
                    <a:pt x="1889" y="568"/>
                  </a:cubicBezTo>
                  <a:cubicBezTo>
                    <a:pt x="1889" y="572"/>
                    <a:pt x="1889" y="572"/>
                    <a:pt x="1889" y="572"/>
                  </a:cubicBezTo>
                  <a:moveTo>
                    <a:pt x="1869" y="572"/>
                  </a:moveTo>
                  <a:cubicBezTo>
                    <a:pt x="1881" y="572"/>
                    <a:pt x="1881" y="572"/>
                    <a:pt x="1881" y="572"/>
                  </a:cubicBezTo>
                  <a:cubicBezTo>
                    <a:pt x="1881" y="568"/>
                    <a:pt x="1881" y="568"/>
                    <a:pt x="1881" y="568"/>
                  </a:cubicBezTo>
                  <a:cubicBezTo>
                    <a:pt x="1869" y="568"/>
                    <a:pt x="1869" y="568"/>
                    <a:pt x="1869" y="568"/>
                  </a:cubicBezTo>
                  <a:cubicBezTo>
                    <a:pt x="1869" y="572"/>
                    <a:pt x="1869" y="572"/>
                    <a:pt x="1869" y="572"/>
                  </a:cubicBezTo>
                  <a:moveTo>
                    <a:pt x="1849" y="572"/>
                  </a:moveTo>
                  <a:cubicBezTo>
                    <a:pt x="1861" y="572"/>
                    <a:pt x="1861" y="572"/>
                    <a:pt x="1861" y="572"/>
                  </a:cubicBezTo>
                  <a:cubicBezTo>
                    <a:pt x="1861" y="568"/>
                    <a:pt x="1861" y="568"/>
                    <a:pt x="1861" y="568"/>
                  </a:cubicBezTo>
                  <a:cubicBezTo>
                    <a:pt x="1849" y="568"/>
                    <a:pt x="1849" y="568"/>
                    <a:pt x="1849" y="568"/>
                  </a:cubicBezTo>
                  <a:cubicBezTo>
                    <a:pt x="1849" y="572"/>
                    <a:pt x="1849" y="572"/>
                    <a:pt x="1849" y="572"/>
                  </a:cubicBezTo>
                  <a:moveTo>
                    <a:pt x="1829" y="572"/>
                  </a:moveTo>
                  <a:cubicBezTo>
                    <a:pt x="1841" y="572"/>
                    <a:pt x="1841" y="572"/>
                    <a:pt x="1841" y="572"/>
                  </a:cubicBezTo>
                  <a:cubicBezTo>
                    <a:pt x="1841" y="568"/>
                    <a:pt x="1841" y="568"/>
                    <a:pt x="1841" y="568"/>
                  </a:cubicBezTo>
                  <a:cubicBezTo>
                    <a:pt x="1829" y="568"/>
                    <a:pt x="1829" y="568"/>
                    <a:pt x="1829" y="568"/>
                  </a:cubicBezTo>
                  <a:cubicBezTo>
                    <a:pt x="1829" y="572"/>
                    <a:pt x="1829" y="572"/>
                    <a:pt x="1829" y="572"/>
                  </a:cubicBezTo>
                  <a:moveTo>
                    <a:pt x="1809" y="572"/>
                  </a:moveTo>
                  <a:cubicBezTo>
                    <a:pt x="1821" y="572"/>
                    <a:pt x="1821" y="572"/>
                    <a:pt x="1821" y="572"/>
                  </a:cubicBezTo>
                  <a:cubicBezTo>
                    <a:pt x="1821" y="568"/>
                    <a:pt x="1821" y="568"/>
                    <a:pt x="1821" y="568"/>
                  </a:cubicBezTo>
                  <a:cubicBezTo>
                    <a:pt x="1809" y="568"/>
                    <a:pt x="1809" y="568"/>
                    <a:pt x="1809" y="568"/>
                  </a:cubicBezTo>
                  <a:cubicBezTo>
                    <a:pt x="1809" y="572"/>
                    <a:pt x="1809" y="572"/>
                    <a:pt x="1809" y="572"/>
                  </a:cubicBezTo>
                  <a:moveTo>
                    <a:pt x="1789" y="572"/>
                  </a:moveTo>
                  <a:cubicBezTo>
                    <a:pt x="1801" y="572"/>
                    <a:pt x="1801" y="572"/>
                    <a:pt x="1801" y="572"/>
                  </a:cubicBezTo>
                  <a:cubicBezTo>
                    <a:pt x="1801" y="568"/>
                    <a:pt x="1801" y="568"/>
                    <a:pt x="1801" y="568"/>
                  </a:cubicBezTo>
                  <a:cubicBezTo>
                    <a:pt x="1789" y="568"/>
                    <a:pt x="1789" y="568"/>
                    <a:pt x="1789" y="568"/>
                  </a:cubicBezTo>
                  <a:cubicBezTo>
                    <a:pt x="1789" y="572"/>
                    <a:pt x="1789" y="572"/>
                    <a:pt x="1789" y="572"/>
                  </a:cubicBezTo>
                  <a:moveTo>
                    <a:pt x="1769" y="572"/>
                  </a:moveTo>
                  <a:cubicBezTo>
                    <a:pt x="1781" y="572"/>
                    <a:pt x="1781" y="572"/>
                    <a:pt x="1781" y="572"/>
                  </a:cubicBezTo>
                  <a:cubicBezTo>
                    <a:pt x="1781" y="568"/>
                    <a:pt x="1781" y="568"/>
                    <a:pt x="1781" y="568"/>
                  </a:cubicBezTo>
                  <a:cubicBezTo>
                    <a:pt x="1769" y="568"/>
                    <a:pt x="1769" y="568"/>
                    <a:pt x="1769" y="568"/>
                  </a:cubicBezTo>
                  <a:cubicBezTo>
                    <a:pt x="1769" y="572"/>
                    <a:pt x="1769" y="572"/>
                    <a:pt x="1769" y="572"/>
                  </a:cubicBezTo>
                  <a:moveTo>
                    <a:pt x="1749" y="572"/>
                  </a:moveTo>
                  <a:cubicBezTo>
                    <a:pt x="1761" y="572"/>
                    <a:pt x="1761" y="572"/>
                    <a:pt x="1761" y="572"/>
                  </a:cubicBezTo>
                  <a:cubicBezTo>
                    <a:pt x="1761" y="568"/>
                    <a:pt x="1761" y="568"/>
                    <a:pt x="1761" y="568"/>
                  </a:cubicBezTo>
                  <a:cubicBezTo>
                    <a:pt x="1749" y="568"/>
                    <a:pt x="1749" y="568"/>
                    <a:pt x="1749" y="568"/>
                  </a:cubicBezTo>
                  <a:cubicBezTo>
                    <a:pt x="1749" y="572"/>
                    <a:pt x="1749" y="572"/>
                    <a:pt x="1749" y="572"/>
                  </a:cubicBezTo>
                  <a:moveTo>
                    <a:pt x="1729" y="572"/>
                  </a:moveTo>
                  <a:cubicBezTo>
                    <a:pt x="1741" y="572"/>
                    <a:pt x="1741" y="572"/>
                    <a:pt x="1741" y="572"/>
                  </a:cubicBezTo>
                  <a:cubicBezTo>
                    <a:pt x="1741" y="568"/>
                    <a:pt x="1741" y="568"/>
                    <a:pt x="1741" y="568"/>
                  </a:cubicBezTo>
                  <a:cubicBezTo>
                    <a:pt x="1729" y="568"/>
                    <a:pt x="1729" y="568"/>
                    <a:pt x="1729" y="568"/>
                  </a:cubicBezTo>
                  <a:cubicBezTo>
                    <a:pt x="1729" y="572"/>
                    <a:pt x="1729" y="572"/>
                    <a:pt x="1729" y="572"/>
                  </a:cubicBezTo>
                  <a:moveTo>
                    <a:pt x="1709" y="572"/>
                  </a:moveTo>
                  <a:cubicBezTo>
                    <a:pt x="1721" y="572"/>
                    <a:pt x="1721" y="572"/>
                    <a:pt x="1721" y="572"/>
                  </a:cubicBezTo>
                  <a:cubicBezTo>
                    <a:pt x="1721" y="568"/>
                    <a:pt x="1721" y="568"/>
                    <a:pt x="1721" y="568"/>
                  </a:cubicBezTo>
                  <a:cubicBezTo>
                    <a:pt x="1709" y="568"/>
                    <a:pt x="1709" y="568"/>
                    <a:pt x="1709" y="568"/>
                  </a:cubicBezTo>
                  <a:cubicBezTo>
                    <a:pt x="1709" y="572"/>
                    <a:pt x="1709" y="572"/>
                    <a:pt x="1709" y="572"/>
                  </a:cubicBezTo>
                  <a:moveTo>
                    <a:pt x="1689" y="572"/>
                  </a:moveTo>
                  <a:cubicBezTo>
                    <a:pt x="1701" y="572"/>
                    <a:pt x="1701" y="572"/>
                    <a:pt x="1701" y="572"/>
                  </a:cubicBezTo>
                  <a:cubicBezTo>
                    <a:pt x="1701" y="568"/>
                    <a:pt x="1701" y="568"/>
                    <a:pt x="1701" y="568"/>
                  </a:cubicBezTo>
                  <a:cubicBezTo>
                    <a:pt x="1689" y="568"/>
                    <a:pt x="1689" y="568"/>
                    <a:pt x="1689" y="568"/>
                  </a:cubicBezTo>
                  <a:cubicBezTo>
                    <a:pt x="1689" y="572"/>
                    <a:pt x="1689" y="572"/>
                    <a:pt x="1689" y="572"/>
                  </a:cubicBezTo>
                  <a:moveTo>
                    <a:pt x="1669" y="572"/>
                  </a:moveTo>
                  <a:cubicBezTo>
                    <a:pt x="1681" y="572"/>
                    <a:pt x="1681" y="572"/>
                    <a:pt x="1681" y="572"/>
                  </a:cubicBezTo>
                  <a:cubicBezTo>
                    <a:pt x="1681" y="568"/>
                    <a:pt x="1681" y="568"/>
                    <a:pt x="1681" y="568"/>
                  </a:cubicBezTo>
                  <a:cubicBezTo>
                    <a:pt x="1669" y="568"/>
                    <a:pt x="1669" y="568"/>
                    <a:pt x="1669" y="568"/>
                  </a:cubicBezTo>
                  <a:cubicBezTo>
                    <a:pt x="1669" y="572"/>
                    <a:pt x="1669" y="572"/>
                    <a:pt x="1669" y="572"/>
                  </a:cubicBezTo>
                  <a:moveTo>
                    <a:pt x="1649" y="572"/>
                  </a:moveTo>
                  <a:cubicBezTo>
                    <a:pt x="1661" y="572"/>
                    <a:pt x="1661" y="572"/>
                    <a:pt x="1661" y="572"/>
                  </a:cubicBezTo>
                  <a:cubicBezTo>
                    <a:pt x="1661" y="568"/>
                    <a:pt x="1661" y="568"/>
                    <a:pt x="1661" y="568"/>
                  </a:cubicBezTo>
                  <a:cubicBezTo>
                    <a:pt x="1649" y="568"/>
                    <a:pt x="1649" y="568"/>
                    <a:pt x="1649" y="568"/>
                  </a:cubicBezTo>
                  <a:cubicBezTo>
                    <a:pt x="1649" y="572"/>
                    <a:pt x="1649" y="572"/>
                    <a:pt x="1649" y="572"/>
                  </a:cubicBezTo>
                  <a:moveTo>
                    <a:pt x="1629" y="572"/>
                  </a:moveTo>
                  <a:cubicBezTo>
                    <a:pt x="1641" y="572"/>
                    <a:pt x="1641" y="572"/>
                    <a:pt x="1641" y="572"/>
                  </a:cubicBezTo>
                  <a:cubicBezTo>
                    <a:pt x="1641" y="568"/>
                    <a:pt x="1641" y="568"/>
                    <a:pt x="1641" y="568"/>
                  </a:cubicBezTo>
                  <a:cubicBezTo>
                    <a:pt x="1629" y="568"/>
                    <a:pt x="1629" y="568"/>
                    <a:pt x="1629" y="568"/>
                  </a:cubicBezTo>
                  <a:cubicBezTo>
                    <a:pt x="1629" y="572"/>
                    <a:pt x="1629" y="572"/>
                    <a:pt x="1629" y="572"/>
                  </a:cubicBezTo>
                  <a:moveTo>
                    <a:pt x="1609" y="572"/>
                  </a:moveTo>
                  <a:cubicBezTo>
                    <a:pt x="1621" y="572"/>
                    <a:pt x="1621" y="572"/>
                    <a:pt x="1621" y="572"/>
                  </a:cubicBezTo>
                  <a:cubicBezTo>
                    <a:pt x="1621" y="568"/>
                    <a:pt x="1621" y="568"/>
                    <a:pt x="1621" y="568"/>
                  </a:cubicBezTo>
                  <a:cubicBezTo>
                    <a:pt x="1609" y="568"/>
                    <a:pt x="1609" y="568"/>
                    <a:pt x="1609" y="568"/>
                  </a:cubicBezTo>
                  <a:cubicBezTo>
                    <a:pt x="1609" y="572"/>
                    <a:pt x="1609" y="572"/>
                    <a:pt x="1609" y="572"/>
                  </a:cubicBezTo>
                  <a:moveTo>
                    <a:pt x="1589" y="572"/>
                  </a:moveTo>
                  <a:cubicBezTo>
                    <a:pt x="1601" y="572"/>
                    <a:pt x="1601" y="572"/>
                    <a:pt x="1601" y="572"/>
                  </a:cubicBezTo>
                  <a:cubicBezTo>
                    <a:pt x="1601" y="568"/>
                    <a:pt x="1601" y="568"/>
                    <a:pt x="1601" y="568"/>
                  </a:cubicBezTo>
                  <a:cubicBezTo>
                    <a:pt x="1589" y="568"/>
                    <a:pt x="1589" y="568"/>
                    <a:pt x="1589" y="568"/>
                  </a:cubicBezTo>
                  <a:cubicBezTo>
                    <a:pt x="1589" y="572"/>
                    <a:pt x="1589" y="572"/>
                    <a:pt x="1589" y="572"/>
                  </a:cubicBezTo>
                  <a:moveTo>
                    <a:pt x="1569" y="572"/>
                  </a:moveTo>
                  <a:cubicBezTo>
                    <a:pt x="1581" y="572"/>
                    <a:pt x="1581" y="572"/>
                    <a:pt x="1581" y="572"/>
                  </a:cubicBezTo>
                  <a:cubicBezTo>
                    <a:pt x="1581" y="568"/>
                    <a:pt x="1581" y="568"/>
                    <a:pt x="1581" y="568"/>
                  </a:cubicBezTo>
                  <a:cubicBezTo>
                    <a:pt x="1569" y="568"/>
                    <a:pt x="1569" y="568"/>
                    <a:pt x="1569" y="568"/>
                  </a:cubicBezTo>
                  <a:cubicBezTo>
                    <a:pt x="1569" y="572"/>
                    <a:pt x="1569" y="572"/>
                    <a:pt x="1569" y="572"/>
                  </a:cubicBezTo>
                  <a:moveTo>
                    <a:pt x="1549" y="572"/>
                  </a:moveTo>
                  <a:cubicBezTo>
                    <a:pt x="1561" y="572"/>
                    <a:pt x="1561" y="572"/>
                    <a:pt x="1561" y="572"/>
                  </a:cubicBezTo>
                  <a:cubicBezTo>
                    <a:pt x="1561" y="568"/>
                    <a:pt x="1561" y="568"/>
                    <a:pt x="1561" y="568"/>
                  </a:cubicBezTo>
                  <a:cubicBezTo>
                    <a:pt x="1549" y="568"/>
                    <a:pt x="1549" y="568"/>
                    <a:pt x="1549" y="568"/>
                  </a:cubicBezTo>
                  <a:cubicBezTo>
                    <a:pt x="1549" y="572"/>
                    <a:pt x="1549" y="572"/>
                    <a:pt x="1549" y="572"/>
                  </a:cubicBezTo>
                  <a:moveTo>
                    <a:pt x="1529" y="572"/>
                  </a:moveTo>
                  <a:cubicBezTo>
                    <a:pt x="1541" y="572"/>
                    <a:pt x="1541" y="572"/>
                    <a:pt x="1541" y="572"/>
                  </a:cubicBezTo>
                  <a:cubicBezTo>
                    <a:pt x="1541" y="568"/>
                    <a:pt x="1541" y="568"/>
                    <a:pt x="1541" y="568"/>
                  </a:cubicBezTo>
                  <a:cubicBezTo>
                    <a:pt x="1529" y="568"/>
                    <a:pt x="1529" y="568"/>
                    <a:pt x="1529" y="568"/>
                  </a:cubicBezTo>
                  <a:cubicBezTo>
                    <a:pt x="1529" y="572"/>
                    <a:pt x="1529" y="572"/>
                    <a:pt x="1529" y="572"/>
                  </a:cubicBezTo>
                  <a:moveTo>
                    <a:pt x="1509" y="572"/>
                  </a:moveTo>
                  <a:cubicBezTo>
                    <a:pt x="1521" y="572"/>
                    <a:pt x="1521" y="572"/>
                    <a:pt x="1521" y="572"/>
                  </a:cubicBezTo>
                  <a:cubicBezTo>
                    <a:pt x="1521" y="568"/>
                    <a:pt x="1521" y="568"/>
                    <a:pt x="1521" y="568"/>
                  </a:cubicBezTo>
                  <a:cubicBezTo>
                    <a:pt x="1509" y="568"/>
                    <a:pt x="1509" y="568"/>
                    <a:pt x="1509" y="568"/>
                  </a:cubicBezTo>
                  <a:cubicBezTo>
                    <a:pt x="1509" y="572"/>
                    <a:pt x="1509" y="572"/>
                    <a:pt x="1509" y="572"/>
                  </a:cubicBezTo>
                  <a:moveTo>
                    <a:pt x="1489" y="572"/>
                  </a:moveTo>
                  <a:cubicBezTo>
                    <a:pt x="1501" y="572"/>
                    <a:pt x="1501" y="572"/>
                    <a:pt x="1501" y="572"/>
                  </a:cubicBezTo>
                  <a:cubicBezTo>
                    <a:pt x="1501" y="568"/>
                    <a:pt x="1501" y="568"/>
                    <a:pt x="1501" y="568"/>
                  </a:cubicBezTo>
                  <a:cubicBezTo>
                    <a:pt x="1489" y="568"/>
                    <a:pt x="1489" y="568"/>
                    <a:pt x="1489" y="568"/>
                  </a:cubicBezTo>
                  <a:cubicBezTo>
                    <a:pt x="1489" y="572"/>
                    <a:pt x="1489" y="572"/>
                    <a:pt x="1489" y="572"/>
                  </a:cubicBezTo>
                  <a:moveTo>
                    <a:pt x="1469" y="572"/>
                  </a:moveTo>
                  <a:cubicBezTo>
                    <a:pt x="1481" y="572"/>
                    <a:pt x="1481" y="572"/>
                    <a:pt x="1481" y="572"/>
                  </a:cubicBezTo>
                  <a:cubicBezTo>
                    <a:pt x="1481" y="568"/>
                    <a:pt x="1481" y="568"/>
                    <a:pt x="1481" y="568"/>
                  </a:cubicBezTo>
                  <a:cubicBezTo>
                    <a:pt x="1469" y="568"/>
                    <a:pt x="1469" y="568"/>
                    <a:pt x="1469" y="568"/>
                  </a:cubicBezTo>
                  <a:cubicBezTo>
                    <a:pt x="1469" y="572"/>
                    <a:pt x="1469" y="572"/>
                    <a:pt x="1469" y="572"/>
                  </a:cubicBezTo>
                  <a:moveTo>
                    <a:pt x="1449" y="572"/>
                  </a:moveTo>
                  <a:cubicBezTo>
                    <a:pt x="1461" y="572"/>
                    <a:pt x="1461" y="572"/>
                    <a:pt x="1461" y="572"/>
                  </a:cubicBezTo>
                  <a:cubicBezTo>
                    <a:pt x="1461" y="568"/>
                    <a:pt x="1461" y="568"/>
                    <a:pt x="1461" y="568"/>
                  </a:cubicBezTo>
                  <a:cubicBezTo>
                    <a:pt x="1449" y="568"/>
                    <a:pt x="1449" y="568"/>
                    <a:pt x="1449" y="568"/>
                  </a:cubicBezTo>
                  <a:cubicBezTo>
                    <a:pt x="1449" y="572"/>
                    <a:pt x="1449" y="572"/>
                    <a:pt x="1449" y="572"/>
                  </a:cubicBezTo>
                  <a:moveTo>
                    <a:pt x="1429" y="572"/>
                  </a:moveTo>
                  <a:cubicBezTo>
                    <a:pt x="1441" y="572"/>
                    <a:pt x="1441" y="572"/>
                    <a:pt x="1441" y="572"/>
                  </a:cubicBezTo>
                  <a:cubicBezTo>
                    <a:pt x="1441" y="568"/>
                    <a:pt x="1441" y="568"/>
                    <a:pt x="1441" y="568"/>
                  </a:cubicBezTo>
                  <a:cubicBezTo>
                    <a:pt x="1429" y="568"/>
                    <a:pt x="1429" y="568"/>
                    <a:pt x="1429" y="568"/>
                  </a:cubicBezTo>
                  <a:cubicBezTo>
                    <a:pt x="1429" y="572"/>
                    <a:pt x="1429" y="572"/>
                    <a:pt x="1429" y="572"/>
                  </a:cubicBezTo>
                  <a:moveTo>
                    <a:pt x="1409" y="572"/>
                  </a:moveTo>
                  <a:cubicBezTo>
                    <a:pt x="1421" y="572"/>
                    <a:pt x="1421" y="572"/>
                    <a:pt x="1421" y="572"/>
                  </a:cubicBezTo>
                  <a:cubicBezTo>
                    <a:pt x="1421" y="568"/>
                    <a:pt x="1421" y="568"/>
                    <a:pt x="1421" y="568"/>
                  </a:cubicBezTo>
                  <a:cubicBezTo>
                    <a:pt x="1409" y="568"/>
                    <a:pt x="1409" y="568"/>
                    <a:pt x="1409" y="568"/>
                  </a:cubicBezTo>
                  <a:cubicBezTo>
                    <a:pt x="1409" y="572"/>
                    <a:pt x="1409" y="572"/>
                    <a:pt x="1409" y="572"/>
                  </a:cubicBezTo>
                  <a:moveTo>
                    <a:pt x="1389" y="572"/>
                  </a:moveTo>
                  <a:cubicBezTo>
                    <a:pt x="1401" y="572"/>
                    <a:pt x="1401" y="572"/>
                    <a:pt x="1401" y="572"/>
                  </a:cubicBezTo>
                  <a:cubicBezTo>
                    <a:pt x="1401" y="568"/>
                    <a:pt x="1401" y="568"/>
                    <a:pt x="1401" y="568"/>
                  </a:cubicBezTo>
                  <a:cubicBezTo>
                    <a:pt x="1389" y="568"/>
                    <a:pt x="1389" y="568"/>
                    <a:pt x="1389" y="568"/>
                  </a:cubicBezTo>
                  <a:cubicBezTo>
                    <a:pt x="1389" y="572"/>
                    <a:pt x="1389" y="572"/>
                    <a:pt x="1389" y="572"/>
                  </a:cubicBezTo>
                  <a:moveTo>
                    <a:pt x="1369" y="572"/>
                  </a:moveTo>
                  <a:cubicBezTo>
                    <a:pt x="1381" y="572"/>
                    <a:pt x="1381" y="572"/>
                    <a:pt x="1381" y="572"/>
                  </a:cubicBezTo>
                  <a:cubicBezTo>
                    <a:pt x="1381" y="568"/>
                    <a:pt x="1381" y="568"/>
                    <a:pt x="1381" y="568"/>
                  </a:cubicBezTo>
                  <a:cubicBezTo>
                    <a:pt x="1369" y="568"/>
                    <a:pt x="1369" y="568"/>
                    <a:pt x="1369" y="568"/>
                  </a:cubicBezTo>
                  <a:cubicBezTo>
                    <a:pt x="1369" y="572"/>
                    <a:pt x="1369" y="572"/>
                    <a:pt x="1369" y="572"/>
                  </a:cubicBezTo>
                  <a:moveTo>
                    <a:pt x="1349" y="572"/>
                  </a:moveTo>
                  <a:cubicBezTo>
                    <a:pt x="1361" y="572"/>
                    <a:pt x="1361" y="572"/>
                    <a:pt x="1361" y="572"/>
                  </a:cubicBezTo>
                  <a:cubicBezTo>
                    <a:pt x="1361" y="568"/>
                    <a:pt x="1361" y="568"/>
                    <a:pt x="1361" y="568"/>
                  </a:cubicBezTo>
                  <a:cubicBezTo>
                    <a:pt x="1349" y="568"/>
                    <a:pt x="1349" y="568"/>
                    <a:pt x="1349" y="568"/>
                  </a:cubicBezTo>
                  <a:cubicBezTo>
                    <a:pt x="1349" y="572"/>
                    <a:pt x="1349" y="572"/>
                    <a:pt x="1349" y="572"/>
                  </a:cubicBezTo>
                  <a:moveTo>
                    <a:pt x="1329" y="572"/>
                  </a:moveTo>
                  <a:cubicBezTo>
                    <a:pt x="1341" y="572"/>
                    <a:pt x="1341" y="572"/>
                    <a:pt x="1341" y="572"/>
                  </a:cubicBezTo>
                  <a:cubicBezTo>
                    <a:pt x="1341" y="568"/>
                    <a:pt x="1341" y="568"/>
                    <a:pt x="1341" y="568"/>
                  </a:cubicBezTo>
                  <a:cubicBezTo>
                    <a:pt x="1329" y="568"/>
                    <a:pt x="1329" y="568"/>
                    <a:pt x="1329" y="568"/>
                  </a:cubicBezTo>
                  <a:cubicBezTo>
                    <a:pt x="1329" y="572"/>
                    <a:pt x="1329" y="572"/>
                    <a:pt x="1329" y="572"/>
                  </a:cubicBezTo>
                  <a:moveTo>
                    <a:pt x="1309" y="572"/>
                  </a:moveTo>
                  <a:cubicBezTo>
                    <a:pt x="1321" y="572"/>
                    <a:pt x="1321" y="572"/>
                    <a:pt x="1321" y="572"/>
                  </a:cubicBezTo>
                  <a:cubicBezTo>
                    <a:pt x="1321" y="568"/>
                    <a:pt x="1321" y="568"/>
                    <a:pt x="1321" y="568"/>
                  </a:cubicBezTo>
                  <a:cubicBezTo>
                    <a:pt x="1309" y="568"/>
                    <a:pt x="1309" y="568"/>
                    <a:pt x="1309" y="568"/>
                  </a:cubicBezTo>
                  <a:cubicBezTo>
                    <a:pt x="1309" y="572"/>
                    <a:pt x="1309" y="572"/>
                    <a:pt x="1309" y="572"/>
                  </a:cubicBezTo>
                  <a:moveTo>
                    <a:pt x="1289" y="572"/>
                  </a:moveTo>
                  <a:cubicBezTo>
                    <a:pt x="1301" y="572"/>
                    <a:pt x="1301" y="572"/>
                    <a:pt x="1301" y="572"/>
                  </a:cubicBezTo>
                  <a:cubicBezTo>
                    <a:pt x="1301" y="568"/>
                    <a:pt x="1301" y="568"/>
                    <a:pt x="1301" y="568"/>
                  </a:cubicBezTo>
                  <a:cubicBezTo>
                    <a:pt x="1289" y="568"/>
                    <a:pt x="1289" y="568"/>
                    <a:pt x="1289" y="568"/>
                  </a:cubicBezTo>
                  <a:cubicBezTo>
                    <a:pt x="1289" y="572"/>
                    <a:pt x="1289" y="572"/>
                    <a:pt x="1289" y="572"/>
                  </a:cubicBezTo>
                  <a:moveTo>
                    <a:pt x="1269" y="572"/>
                  </a:moveTo>
                  <a:cubicBezTo>
                    <a:pt x="1281" y="572"/>
                    <a:pt x="1281" y="572"/>
                    <a:pt x="1281" y="572"/>
                  </a:cubicBezTo>
                  <a:cubicBezTo>
                    <a:pt x="1281" y="568"/>
                    <a:pt x="1281" y="568"/>
                    <a:pt x="1281" y="568"/>
                  </a:cubicBezTo>
                  <a:cubicBezTo>
                    <a:pt x="1269" y="568"/>
                    <a:pt x="1269" y="568"/>
                    <a:pt x="1269" y="568"/>
                  </a:cubicBezTo>
                  <a:cubicBezTo>
                    <a:pt x="1269" y="572"/>
                    <a:pt x="1269" y="572"/>
                    <a:pt x="1269" y="572"/>
                  </a:cubicBezTo>
                  <a:moveTo>
                    <a:pt x="1249" y="572"/>
                  </a:moveTo>
                  <a:cubicBezTo>
                    <a:pt x="1261" y="572"/>
                    <a:pt x="1261" y="572"/>
                    <a:pt x="1261" y="572"/>
                  </a:cubicBezTo>
                  <a:cubicBezTo>
                    <a:pt x="1261" y="568"/>
                    <a:pt x="1261" y="568"/>
                    <a:pt x="1261" y="568"/>
                  </a:cubicBezTo>
                  <a:cubicBezTo>
                    <a:pt x="1249" y="568"/>
                    <a:pt x="1249" y="568"/>
                    <a:pt x="1249" y="568"/>
                  </a:cubicBezTo>
                  <a:cubicBezTo>
                    <a:pt x="1249" y="572"/>
                    <a:pt x="1249" y="572"/>
                    <a:pt x="1249" y="572"/>
                  </a:cubicBezTo>
                  <a:moveTo>
                    <a:pt x="1229" y="572"/>
                  </a:moveTo>
                  <a:cubicBezTo>
                    <a:pt x="1241" y="572"/>
                    <a:pt x="1241" y="572"/>
                    <a:pt x="1241" y="572"/>
                  </a:cubicBezTo>
                  <a:cubicBezTo>
                    <a:pt x="1241" y="568"/>
                    <a:pt x="1241" y="568"/>
                    <a:pt x="1241" y="568"/>
                  </a:cubicBezTo>
                  <a:cubicBezTo>
                    <a:pt x="1229" y="568"/>
                    <a:pt x="1229" y="568"/>
                    <a:pt x="1229" y="568"/>
                  </a:cubicBezTo>
                  <a:cubicBezTo>
                    <a:pt x="1229" y="572"/>
                    <a:pt x="1229" y="572"/>
                    <a:pt x="1229" y="572"/>
                  </a:cubicBezTo>
                  <a:moveTo>
                    <a:pt x="1209" y="572"/>
                  </a:moveTo>
                  <a:cubicBezTo>
                    <a:pt x="1221" y="572"/>
                    <a:pt x="1221" y="572"/>
                    <a:pt x="1221" y="572"/>
                  </a:cubicBezTo>
                  <a:cubicBezTo>
                    <a:pt x="1221" y="568"/>
                    <a:pt x="1221" y="568"/>
                    <a:pt x="1221" y="568"/>
                  </a:cubicBezTo>
                  <a:cubicBezTo>
                    <a:pt x="1209" y="568"/>
                    <a:pt x="1209" y="568"/>
                    <a:pt x="1209" y="568"/>
                  </a:cubicBezTo>
                  <a:cubicBezTo>
                    <a:pt x="1209" y="572"/>
                    <a:pt x="1209" y="572"/>
                    <a:pt x="1209" y="572"/>
                  </a:cubicBezTo>
                  <a:moveTo>
                    <a:pt x="1189" y="572"/>
                  </a:moveTo>
                  <a:cubicBezTo>
                    <a:pt x="1201" y="572"/>
                    <a:pt x="1201" y="572"/>
                    <a:pt x="1201" y="572"/>
                  </a:cubicBezTo>
                  <a:cubicBezTo>
                    <a:pt x="1201" y="568"/>
                    <a:pt x="1201" y="568"/>
                    <a:pt x="1201" y="568"/>
                  </a:cubicBezTo>
                  <a:cubicBezTo>
                    <a:pt x="1189" y="568"/>
                    <a:pt x="1189" y="568"/>
                    <a:pt x="1189" y="568"/>
                  </a:cubicBezTo>
                  <a:cubicBezTo>
                    <a:pt x="1189" y="572"/>
                    <a:pt x="1189" y="572"/>
                    <a:pt x="1189" y="572"/>
                  </a:cubicBezTo>
                  <a:moveTo>
                    <a:pt x="1169" y="572"/>
                  </a:moveTo>
                  <a:cubicBezTo>
                    <a:pt x="1181" y="572"/>
                    <a:pt x="1181" y="572"/>
                    <a:pt x="1181" y="572"/>
                  </a:cubicBezTo>
                  <a:cubicBezTo>
                    <a:pt x="1181" y="568"/>
                    <a:pt x="1181" y="568"/>
                    <a:pt x="1181" y="568"/>
                  </a:cubicBezTo>
                  <a:cubicBezTo>
                    <a:pt x="1169" y="568"/>
                    <a:pt x="1169" y="568"/>
                    <a:pt x="1169" y="568"/>
                  </a:cubicBezTo>
                  <a:cubicBezTo>
                    <a:pt x="1169" y="572"/>
                    <a:pt x="1169" y="572"/>
                    <a:pt x="1169" y="572"/>
                  </a:cubicBezTo>
                  <a:moveTo>
                    <a:pt x="1149" y="572"/>
                  </a:moveTo>
                  <a:cubicBezTo>
                    <a:pt x="1161" y="572"/>
                    <a:pt x="1161" y="572"/>
                    <a:pt x="1161" y="572"/>
                  </a:cubicBezTo>
                  <a:cubicBezTo>
                    <a:pt x="1161" y="568"/>
                    <a:pt x="1161" y="568"/>
                    <a:pt x="1161" y="568"/>
                  </a:cubicBezTo>
                  <a:cubicBezTo>
                    <a:pt x="1149" y="568"/>
                    <a:pt x="1149" y="568"/>
                    <a:pt x="1149" y="568"/>
                  </a:cubicBezTo>
                  <a:cubicBezTo>
                    <a:pt x="1149" y="572"/>
                    <a:pt x="1149" y="572"/>
                    <a:pt x="1149" y="572"/>
                  </a:cubicBezTo>
                  <a:moveTo>
                    <a:pt x="1129" y="572"/>
                  </a:moveTo>
                  <a:cubicBezTo>
                    <a:pt x="1141" y="572"/>
                    <a:pt x="1141" y="572"/>
                    <a:pt x="1141" y="572"/>
                  </a:cubicBezTo>
                  <a:cubicBezTo>
                    <a:pt x="1141" y="568"/>
                    <a:pt x="1141" y="568"/>
                    <a:pt x="1141" y="568"/>
                  </a:cubicBezTo>
                  <a:cubicBezTo>
                    <a:pt x="1129" y="568"/>
                    <a:pt x="1129" y="568"/>
                    <a:pt x="1129" y="568"/>
                  </a:cubicBezTo>
                  <a:cubicBezTo>
                    <a:pt x="1129" y="572"/>
                    <a:pt x="1129" y="572"/>
                    <a:pt x="1129" y="572"/>
                  </a:cubicBezTo>
                  <a:moveTo>
                    <a:pt x="1109" y="572"/>
                  </a:moveTo>
                  <a:cubicBezTo>
                    <a:pt x="1121" y="572"/>
                    <a:pt x="1121" y="572"/>
                    <a:pt x="1121" y="572"/>
                  </a:cubicBezTo>
                  <a:cubicBezTo>
                    <a:pt x="1121" y="568"/>
                    <a:pt x="1121" y="568"/>
                    <a:pt x="1121" y="568"/>
                  </a:cubicBezTo>
                  <a:cubicBezTo>
                    <a:pt x="1109" y="568"/>
                    <a:pt x="1109" y="568"/>
                    <a:pt x="1109" y="568"/>
                  </a:cubicBezTo>
                  <a:cubicBezTo>
                    <a:pt x="1109" y="572"/>
                    <a:pt x="1109" y="572"/>
                    <a:pt x="1109" y="572"/>
                  </a:cubicBezTo>
                  <a:moveTo>
                    <a:pt x="1089" y="572"/>
                  </a:moveTo>
                  <a:cubicBezTo>
                    <a:pt x="1101" y="572"/>
                    <a:pt x="1101" y="572"/>
                    <a:pt x="1101" y="572"/>
                  </a:cubicBezTo>
                  <a:cubicBezTo>
                    <a:pt x="1101" y="568"/>
                    <a:pt x="1101" y="568"/>
                    <a:pt x="1101" y="568"/>
                  </a:cubicBezTo>
                  <a:cubicBezTo>
                    <a:pt x="1089" y="568"/>
                    <a:pt x="1089" y="568"/>
                    <a:pt x="1089" y="568"/>
                  </a:cubicBezTo>
                  <a:cubicBezTo>
                    <a:pt x="1089" y="572"/>
                    <a:pt x="1089" y="572"/>
                    <a:pt x="1089" y="572"/>
                  </a:cubicBezTo>
                  <a:moveTo>
                    <a:pt x="1069" y="572"/>
                  </a:moveTo>
                  <a:cubicBezTo>
                    <a:pt x="1081" y="572"/>
                    <a:pt x="1081" y="572"/>
                    <a:pt x="1081" y="572"/>
                  </a:cubicBezTo>
                  <a:cubicBezTo>
                    <a:pt x="1081" y="568"/>
                    <a:pt x="1081" y="568"/>
                    <a:pt x="1081" y="568"/>
                  </a:cubicBezTo>
                  <a:cubicBezTo>
                    <a:pt x="1069" y="568"/>
                    <a:pt x="1069" y="568"/>
                    <a:pt x="1069" y="568"/>
                  </a:cubicBezTo>
                  <a:cubicBezTo>
                    <a:pt x="1069" y="572"/>
                    <a:pt x="1069" y="572"/>
                    <a:pt x="1069" y="572"/>
                  </a:cubicBezTo>
                  <a:moveTo>
                    <a:pt x="1049" y="572"/>
                  </a:moveTo>
                  <a:cubicBezTo>
                    <a:pt x="1061" y="572"/>
                    <a:pt x="1061" y="572"/>
                    <a:pt x="1061" y="572"/>
                  </a:cubicBezTo>
                  <a:cubicBezTo>
                    <a:pt x="1061" y="568"/>
                    <a:pt x="1061" y="568"/>
                    <a:pt x="1061" y="568"/>
                  </a:cubicBezTo>
                  <a:cubicBezTo>
                    <a:pt x="1049" y="568"/>
                    <a:pt x="1049" y="568"/>
                    <a:pt x="1049" y="568"/>
                  </a:cubicBezTo>
                  <a:cubicBezTo>
                    <a:pt x="1049" y="572"/>
                    <a:pt x="1049" y="572"/>
                    <a:pt x="1049" y="572"/>
                  </a:cubicBezTo>
                  <a:moveTo>
                    <a:pt x="1029" y="572"/>
                  </a:moveTo>
                  <a:cubicBezTo>
                    <a:pt x="1041" y="572"/>
                    <a:pt x="1041" y="572"/>
                    <a:pt x="1041" y="572"/>
                  </a:cubicBezTo>
                  <a:cubicBezTo>
                    <a:pt x="1041" y="568"/>
                    <a:pt x="1041" y="568"/>
                    <a:pt x="1041" y="568"/>
                  </a:cubicBezTo>
                  <a:cubicBezTo>
                    <a:pt x="1029" y="568"/>
                    <a:pt x="1029" y="568"/>
                    <a:pt x="1029" y="568"/>
                  </a:cubicBezTo>
                  <a:cubicBezTo>
                    <a:pt x="1029" y="572"/>
                    <a:pt x="1029" y="572"/>
                    <a:pt x="1029" y="572"/>
                  </a:cubicBezTo>
                  <a:moveTo>
                    <a:pt x="1009" y="572"/>
                  </a:moveTo>
                  <a:cubicBezTo>
                    <a:pt x="1021" y="572"/>
                    <a:pt x="1021" y="572"/>
                    <a:pt x="1021" y="572"/>
                  </a:cubicBezTo>
                  <a:cubicBezTo>
                    <a:pt x="1021" y="568"/>
                    <a:pt x="1021" y="568"/>
                    <a:pt x="1021" y="568"/>
                  </a:cubicBezTo>
                  <a:cubicBezTo>
                    <a:pt x="1009" y="568"/>
                    <a:pt x="1009" y="568"/>
                    <a:pt x="1009" y="568"/>
                  </a:cubicBezTo>
                  <a:cubicBezTo>
                    <a:pt x="1009" y="572"/>
                    <a:pt x="1009" y="572"/>
                    <a:pt x="1009" y="572"/>
                  </a:cubicBezTo>
                  <a:moveTo>
                    <a:pt x="989" y="572"/>
                  </a:moveTo>
                  <a:cubicBezTo>
                    <a:pt x="1001" y="572"/>
                    <a:pt x="1001" y="572"/>
                    <a:pt x="1001" y="572"/>
                  </a:cubicBezTo>
                  <a:cubicBezTo>
                    <a:pt x="1001" y="568"/>
                    <a:pt x="1001" y="568"/>
                    <a:pt x="1001" y="568"/>
                  </a:cubicBezTo>
                  <a:cubicBezTo>
                    <a:pt x="989" y="568"/>
                    <a:pt x="989" y="568"/>
                    <a:pt x="989" y="568"/>
                  </a:cubicBezTo>
                  <a:cubicBezTo>
                    <a:pt x="989" y="572"/>
                    <a:pt x="989" y="572"/>
                    <a:pt x="989" y="572"/>
                  </a:cubicBezTo>
                  <a:moveTo>
                    <a:pt x="969" y="572"/>
                  </a:moveTo>
                  <a:cubicBezTo>
                    <a:pt x="981" y="572"/>
                    <a:pt x="981" y="572"/>
                    <a:pt x="981" y="572"/>
                  </a:cubicBezTo>
                  <a:cubicBezTo>
                    <a:pt x="981" y="568"/>
                    <a:pt x="981" y="568"/>
                    <a:pt x="981" y="568"/>
                  </a:cubicBezTo>
                  <a:cubicBezTo>
                    <a:pt x="969" y="568"/>
                    <a:pt x="969" y="568"/>
                    <a:pt x="969" y="568"/>
                  </a:cubicBezTo>
                  <a:cubicBezTo>
                    <a:pt x="969" y="572"/>
                    <a:pt x="969" y="572"/>
                    <a:pt x="969" y="572"/>
                  </a:cubicBezTo>
                  <a:moveTo>
                    <a:pt x="949" y="572"/>
                  </a:moveTo>
                  <a:cubicBezTo>
                    <a:pt x="961" y="572"/>
                    <a:pt x="961" y="572"/>
                    <a:pt x="961" y="572"/>
                  </a:cubicBezTo>
                  <a:cubicBezTo>
                    <a:pt x="961" y="568"/>
                    <a:pt x="961" y="568"/>
                    <a:pt x="961" y="568"/>
                  </a:cubicBezTo>
                  <a:cubicBezTo>
                    <a:pt x="949" y="568"/>
                    <a:pt x="949" y="568"/>
                    <a:pt x="949" y="568"/>
                  </a:cubicBezTo>
                  <a:cubicBezTo>
                    <a:pt x="949" y="572"/>
                    <a:pt x="949" y="572"/>
                    <a:pt x="949" y="572"/>
                  </a:cubicBezTo>
                  <a:moveTo>
                    <a:pt x="929" y="572"/>
                  </a:moveTo>
                  <a:cubicBezTo>
                    <a:pt x="941" y="572"/>
                    <a:pt x="941" y="572"/>
                    <a:pt x="941" y="572"/>
                  </a:cubicBezTo>
                  <a:cubicBezTo>
                    <a:pt x="941" y="568"/>
                    <a:pt x="941" y="568"/>
                    <a:pt x="941" y="568"/>
                  </a:cubicBezTo>
                  <a:cubicBezTo>
                    <a:pt x="929" y="568"/>
                    <a:pt x="929" y="568"/>
                    <a:pt x="929" y="568"/>
                  </a:cubicBezTo>
                  <a:cubicBezTo>
                    <a:pt x="929" y="572"/>
                    <a:pt x="929" y="572"/>
                    <a:pt x="929" y="572"/>
                  </a:cubicBezTo>
                  <a:moveTo>
                    <a:pt x="909" y="572"/>
                  </a:moveTo>
                  <a:cubicBezTo>
                    <a:pt x="921" y="572"/>
                    <a:pt x="921" y="572"/>
                    <a:pt x="921" y="572"/>
                  </a:cubicBezTo>
                  <a:cubicBezTo>
                    <a:pt x="921" y="568"/>
                    <a:pt x="921" y="568"/>
                    <a:pt x="921" y="568"/>
                  </a:cubicBezTo>
                  <a:cubicBezTo>
                    <a:pt x="909" y="568"/>
                    <a:pt x="909" y="568"/>
                    <a:pt x="909" y="568"/>
                  </a:cubicBezTo>
                  <a:cubicBezTo>
                    <a:pt x="909" y="572"/>
                    <a:pt x="909" y="572"/>
                    <a:pt x="909" y="572"/>
                  </a:cubicBezTo>
                  <a:moveTo>
                    <a:pt x="889" y="572"/>
                  </a:moveTo>
                  <a:cubicBezTo>
                    <a:pt x="901" y="572"/>
                    <a:pt x="901" y="572"/>
                    <a:pt x="901" y="572"/>
                  </a:cubicBezTo>
                  <a:cubicBezTo>
                    <a:pt x="901" y="568"/>
                    <a:pt x="901" y="568"/>
                    <a:pt x="901" y="568"/>
                  </a:cubicBezTo>
                  <a:cubicBezTo>
                    <a:pt x="889" y="568"/>
                    <a:pt x="889" y="568"/>
                    <a:pt x="889" y="568"/>
                  </a:cubicBezTo>
                  <a:cubicBezTo>
                    <a:pt x="889" y="572"/>
                    <a:pt x="889" y="572"/>
                    <a:pt x="889" y="572"/>
                  </a:cubicBezTo>
                  <a:moveTo>
                    <a:pt x="869" y="572"/>
                  </a:moveTo>
                  <a:cubicBezTo>
                    <a:pt x="881" y="572"/>
                    <a:pt x="881" y="572"/>
                    <a:pt x="881" y="572"/>
                  </a:cubicBezTo>
                  <a:cubicBezTo>
                    <a:pt x="881" y="568"/>
                    <a:pt x="881" y="568"/>
                    <a:pt x="881" y="568"/>
                  </a:cubicBezTo>
                  <a:cubicBezTo>
                    <a:pt x="869" y="568"/>
                    <a:pt x="869" y="568"/>
                    <a:pt x="869" y="568"/>
                  </a:cubicBezTo>
                  <a:cubicBezTo>
                    <a:pt x="869" y="572"/>
                    <a:pt x="869" y="572"/>
                    <a:pt x="869" y="572"/>
                  </a:cubicBezTo>
                  <a:moveTo>
                    <a:pt x="849" y="572"/>
                  </a:moveTo>
                  <a:cubicBezTo>
                    <a:pt x="861" y="572"/>
                    <a:pt x="861" y="572"/>
                    <a:pt x="861" y="572"/>
                  </a:cubicBezTo>
                  <a:cubicBezTo>
                    <a:pt x="861" y="568"/>
                    <a:pt x="861" y="568"/>
                    <a:pt x="861" y="568"/>
                  </a:cubicBezTo>
                  <a:cubicBezTo>
                    <a:pt x="849" y="568"/>
                    <a:pt x="849" y="568"/>
                    <a:pt x="849" y="568"/>
                  </a:cubicBezTo>
                  <a:cubicBezTo>
                    <a:pt x="849" y="572"/>
                    <a:pt x="849" y="572"/>
                    <a:pt x="849" y="572"/>
                  </a:cubicBezTo>
                  <a:moveTo>
                    <a:pt x="829" y="572"/>
                  </a:moveTo>
                  <a:cubicBezTo>
                    <a:pt x="841" y="572"/>
                    <a:pt x="841" y="572"/>
                    <a:pt x="841" y="572"/>
                  </a:cubicBezTo>
                  <a:cubicBezTo>
                    <a:pt x="841" y="568"/>
                    <a:pt x="841" y="568"/>
                    <a:pt x="841" y="568"/>
                  </a:cubicBezTo>
                  <a:cubicBezTo>
                    <a:pt x="829" y="568"/>
                    <a:pt x="829" y="568"/>
                    <a:pt x="829" y="568"/>
                  </a:cubicBezTo>
                  <a:cubicBezTo>
                    <a:pt x="829" y="572"/>
                    <a:pt x="829" y="572"/>
                    <a:pt x="829" y="572"/>
                  </a:cubicBezTo>
                  <a:moveTo>
                    <a:pt x="809" y="572"/>
                  </a:moveTo>
                  <a:cubicBezTo>
                    <a:pt x="821" y="572"/>
                    <a:pt x="821" y="572"/>
                    <a:pt x="821" y="572"/>
                  </a:cubicBezTo>
                  <a:cubicBezTo>
                    <a:pt x="821" y="568"/>
                    <a:pt x="821" y="568"/>
                    <a:pt x="821" y="568"/>
                  </a:cubicBezTo>
                  <a:cubicBezTo>
                    <a:pt x="809" y="568"/>
                    <a:pt x="809" y="568"/>
                    <a:pt x="809" y="568"/>
                  </a:cubicBezTo>
                  <a:cubicBezTo>
                    <a:pt x="809" y="572"/>
                    <a:pt x="809" y="572"/>
                    <a:pt x="809" y="572"/>
                  </a:cubicBezTo>
                  <a:moveTo>
                    <a:pt x="789" y="572"/>
                  </a:moveTo>
                  <a:cubicBezTo>
                    <a:pt x="801" y="572"/>
                    <a:pt x="801" y="572"/>
                    <a:pt x="801" y="572"/>
                  </a:cubicBezTo>
                  <a:cubicBezTo>
                    <a:pt x="801" y="568"/>
                    <a:pt x="801" y="568"/>
                    <a:pt x="801" y="568"/>
                  </a:cubicBezTo>
                  <a:cubicBezTo>
                    <a:pt x="789" y="568"/>
                    <a:pt x="789" y="568"/>
                    <a:pt x="789" y="568"/>
                  </a:cubicBezTo>
                  <a:cubicBezTo>
                    <a:pt x="789" y="572"/>
                    <a:pt x="789" y="572"/>
                    <a:pt x="789" y="572"/>
                  </a:cubicBezTo>
                  <a:moveTo>
                    <a:pt x="769" y="572"/>
                  </a:moveTo>
                  <a:cubicBezTo>
                    <a:pt x="781" y="572"/>
                    <a:pt x="781" y="572"/>
                    <a:pt x="781" y="572"/>
                  </a:cubicBezTo>
                  <a:cubicBezTo>
                    <a:pt x="781" y="568"/>
                    <a:pt x="781" y="568"/>
                    <a:pt x="781" y="568"/>
                  </a:cubicBezTo>
                  <a:cubicBezTo>
                    <a:pt x="769" y="568"/>
                    <a:pt x="769" y="568"/>
                    <a:pt x="769" y="568"/>
                  </a:cubicBezTo>
                  <a:cubicBezTo>
                    <a:pt x="769" y="572"/>
                    <a:pt x="769" y="572"/>
                    <a:pt x="769" y="572"/>
                  </a:cubicBezTo>
                  <a:moveTo>
                    <a:pt x="749" y="572"/>
                  </a:moveTo>
                  <a:cubicBezTo>
                    <a:pt x="761" y="572"/>
                    <a:pt x="761" y="572"/>
                    <a:pt x="761" y="572"/>
                  </a:cubicBezTo>
                  <a:cubicBezTo>
                    <a:pt x="761" y="568"/>
                    <a:pt x="761" y="568"/>
                    <a:pt x="761" y="568"/>
                  </a:cubicBezTo>
                  <a:cubicBezTo>
                    <a:pt x="749" y="568"/>
                    <a:pt x="749" y="568"/>
                    <a:pt x="749" y="568"/>
                  </a:cubicBezTo>
                  <a:cubicBezTo>
                    <a:pt x="749" y="572"/>
                    <a:pt x="749" y="572"/>
                    <a:pt x="749" y="572"/>
                  </a:cubicBezTo>
                  <a:moveTo>
                    <a:pt x="729" y="572"/>
                  </a:moveTo>
                  <a:cubicBezTo>
                    <a:pt x="741" y="572"/>
                    <a:pt x="741" y="572"/>
                    <a:pt x="741" y="572"/>
                  </a:cubicBezTo>
                  <a:cubicBezTo>
                    <a:pt x="741" y="568"/>
                    <a:pt x="741" y="568"/>
                    <a:pt x="741" y="568"/>
                  </a:cubicBezTo>
                  <a:cubicBezTo>
                    <a:pt x="729" y="568"/>
                    <a:pt x="729" y="568"/>
                    <a:pt x="729" y="568"/>
                  </a:cubicBezTo>
                  <a:cubicBezTo>
                    <a:pt x="729" y="572"/>
                    <a:pt x="729" y="572"/>
                    <a:pt x="729" y="572"/>
                  </a:cubicBezTo>
                  <a:moveTo>
                    <a:pt x="709" y="572"/>
                  </a:moveTo>
                  <a:cubicBezTo>
                    <a:pt x="721" y="572"/>
                    <a:pt x="721" y="572"/>
                    <a:pt x="721" y="572"/>
                  </a:cubicBezTo>
                  <a:cubicBezTo>
                    <a:pt x="721" y="568"/>
                    <a:pt x="721" y="568"/>
                    <a:pt x="721" y="568"/>
                  </a:cubicBezTo>
                  <a:cubicBezTo>
                    <a:pt x="709" y="568"/>
                    <a:pt x="709" y="568"/>
                    <a:pt x="709" y="568"/>
                  </a:cubicBezTo>
                  <a:cubicBezTo>
                    <a:pt x="709" y="572"/>
                    <a:pt x="709" y="572"/>
                    <a:pt x="709" y="572"/>
                  </a:cubicBezTo>
                  <a:moveTo>
                    <a:pt x="689" y="572"/>
                  </a:moveTo>
                  <a:cubicBezTo>
                    <a:pt x="701" y="572"/>
                    <a:pt x="701" y="572"/>
                    <a:pt x="701" y="572"/>
                  </a:cubicBezTo>
                  <a:cubicBezTo>
                    <a:pt x="701" y="568"/>
                    <a:pt x="701" y="568"/>
                    <a:pt x="701" y="568"/>
                  </a:cubicBezTo>
                  <a:cubicBezTo>
                    <a:pt x="689" y="568"/>
                    <a:pt x="689" y="568"/>
                    <a:pt x="689" y="568"/>
                  </a:cubicBezTo>
                  <a:cubicBezTo>
                    <a:pt x="689" y="572"/>
                    <a:pt x="689" y="572"/>
                    <a:pt x="689" y="572"/>
                  </a:cubicBezTo>
                  <a:moveTo>
                    <a:pt x="669" y="572"/>
                  </a:moveTo>
                  <a:cubicBezTo>
                    <a:pt x="681" y="572"/>
                    <a:pt x="681" y="572"/>
                    <a:pt x="681" y="572"/>
                  </a:cubicBezTo>
                  <a:cubicBezTo>
                    <a:pt x="681" y="568"/>
                    <a:pt x="681" y="568"/>
                    <a:pt x="681" y="568"/>
                  </a:cubicBezTo>
                  <a:cubicBezTo>
                    <a:pt x="669" y="568"/>
                    <a:pt x="669" y="568"/>
                    <a:pt x="669" y="568"/>
                  </a:cubicBezTo>
                  <a:cubicBezTo>
                    <a:pt x="669" y="572"/>
                    <a:pt x="669" y="572"/>
                    <a:pt x="669" y="572"/>
                  </a:cubicBezTo>
                  <a:moveTo>
                    <a:pt x="649" y="572"/>
                  </a:moveTo>
                  <a:cubicBezTo>
                    <a:pt x="661" y="572"/>
                    <a:pt x="661" y="572"/>
                    <a:pt x="661" y="572"/>
                  </a:cubicBezTo>
                  <a:cubicBezTo>
                    <a:pt x="661" y="568"/>
                    <a:pt x="661" y="568"/>
                    <a:pt x="661" y="568"/>
                  </a:cubicBezTo>
                  <a:cubicBezTo>
                    <a:pt x="649" y="568"/>
                    <a:pt x="649" y="568"/>
                    <a:pt x="649" y="568"/>
                  </a:cubicBezTo>
                  <a:cubicBezTo>
                    <a:pt x="649" y="572"/>
                    <a:pt x="649" y="572"/>
                    <a:pt x="649" y="572"/>
                  </a:cubicBezTo>
                  <a:moveTo>
                    <a:pt x="629" y="572"/>
                  </a:moveTo>
                  <a:cubicBezTo>
                    <a:pt x="641" y="572"/>
                    <a:pt x="641" y="572"/>
                    <a:pt x="641" y="572"/>
                  </a:cubicBezTo>
                  <a:cubicBezTo>
                    <a:pt x="641" y="568"/>
                    <a:pt x="641" y="568"/>
                    <a:pt x="641" y="568"/>
                  </a:cubicBezTo>
                  <a:cubicBezTo>
                    <a:pt x="629" y="568"/>
                    <a:pt x="629" y="568"/>
                    <a:pt x="629" y="568"/>
                  </a:cubicBezTo>
                  <a:cubicBezTo>
                    <a:pt x="629" y="572"/>
                    <a:pt x="629" y="572"/>
                    <a:pt x="629" y="572"/>
                  </a:cubicBezTo>
                  <a:moveTo>
                    <a:pt x="609" y="572"/>
                  </a:moveTo>
                  <a:cubicBezTo>
                    <a:pt x="621" y="572"/>
                    <a:pt x="621" y="572"/>
                    <a:pt x="621" y="572"/>
                  </a:cubicBezTo>
                  <a:cubicBezTo>
                    <a:pt x="621" y="568"/>
                    <a:pt x="621" y="568"/>
                    <a:pt x="621" y="568"/>
                  </a:cubicBezTo>
                  <a:cubicBezTo>
                    <a:pt x="609" y="568"/>
                    <a:pt x="609" y="568"/>
                    <a:pt x="609" y="568"/>
                  </a:cubicBezTo>
                  <a:cubicBezTo>
                    <a:pt x="609" y="572"/>
                    <a:pt x="609" y="572"/>
                    <a:pt x="609" y="572"/>
                  </a:cubicBezTo>
                  <a:moveTo>
                    <a:pt x="589" y="572"/>
                  </a:moveTo>
                  <a:cubicBezTo>
                    <a:pt x="601" y="572"/>
                    <a:pt x="601" y="572"/>
                    <a:pt x="601" y="572"/>
                  </a:cubicBezTo>
                  <a:cubicBezTo>
                    <a:pt x="601" y="568"/>
                    <a:pt x="601" y="568"/>
                    <a:pt x="601" y="568"/>
                  </a:cubicBezTo>
                  <a:cubicBezTo>
                    <a:pt x="589" y="568"/>
                    <a:pt x="589" y="568"/>
                    <a:pt x="589" y="568"/>
                  </a:cubicBezTo>
                  <a:cubicBezTo>
                    <a:pt x="589" y="572"/>
                    <a:pt x="589" y="572"/>
                    <a:pt x="589" y="572"/>
                  </a:cubicBezTo>
                  <a:moveTo>
                    <a:pt x="569" y="572"/>
                  </a:moveTo>
                  <a:cubicBezTo>
                    <a:pt x="581" y="572"/>
                    <a:pt x="581" y="572"/>
                    <a:pt x="581" y="572"/>
                  </a:cubicBezTo>
                  <a:cubicBezTo>
                    <a:pt x="581" y="568"/>
                    <a:pt x="581" y="568"/>
                    <a:pt x="581" y="568"/>
                  </a:cubicBezTo>
                  <a:cubicBezTo>
                    <a:pt x="569" y="568"/>
                    <a:pt x="569" y="568"/>
                    <a:pt x="569" y="568"/>
                  </a:cubicBezTo>
                  <a:cubicBezTo>
                    <a:pt x="569" y="572"/>
                    <a:pt x="569" y="572"/>
                    <a:pt x="569" y="572"/>
                  </a:cubicBezTo>
                  <a:moveTo>
                    <a:pt x="549" y="572"/>
                  </a:moveTo>
                  <a:cubicBezTo>
                    <a:pt x="561" y="572"/>
                    <a:pt x="561" y="572"/>
                    <a:pt x="561" y="572"/>
                  </a:cubicBezTo>
                  <a:cubicBezTo>
                    <a:pt x="561" y="568"/>
                    <a:pt x="561" y="568"/>
                    <a:pt x="561" y="568"/>
                  </a:cubicBezTo>
                  <a:cubicBezTo>
                    <a:pt x="549" y="568"/>
                    <a:pt x="549" y="568"/>
                    <a:pt x="549" y="568"/>
                  </a:cubicBezTo>
                  <a:cubicBezTo>
                    <a:pt x="549" y="572"/>
                    <a:pt x="549" y="572"/>
                    <a:pt x="549" y="572"/>
                  </a:cubicBezTo>
                  <a:moveTo>
                    <a:pt x="529" y="572"/>
                  </a:moveTo>
                  <a:cubicBezTo>
                    <a:pt x="541" y="572"/>
                    <a:pt x="541" y="572"/>
                    <a:pt x="541" y="572"/>
                  </a:cubicBezTo>
                  <a:cubicBezTo>
                    <a:pt x="541" y="568"/>
                    <a:pt x="541" y="568"/>
                    <a:pt x="541" y="568"/>
                  </a:cubicBezTo>
                  <a:cubicBezTo>
                    <a:pt x="529" y="568"/>
                    <a:pt x="529" y="568"/>
                    <a:pt x="529" y="568"/>
                  </a:cubicBezTo>
                  <a:cubicBezTo>
                    <a:pt x="529" y="572"/>
                    <a:pt x="529" y="572"/>
                    <a:pt x="529" y="572"/>
                  </a:cubicBezTo>
                  <a:moveTo>
                    <a:pt x="509" y="572"/>
                  </a:moveTo>
                  <a:cubicBezTo>
                    <a:pt x="521" y="572"/>
                    <a:pt x="521" y="572"/>
                    <a:pt x="521" y="572"/>
                  </a:cubicBezTo>
                  <a:cubicBezTo>
                    <a:pt x="521" y="568"/>
                    <a:pt x="521" y="568"/>
                    <a:pt x="521" y="568"/>
                  </a:cubicBezTo>
                  <a:cubicBezTo>
                    <a:pt x="509" y="568"/>
                    <a:pt x="509" y="568"/>
                    <a:pt x="509" y="568"/>
                  </a:cubicBezTo>
                  <a:cubicBezTo>
                    <a:pt x="509" y="572"/>
                    <a:pt x="509" y="572"/>
                    <a:pt x="509" y="572"/>
                  </a:cubicBezTo>
                  <a:moveTo>
                    <a:pt x="489" y="572"/>
                  </a:moveTo>
                  <a:cubicBezTo>
                    <a:pt x="501" y="572"/>
                    <a:pt x="501" y="572"/>
                    <a:pt x="501" y="572"/>
                  </a:cubicBezTo>
                  <a:cubicBezTo>
                    <a:pt x="501" y="568"/>
                    <a:pt x="501" y="568"/>
                    <a:pt x="501" y="568"/>
                  </a:cubicBezTo>
                  <a:cubicBezTo>
                    <a:pt x="489" y="568"/>
                    <a:pt x="489" y="568"/>
                    <a:pt x="489" y="568"/>
                  </a:cubicBezTo>
                  <a:cubicBezTo>
                    <a:pt x="489" y="572"/>
                    <a:pt x="489" y="572"/>
                    <a:pt x="489" y="572"/>
                  </a:cubicBezTo>
                  <a:moveTo>
                    <a:pt x="469" y="572"/>
                  </a:moveTo>
                  <a:cubicBezTo>
                    <a:pt x="481" y="572"/>
                    <a:pt x="481" y="572"/>
                    <a:pt x="481" y="572"/>
                  </a:cubicBezTo>
                  <a:cubicBezTo>
                    <a:pt x="481" y="568"/>
                    <a:pt x="481" y="568"/>
                    <a:pt x="481" y="568"/>
                  </a:cubicBezTo>
                  <a:cubicBezTo>
                    <a:pt x="469" y="568"/>
                    <a:pt x="469" y="568"/>
                    <a:pt x="469" y="568"/>
                  </a:cubicBezTo>
                  <a:cubicBezTo>
                    <a:pt x="469" y="572"/>
                    <a:pt x="469" y="572"/>
                    <a:pt x="469" y="572"/>
                  </a:cubicBezTo>
                  <a:moveTo>
                    <a:pt x="449" y="572"/>
                  </a:moveTo>
                  <a:cubicBezTo>
                    <a:pt x="461" y="572"/>
                    <a:pt x="461" y="572"/>
                    <a:pt x="461" y="572"/>
                  </a:cubicBezTo>
                  <a:cubicBezTo>
                    <a:pt x="461" y="568"/>
                    <a:pt x="461" y="568"/>
                    <a:pt x="461" y="568"/>
                  </a:cubicBezTo>
                  <a:cubicBezTo>
                    <a:pt x="449" y="568"/>
                    <a:pt x="449" y="568"/>
                    <a:pt x="449" y="568"/>
                  </a:cubicBezTo>
                  <a:cubicBezTo>
                    <a:pt x="449" y="572"/>
                    <a:pt x="449" y="572"/>
                    <a:pt x="449" y="572"/>
                  </a:cubicBezTo>
                  <a:moveTo>
                    <a:pt x="429" y="572"/>
                  </a:moveTo>
                  <a:cubicBezTo>
                    <a:pt x="441" y="572"/>
                    <a:pt x="441" y="572"/>
                    <a:pt x="441" y="572"/>
                  </a:cubicBezTo>
                  <a:cubicBezTo>
                    <a:pt x="441" y="568"/>
                    <a:pt x="441" y="568"/>
                    <a:pt x="441" y="568"/>
                  </a:cubicBezTo>
                  <a:cubicBezTo>
                    <a:pt x="429" y="568"/>
                    <a:pt x="429" y="568"/>
                    <a:pt x="429" y="568"/>
                  </a:cubicBezTo>
                  <a:cubicBezTo>
                    <a:pt x="429" y="572"/>
                    <a:pt x="429" y="572"/>
                    <a:pt x="429" y="572"/>
                  </a:cubicBezTo>
                  <a:moveTo>
                    <a:pt x="409" y="572"/>
                  </a:moveTo>
                  <a:cubicBezTo>
                    <a:pt x="421" y="572"/>
                    <a:pt x="421" y="572"/>
                    <a:pt x="421" y="572"/>
                  </a:cubicBezTo>
                  <a:cubicBezTo>
                    <a:pt x="421" y="568"/>
                    <a:pt x="421" y="568"/>
                    <a:pt x="421" y="568"/>
                  </a:cubicBezTo>
                  <a:cubicBezTo>
                    <a:pt x="409" y="568"/>
                    <a:pt x="409" y="568"/>
                    <a:pt x="409" y="568"/>
                  </a:cubicBezTo>
                  <a:cubicBezTo>
                    <a:pt x="409" y="572"/>
                    <a:pt x="409" y="572"/>
                    <a:pt x="409" y="572"/>
                  </a:cubicBezTo>
                  <a:moveTo>
                    <a:pt x="389" y="572"/>
                  </a:moveTo>
                  <a:cubicBezTo>
                    <a:pt x="401" y="572"/>
                    <a:pt x="401" y="572"/>
                    <a:pt x="401" y="572"/>
                  </a:cubicBezTo>
                  <a:cubicBezTo>
                    <a:pt x="401" y="568"/>
                    <a:pt x="401" y="568"/>
                    <a:pt x="401" y="568"/>
                  </a:cubicBezTo>
                  <a:cubicBezTo>
                    <a:pt x="389" y="568"/>
                    <a:pt x="389" y="568"/>
                    <a:pt x="389" y="568"/>
                  </a:cubicBezTo>
                  <a:cubicBezTo>
                    <a:pt x="389" y="572"/>
                    <a:pt x="389" y="572"/>
                    <a:pt x="389" y="572"/>
                  </a:cubicBezTo>
                  <a:moveTo>
                    <a:pt x="369" y="572"/>
                  </a:moveTo>
                  <a:cubicBezTo>
                    <a:pt x="381" y="572"/>
                    <a:pt x="381" y="572"/>
                    <a:pt x="381" y="572"/>
                  </a:cubicBezTo>
                  <a:cubicBezTo>
                    <a:pt x="381" y="568"/>
                    <a:pt x="381" y="568"/>
                    <a:pt x="381" y="568"/>
                  </a:cubicBezTo>
                  <a:cubicBezTo>
                    <a:pt x="369" y="568"/>
                    <a:pt x="369" y="568"/>
                    <a:pt x="369" y="568"/>
                  </a:cubicBezTo>
                  <a:cubicBezTo>
                    <a:pt x="369" y="572"/>
                    <a:pt x="369" y="572"/>
                    <a:pt x="369" y="572"/>
                  </a:cubicBezTo>
                  <a:moveTo>
                    <a:pt x="349" y="572"/>
                  </a:moveTo>
                  <a:cubicBezTo>
                    <a:pt x="361" y="572"/>
                    <a:pt x="361" y="572"/>
                    <a:pt x="361" y="572"/>
                  </a:cubicBezTo>
                  <a:cubicBezTo>
                    <a:pt x="361" y="568"/>
                    <a:pt x="361" y="568"/>
                    <a:pt x="361" y="568"/>
                  </a:cubicBezTo>
                  <a:cubicBezTo>
                    <a:pt x="349" y="568"/>
                    <a:pt x="349" y="568"/>
                    <a:pt x="349" y="568"/>
                  </a:cubicBezTo>
                  <a:cubicBezTo>
                    <a:pt x="349" y="572"/>
                    <a:pt x="349" y="572"/>
                    <a:pt x="349" y="572"/>
                  </a:cubicBezTo>
                  <a:moveTo>
                    <a:pt x="329" y="572"/>
                  </a:moveTo>
                  <a:cubicBezTo>
                    <a:pt x="341" y="572"/>
                    <a:pt x="341" y="572"/>
                    <a:pt x="341" y="572"/>
                  </a:cubicBezTo>
                  <a:cubicBezTo>
                    <a:pt x="341" y="568"/>
                    <a:pt x="341" y="568"/>
                    <a:pt x="341" y="568"/>
                  </a:cubicBezTo>
                  <a:cubicBezTo>
                    <a:pt x="329" y="568"/>
                    <a:pt x="329" y="568"/>
                    <a:pt x="329" y="568"/>
                  </a:cubicBezTo>
                  <a:cubicBezTo>
                    <a:pt x="329" y="572"/>
                    <a:pt x="329" y="572"/>
                    <a:pt x="329" y="572"/>
                  </a:cubicBezTo>
                  <a:moveTo>
                    <a:pt x="309" y="572"/>
                  </a:moveTo>
                  <a:cubicBezTo>
                    <a:pt x="321" y="572"/>
                    <a:pt x="321" y="572"/>
                    <a:pt x="321" y="572"/>
                  </a:cubicBezTo>
                  <a:cubicBezTo>
                    <a:pt x="321" y="568"/>
                    <a:pt x="321" y="568"/>
                    <a:pt x="321" y="568"/>
                  </a:cubicBezTo>
                  <a:cubicBezTo>
                    <a:pt x="309" y="568"/>
                    <a:pt x="309" y="568"/>
                    <a:pt x="309" y="568"/>
                  </a:cubicBezTo>
                  <a:cubicBezTo>
                    <a:pt x="309" y="572"/>
                    <a:pt x="309" y="572"/>
                    <a:pt x="309" y="572"/>
                  </a:cubicBezTo>
                  <a:moveTo>
                    <a:pt x="289" y="572"/>
                  </a:moveTo>
                  <a:cubicBezTo>
                    <a:pt x="301" y="572"/>
                    <a:pt x="301" y="572"/>
                    <a:pt x="301" y="572"/>
                  </a:cubicBezTo>
                  <a:cubicBezTo>
                    <a:pt x="301" y="568"/>
                    <a:pt x="301" y="568"/>
                    <a:pt x="301" y="568"/>
                  </a:cubicBezTo>
                  <a:cubicBezTo>
                    <a:pt x="289" y="568"/>
                    <a:pt x="289" y="568"/>
                    <a:pt x="289" y="568"/>
                  </a:cubicBezTo>
                  <a:cubicBezTo>
                    <a:pt x="289" y="572"/>
                    <a:pt x="289" y="572"/>
                    <a:pt x="289" y="572"/>
                  </a:cubicBezTo>
                  <a:moveTo>
                    <a:pt x="269" y="572"/>
                  </a:moveTo>
                  <a:cubicBezTo>
                    <a:pt x="281" y="572"/>
                    <a:pt x="281" y="572"/>
                    <a:pt x="281" y="572"/>
                  </a:cubicBezTo>
                  <a:cubicBezTo>
                    <a:pt x="281" y="568"/>
                    <a:pt x="281" y="568"/>
                    <a:pt x="281" y="568"/>
                  </a:cubicBezTo>
                  <a:cubicBezTo>
                    <a:pt x="269" y="568"/>
                    <a:pt x="269" y="568"/>
                    <a:pt x="269" y="568"/>
                  </a:cubicBezTo>
                  <a:cubicBezTo>
                    <a:pt x="269" y="572"/>
                    <a:pt x="269" y="572"/>
                    <a:pt x="269" y="572"/>
                  </a:cubicBezTo>
                  <a:moveTo>
                    <a:pt x="249" y="572"/>
                  </a:moveTo>
                  <a:cubicBezTo>
                    <a:pt x="261" y="572"/>
                    <a:pt x="261" y="572"/>
                    <a:pt x="261" y="572"/>
                  </a:cubicBezTo>
                  <a:cubicBezTo>
                    <a:pt x="261" y="568"/>
                    <a:pt x="261" y="568"/>
                    <a:pt x="261" y="568"/>
                  </a:cubicBezTo>
                  <a:cubicBezTo>
                    <a:pt x="249" y="568"/>
                    <a:pt x="249" y="568"/>
                    <a:pt x="249" y="568"/>
                  </a:cubicBezTo>
                  <a:cubicBezTo>
                    <a:pt x="249" y="572"/>
                    <a:pt x="249" y="572"/>
                    <a:pt x="249" y="572"/>
                  </a:cubicBezTo>
                  <a:moveTo>
                    <a:pt x="229" y="572"/>
                  </a:moveTo>
                  <a:cubicBezTo>
                    <a:pt x="241" y="572"/>
                    <a:pt x="241" y="572"/>
                    <a:pt x="241" y="572"/>
                  </a:cubicBezTo>
                  <a:cubicBezTo>
                    <a:pt x="241" y="568"/>
                    <a:pt x="241" y="568"/>
                    <a:pt x="241" y="568"/>
                  </a:cubicBezTo>
                  <a:cubicBezTo>
                    <a:pt x="229" y="568"/>
                    <a:pt x="229" y="568"/>
                    <a:pt x="229" y="568"/>
                  </a:cubicBezTo>
                  <a:cubicBezTo>
                    <a:pt x="229" y="572"/>
                    <a:pt x="229" y="572"/>
                    <a:pt x="229" y="572"/>
                  </a:cubicBezTo>
                  <a:moveTo>
                    <a:pt x="209" y="572"/>
                  </a:moveTo>
                  <a:cubicBezTo>
                    <a:pt x="221" y="572"/>
                    <a:pt x="221" y="572"/>
                    <a:pt x="221" y="572"/>
                  </a:cubicBezTo>
                  <a:cubicBezTo>
                    <a:pt x="221" y="568"/>
                    <a:pt x="221" y="568"/>
                    <a:pt x="221" y="568"/>
                  </a:cubicBezTo>
                  <a:cubicBezTo>
                    <a:pt x="209" y="568"/>
                    <a:pt x="209" y="568"/>
                    <a:pt x="209" y="568"/>
                  </a:cubicBezTo>
                  <a:cubicBezTo>
                    <a:pt x="209" y="572"/>
                    <a:pt x="209" y="572"/>
                    <a:pt x="209" y="572"/>
                  </a:cubicBezTo>
                  <a:moveTo>
                    <a:pt x="189" y="572"/>
                  </a:moveTo>
                  <a:cubicBezTo>
                    <a:pt x="201" y="572"/>
                    <a:pt x="201" y="572"/>
                    <a:pt x="201" y="572"/>
                  </a:cubicBezTo>
                  <a:cubicBezTo>
                    <a:pt x="201" y="568"/>
                    <a:pt x="201" y="568"/>
                    <a:pt x="201" y="568"/>
                  </a:cubicBezTo>
                  <a:cubicBezTo>
                    <a:pt x="189" y="568"/>
                    <a:pt x="189" y="568"/>
                    <a:pt x="189" y="568"/>
                  </a:cubicBezTo>
                  <a:cubicBezTo>
                    <a:pt x="189" y="572"/>
                    <a:pt x="189" y="572"/>
                    <a:pt x="189" y="572"/>
                  </a:cubicBezTo>
                  <a:moveTo>
                    <a:pt x="169" y="573"/>
                  </a:moveTo>
                  <a:cubicBezTo>
                    <a:pt x="173" y="573"/>
                    <a:pt x="177" y="572"/>
                    <a:pt x="181" y="572"/>
                  </a:cubicBezTo>
                  <a:cubicBezTo>
                    <a:pt x="181" y="568"/>
                    <a:pt x="181" y="568"/>
                    <a:pt x="181" y="568"/>
                  </a:cubicBezTo>
                  <a:cubicBezTo>
                    <a:pt x="177" y="568"/>
                    <a:pt x="173" y="569"/>
                    <a:pt x="169" y="569"/>
                  </a:cubicBezTo>
                  <a:cubicBezTo>
                    <a:pt x="169" y="573"/>
                    <a:pt x="169" y="573"/>
                    <a:pt x="169" y="573"/>
                  </a:cubicBezTo>
                  <a:moveTo>
                    <a:pt x="149" y="576"/>
                  </a:moveTo>
                  <a:cubicBezTo>
                    <a:pt x="153" y="575"/>
                    <a:pt x="157" y="574"/>
                    <a:pt x="161" y="574"/>
                  </a:cubicBezTo>
                  <a:cubicBezTo>
                    <a:pt x="161" y="570"/>
                    <a:pt x="161" y="570"/>
                    <a:pt x="161" y="570"/>
                  </a:cubicBezTo>
                  <a:cubicBezTo>
                    <a:pt x="156" y="570"/>
                    <a:pt x="152" y="571"/>
                    <a:pt x="149" y="572"/>
                  </a:cubicBezTo>
                  <a:cubicBezTo>
                    <a:pt x="149" y="576"/>
                    <a:pt x="149" y="576"/>
                    <a:pt x="149" y="576"/>
                  </a:cubicBezTo>
                  <a:moveTo>
                    <a:pt x="130" y="580"/>
                  </a:moveTo>
                  <a:cubicBezTo>
                    <a:pt x="134" y="579"/>
                    <a:pt x="138" y="578"/>
                    <a:pt x="142" y="577"/>
                  </a:cubicBezTo>
                  <a:cubicBezTo>
                    <a:pt x="141" y="573"/>
                    <a:pt x="141" y="573"/>
                    <a:pt x="141" y="573"/>
                  </a:cubicBezTo>
                  <a:cubicBezTo>
                    <a:pt x="137" y="574"/>
                    <a:pt x="133" y="575"/>
                    <a:pt x="129" y="576"/>
                  </a:cubicBezTo>
                  <a:cubicBezTo>
                    <a:pt x="130" y="580"/>
                    <a:pt x="130" y="580"/>
                    <a:pt x="130" y="580"/>
                  </a:cubicBezTo>
                  <a:moveTo>
                    <a:pt x="112" y="587"/>
                  </a:moveTo>
                  <a:cubicBezTo>
                    <a:pt x="115" y="586"/>
                    <a:pt x="119" y="584"/>
                    <a:pt x="123" y="583"/>
                  </a:cubicBezTo>
                  <a:cubicBezTo>
                    <a:pt x="121" y="579"/>
                    <a:pt x="121" y="579"/>
                    <a:pt x="121" y="579"/>
                  </a:cubicBezTo>
                  <a:cubicBezTo>
                    <a:pt x="117" y="580"/>
                    <a:pt x="114" y="582"/>
                    <a:pt x="110" y="584"/>
                  </a:cubicBezTo>
                  <a:cubicBezTo>
                    <a:pt x="112" y="587"/>
                    <a:pt x="112" y="587"/>
                    <a:pt x="112" y="587"/>
                  </a:cubicBezTo>
                  <a:moveTo>
                    <a:pt x="94" y="596"/>
                  </a:moveTo>
                  <a:cubicBezTo>
                    <a:pt x="97" y="594"/>
                    <a:pt x="101" y="592"/>
                    <a:pt x="104" y="590"/>
                  </a:cubicBezTo>
                  <a:cubicBezTo>
                    <a:pt x="103" y="587"/>
                    <a:pt x="103" y="587"/>
                    <a:pt x="103" y="587"/>
                  </a:cubicBezTo>
                  <a:cubicBezTo>
                    <a:pt x="99" y="589"/>
                    <a:pt x="95" y="591"/>
                    <a:pt x="92" y="593"/>
                  </a:cubicBezTo>
                  <a:cubicBezTo>
                    <a:pt x="94" y="596"/>
                    <a:pt x="94" y="596"/>
                    <a:pt x="94" y="596"/>
                  </a:cubicBezTo>
                  <a:moveTo>
                    <a:pt x="77" y="607"/>
                  </a:moveTo>
                  <a:cubicBezTo>
                    <a:pt x="81" y="604"/>
                    <a:pt x="84" y="602"/>
                    <a:pt x="87" y="600"/>
                  </a:cubicBezTo>
                  <a:cubicBezTo>
                    <a:pt x="85" y="597"/>
                    <a:pt x="85" y="597"/>
                    <a:pt x="85" y="597"/>
                  </a:cubicBezTo>
                  <a:cubicBezTo>
                    <a:pt x="82" y="599"/>
                    <a:pt x="78" y="601"/>
                    <a:pt x="75" y="604"/>
                  </a:cubicBezTo>
                  <a:cubicBezTo>
                    <a:pt x="77" y="607"/>
                    <a:pt x="77" y="607"/>
                    <a:pt x="77" y="607"/>
                  </a:cubicBezTo>
                  <a:moveTo>
                    <a:pt x="62" y="619"/>
                  </a:moveTo>
                  <a:cubicBezTo>
                    <a:pt x="65" y="617"/>
                    <a:pt x="68" y="614"/>
                    <a:pt x="71" y="612"/>
                  </a:cubicBezTo>
                  <a:cubicBezTo>
                    <a:pt x="69" y="609"/>
                    <a:pt x="69" y="609"/>
                    <a:pt x="69" y="609"/>
                  </a:cubicBezTo>
                  <a:cubicBezTo>
                    <a:pt x="66" y="611"/>
                    <a:pt x="62" y="614"/>
                    <a:pt x="59" y="616"/>
                  </a:cubicBezTo>
                  <a:cubicBezTo>
                    <a:pt x="62" y="619"/>
                    <a:pt x="62" y="619"/>
                    <a:pt x="62" y="619"/>
                  </a:cubicBezTo>
                  <a:moveTo>
                    <a:pt x="48" y="634"/>
                  </a:moveTo>
                  <a:cubicBezTo>
                    <a:pt x="51" y="631"/>
                    <a:pt x="54" y="628"/>
                    <a:pt x="56" y="625"/>
                  </a:cubicBezTo>
                  <a:cubicBezTo>
                    <a:pt x="54" y="622"/>
                    <a:pt x="54" y="622"/>
                    <a:pt x="54" y="622"/>
                  </a:cubicBezTo>
                  <a:cubicBezTo>
                    <a:pt x="51" y="625"/>
                    <a:pt x="48" y="628"/>
                    <a:pt x="45" y="631"/>
                  </a:cubicBezTo>
                  <a:cubicBezTo>
                    <a:pt x="48" y="634"/>
                    <a:pt x="48" y="634"/>
                    <a:pt x="48" y="634"/>
                  </a:cubicBezTo>
                  <a:cubicBezTo>
                    <a:pt x="48" y="634"/>
                    <a:pt x="48" y="634"/>
                    <a:pt x="48" y="634"/>
                  </a:cubicBezTo>
                  <a:moveTo>
                    <a:pt x="36" y="649"/>
                  </a:moveTo>
                  <a:cubicBezTo>
                    <a:pt x="38" y="646"/>
                    <a:pt x="41" y="643"/>
                    <a:pt x="43" y="640"/>
                  </a:cubicBezTo>
                  <a:cubicBezTo>
                    <a:pt x="40" y="637"/>
                    <a:pt x="40" y="637"/>
                    <a:pt x="40" y="637"/>
                  </a:cubicBezTo>
                  <a:cubicBezTo>
                    <a:pt x="38" y="640"/>
                    <a:pt x="35" y="643"/>
                    <a:pt x="33" y="647"/>
                  </a:cubicBezTo>
                  <a:cubicBezTo>
                    <a:pt x="36" y="649"/>
                    <a:pt x="36" y="649"/>
                    <a:pt x="36" y="649"/>
                  </a:cubicBezTo>
                  <a:moveTo>
                    <a:pt x="26" y="666"/>
                  </a:moveTo>
                  <a:cubicBezTo>
                    <a:pt x="28" y="662"/>
                    <a:pt x="30" y="659"/>
                    <a:pt x="32" y="656"/>
                  </a:cubicBezTo>
                  <a:cubicBezTo>
                    <a:pt x="28" y="654"/>
                    <a:pt x="28" y="654"/>
                    <a:pt x="28" y="654"/>
                  </a:cubicBezTo>
                  <a:cubicBezTo>
                    <a:pt x="26" y="657"/>
                    <a:pt x="24" y="660"/>
                    <a:pt x="22" y="664"/>
                  </a:cubicBezTo>
                  <a:cubicBezTo>
                    <a:pt x="26" y="666"/>
                    <a:pt x="26" y="666"/>
                    <a:pt x="26" y="666"/>
                  </a:cubicBezTo>
                  <a:cubicBezTo>
                    <a:pt x="26" y="666"/>
                    <a:pt x="26" y="666"/>
                    <a:pt x="26" y="666"/>
                  </a:cubicBezTo>
                  <a:moveTo>
                    <a:pt x="17" y="684"/>
                  </a:moveTo>
                  <a:cubicBezTo>
                    <a:pt x="19" y="680"/>
                    <a:pt x="20" y="677"/>
                    <a:pt x="22" y="673"/>
                  </a:cubicBezTo>
                  <a:cubicBezTo>
                    <a:pt x="19" y="671"/>
                    <a:pt x="19" y="671"/>
                    <a:pt x="19" y="671"/>
                  </a:cubicBezTo>
                  <a:cubicBezTo>
                    <a:pt x="17" y="675"/>
                    <a:pt x="15" y="679"/>
                    <a:pt x="14" y="682"/>
                  </a:cubicBezTo>
                  <a:cubicBezTo>
                    <a:pt x="17" y="684"/>
                    <a:pt x="17" y="684"/>
                    <a:pt x="17" y="684"/>
                  </a:cubicBezTo>
                  <a:moveTo>
                    <a:pt x="11" y="703"/>
                  </a:moveTo>
                  <a:cubicBezTo>
                    <a:pt x="12" y="699"/>
                    <a:pt x="13" y="695"/>
                    <a:pt x="15" y="691"/>
                  </a:cubicBezTo>
                  <a:cubicBezTo>
                    <a:pt x="11" y="690"/>
                    <a:pt x="11" y="690"/>
                    <a:pt x="11" y="690"/>
                  </a:cubicBezTo>
                  <a:cubicBezTo>
                    <a:pt x="9" y="694"/>
                    <a:pt x="8" y="698"/>
                    <a:pt x="7" y="701"/>
                  </a:cubicBezTo>
                  <a:cubicBezTo>
                    <a:pt x="11" y="703"/>
                    <a:pt x="11" y="703"/>
                    <a:pt x="11" y="703"/>
                  </a:cubicBezTo>
                  <a:moveTo>
                    <a:pt x="7" y="722"/>
                  </a:moveTo>
                  <a:cubicBezTo>
                    <a:pt x="7" y="718"/>
                    <a:pt x="8" y="714"/>
                    <a:pt x="9" y="710"/>
                  </a:cubicBezTo>
                  <a:cubicBezTo>
                    <a:pt x="5" y="709"/>
                    <a:pt x="5" y="709"/>
                    <a:pt x="5" y="709"/>
                  </a:cubicBezTo>
                  <a:cubicBezTo>
                    <a:pt x="4" y="713"/>
                    <a:pt x="3" y="717"/>
                    <a:pt x="3" y="721"/>
                  </a:cubicBezTo>
                  <a:cubicBezTo>
                    <a:pt x="7" y="722"/>
                    <a:pt x="7" y="722"/>
                    <a:pt x="7" y="722"/>
                  </a:cubicBezTo>
                  <a:moveTo>
                    <a:pt x="5" y="741"/>
                  </a:moveTo>
                  <a:cubicBezTo>
                    <a:pt x="5" y="738"/>
                    <a:pt x="5" y="734"/>
                    <a:pt x="6" y="730"/>
                  </a:cubicBezTo>
                  <a:cubicBezTo>
                    <a:pt x="2" y="729"/>
                    <a:pt x="2" y="729"/>
                    <a:pt x="2" y="729"/>
                  </a:cubicBezTo>
                  <a:cubicBezTo>
                    <a:pt x="1" y="733"/>
                    <a:pt x="1" y="737"/>
                    <a:pt x="1" y="741"/>
                  </a:cubicBezTo>
                  <a:cubicBezTo>
                    <a:pt x="5" y="741"/>
                    <a:pt x="5" y="741"/>
                    <a:pt x="5" y="741"/>
                  </a:cubicBezTo>
                  <a:moveTo>
                    <a:pt x="5" y="761"/>
                  </a:moveTo>
                  <a:cubicBezTo>
                    <a:pt x="4" y="758"/>
                    <a:pt x="4" y="754"/>
                    <a:pt x="4" y="751"/>
                  </a:cubicBezTo>
                  <a:cubicBezTo>
                    <a:pt x="4" y="750"/>
                    <a:pt x="4" y="750"/>
                    <a:pt x="4" y="749"/>
                  </a:cubicBezTo>
                  <a:cubicBezTo>
                    <a:pt x="0" y="749"/>
                    <a:pt x="0" y="749"/>
                    <a:pt x="0" y="749"/>
                  </a:cubicBezTo>
                  <a:cubicBezTo>
                    <a:pt x="0" y="750"/>
                    <a:pt x="0" y="750"/>
                    <a:pt x="0" y="751"/>
                  </a:cubicBezTo>
                  <a:cubicBezTo>
                    <a:pt x="0" y="755"/>
                    <a:pt x="0" y="758"/>
                    <a:pt x="1" y="761"/>
                  </a:cubicBezTo>
                  <a:cubicBezTo>
                    <a:pt x="5" y="761"/>
                    <a:pt x="5" y="761"/>
                    <a:pt x="5" y="761"/>
                  </a:cubicBezTo>
                  <a:moveTo>
                    <a:pt x="7" y="781"/>
                  </a:moveTo>
                  <a:cubicBezTo>
                    <a:pt x="6" y="777"/>
                    <a:pt x="6" y="773"/>
                    <a:pt x="5" y="769"/>
                  </a:cubicBezTo>
                  <a:cubicBezTo>
                    <a:pt x="1" y="770"/>
                    <a:pt x="1" y="770"/>
                    <a:pt x="1" y="770"/>
                  </a:cubicBezTo>
                  <a:cubicBezTo>
                    <a:pt x="2" y="774"/>
                    <a:pt x="2" y="778"/>
                    <a:pt x="3" y="782"/>
                  </a:cubicBezTo>
                  <a:cubicBezTo>
                    <a:pt x="7" y="781"/>
                    <a:pt x="7" y="781"/>
                    <a:pt x="7" y="781"/>
                  </a:cubicBezTo>
                  <a:cubicBezTo>
                    <a:pt x="7" y="781"/>
                    <a:pt x="7" y="781"/>
                    <a:pt x="7" y="781"/>
                  </a:cubicBezTo>
                  <a:moveTo>
                    <a:pt x="11" y="800"/>
                  </a:moveTo>
                  <a:cubicBezTo>
                    <a:pt x="10" y="796"/>
                    <a:pt x="9" y="793"/>
                    <a:pt x="8" y="789"/>
                  </a:cubicBezTo>
                  <a:cubicBezTo>
                    <a:pt x="4" y="789"/>
                    <a:pt x="4" y="789"/>
                    <a:pt x="4" y="789"/>
                  </a:cubicBezTo>
                  <a:cubicBezTo>
                    <a:pt x="5" y="793"/>
                    <a:pt x="6" y="797"/>
                    <a:pt x="7" y="801"/>
                  </a:cubicBezTo>
                  <a:cubicBezTo>
                    <a:pt x="11" y="800"/>
                    <a:pt x="11" y="800"/>
                    <a:pt x="11" y="800"/>
                  </a:cubicBezTo>
                  <a:moveTo>
                    <a:pt x="18" y="819"/>
                  </a:moveTo>
                  <a:cubicBezTo>
                    <a:pt x="16" y="815"/>
                    <a:pt x="15" y="811"/>
                    <a:pt x="13" y="808"/>
                  </a:cubicBezTo>
                  <a:cubicBezTo>
                    <a:pt x="10" y="809"/>
                    <a:pt x="10" y="809"/>
                    <a:pt x="10" y="809"/>
                  </a:cubicBezTo>
                  <a:cubicBezTo>
                    <a:pt x="11" y="813"/>
                    <a:pt x="12" y="817"/>
                    <a:pt x="14" y="820"/>
                  </a:cubicBezTo>
                  <a:cubicBezTo>
                    <a:pt x="18" y="819"/>
                    <a:pt x="18" y="819"/>
                    <a:pt x="18" y="819"/>
                  </a:cubicBezTo>
                  <a:moveTo>
                    <a:pt x="26" y="837"/>
                  </a:moveTo>
                  <a:cubicBezTo>
                    <a:pt x="24" y="833"/>
                    <a:pt x="22" y="830"/>
                    <a:pt x="21" y="826"/>
                  </a:cubicBezTo>
                  <a:cubicBezTo>
                    <a:pt x="17" y="828"/>
                    <a:pt x="17" y="828"/>
                    <a:pt x="17" y="828"/>
                  </a:cubicBezTo>
                  <a:cubicBezTo>
                    <a:pt x="19" y="831"/>
                    <a:pt x="21" y="835"/>
                    <a:pt x="23" y="839"/>
                  </a:cubicBezTo>
                  <a:cubicBezTo>
                    <a:pt x="26" y="837"/>
                    <a:pt x="26" y="837"/>
                    <a:pt x="26" y="837"/>
                  </a:cubicBezTo>
                  <a:moveTo>
                    <a:pt x="37" y="853"/>
                  </a:moveTo>
                  <a:cubicBezTo>
                    <a:pt x="34" y="850"/>
                    <a:pt x="32" y="847"/>
                    <a:pt x="30" y="843"/>
                  </a:cubicBezTo>
                  <a:cubicBezTo>
                    <a:pt x="27" y="846"/>
                    <a:pt x="27" y="846"/>
                    <a:pt x="27" y="846"/>
                  </a:cubicBezTo>
                  <a:cubicBezTo>
                    <a:pt x="29" y="849"/>
                    <a:pt x="31" y="852"/>
                    <a:pt x="33" y="856"/>
                  </a:cubicBezTo>
                  <a:cubicBezTo>
                    <a:pt x="37" y="853"/>
                    <a:pt x="37" y="853"/>
                    <a:pt x="37" y="853"/>
                  </a:cubicBezTo>
                  <a:moveTo>
                    <a:pt x="49" y="869"/>
                  </a:moveTo>
                  <a:cubicBezTo>
                    <a:pt x="46" y="866"/>
                    <a:pt x="44" y="863"/>
                    <a:pt x="41" y="860"/>
                  </a:cubicBezTo>
                  <a:cubicBezTo>
                    <a:pt x="38" y="862"/>
                    <a:pt x="38" y="862"/>
                    <a:pt x="38" y="862"/>
                  </a:cubicBezTo>
                  <a:cubicBezTo>
                    <a:pt x="41" y="865"/>
                    <a:pt x="43" y="869"/>
                    <a:pt x="46" y="872"/>
                  </a:cubicBezTo>
                  <a:cubicBezTo>
                    <a:pt x="49" y="869"/>
                    <a:pt x="49" y="869"/>
                    <a:pt x="49" y="869"/>
                  </a:cubicBezTo>
                  <a:moveTo>
                    <a:pt x="63" y="883"/>
                  </a:moveTo>
                  <a:cubicBezTo>
                    <a:pt x="60" y="880"/>
                    <a:pt x="57" y="878"/>
                    <a:pt x="54" y="875"/>
                  </a:cubicBezTo>
                  <a:cubicBezTo>
                    <a:pt x="51" y="878"/>
                    <a:pt x="51" y="878"/>
                    <a:pt x="51" y="878"/>
                  </a:cubicBezTo>
                  <a:cubicBezTo>
                    <a:pt x="54" y="880"/>
                    <a:pt x="57" y="883"/>
                    <a:pt x="60" y="886"/>
                  </a:cubicBezTo>
                  <a:cubicBezTo>
                    <a:pt x="63" y="883"/>
                    <a:pt x="63" y="883"/>
                    <a:pt x="63" y="883"/>
                  </a:cubicBezTo>
                  <a:moveTo>
                    <a:pt x="78" y="896"/>
                  </a:moveTo>
                  <a:cubicBezTo>
                    <a:pt x="75" y="893"/>
                    <a:pt x="72" y="891"/>
                    <a:pt x="69" y="888"/>
                  </a:cubicBezTo>
                  <a:cubicBezTo>
                    <a:pt x="66" y="891"/>
                    <a:pt x="66" y="891"/>
                    <a:pt x="66" y="891"/>
                  </a:cubicBezTo>
                  <a:cubicBezTo>
                    <a:pt x="69" y="894"/>
                    <a:pt x="72" y="896"/>
                    <a:pt x="76" y="899"/>
                  </a:cubicBezTo>
                  <a:cubicBezTo>
                    <a:pt x="78" y="896"/>
                    <a:pt x="78" y="896"/>
                    <a:pt x="78" y="896"/>
                  </a:cubicBezTo>
                  <a:moveTo>
                    <a:pt x="95" y="906"/>
                  </a:moveTo>
                  <a:cubicBezTo>
                    <a:pt x="91" y="904"/>
                    <a:pt x="88" y="902"/>
                    <a:pt x="84" y="900"/>
                  </a:cubicBezTo>
                  <a:cubicBezTo>
                    <a:pt x="82" y="903"/>
                    <a:pt x="82" y="903"/>
                    <a:pt x="82" y="903"/>
                  </a:cubicBezTo>
                  <a:cubicBezTo>
                    <a:pt x="86" y="906"/>
                    <a:pt x="89" y="908"/>
                    <a:pt x="93" y="910"/>
                  </a:cubicBezTo>
                  <a:cubicBezTo>
                    <a:pt x="95" y="906"/>
                    <a:pt x="95" y="906"/>
                    <a:pt x="95" y="906"/>
                  </a:cubicBezTo>
                  <a:moveTo>
                    <a:pt x="112" y="915"/>
                  </a:moveTo>
                  <a:cubicBezTo>
                    <a:pt x="109" y="914"/>
                    <a:pt x="105" y="912"/>
                    <a:pt x="102" y="910"/>
                  </a:cubicBezTo>
                  <a:cubicBezTo>
                    <a:pt x="100" y="914"/>
                    <a:pt x="100" y="914"/>
                    <a:pt x="100" y="914"/>
                  </a:cubicBezTo>
                  <a:cubicBezTo>
                    <a:pt x="103" y="915"/>
                    <a:pt x="107" y="917"/>
                    <a:pt x="111" y="919"/>
                  </a:cubicBezTo>
                  <a:cubicBezTo>
                    <a:pt x="112" y="915"/>
                    <a:pt x="112" y="915"/>
                    <a:pt x="112" y="915"/>
                  </a:cubicBezTo>
                  <a:moveTo>
                    <a:pt x="131" y="922"/>
                  </a:moveTo>
                  <a:cubicBezTo>
                    <a:pt x="127" y="921"/>
                    <a:pt x="123" y="919"/>
                    <a:pt x="120" y="918"/>
                  </a:cubicBezTo>
                  <a:cubicBezTo>
                    <a:pt x="118" y="922"/>
                    <a:pt x="118" y="922"/>
                    <a:pt x="118" y="922"/>
                  </a:cubicBezTo>
                  <a:cubicBezTo>
                    <a:pt x="122" y="923"/>
                    <a:pt x="126" y="925"/>
                    <a:pt x="130" y="926"/>
                  </a:cubicBezTo>
                  <a:cubicBezTo>
                    <a:pt x="131" y="922"/>
                    <a:pt x="131" y="922"/>
                    <a:pt x="131" y="922"/>
                  </a:cubicBezTo>
                  <a:moveTo>
                    <a:pt x="150" y="927"/>
                  </a:moveTo>
                  <a:cubicBezTo>
                    <a:pt x="146" y="926"/>
                    <a:pt x="142" y="925"/>
                    <a:pt x="138" y="924"/>
                  </a:cubicBezTo>
                  <a:cubicBezTo>
                    <a:pt x="137" y="928"/>
                    <a:pt x="137" y="928"/>
                    <a:pt x="137" y="928"/>
                  </a:cubicBezTo>
                  <a:cubicBezTo>
                    <a:pt x="141" y="929"/>
                    <a:pt x="145" y="930"/>
                    <a:pt x="149" y="931"/>
                  </a:cubicBezTo>
                  <a:cubicBezTo>
                    <a:pt x="150" y="927"/>
                    <a:pt x="150" y="927"/>
                    <a:pt x="150" y="927"/>
                  </a:cubicBezTo>
                  <a:moveTo>
                    <a:pt x="170" y="929"/>
                  </a:moveTo>
                  <a:cubicBezTo>
                    <a:pt x="166" y="929"/>
                    <a:pt x="162" y="928"/>
                    <a:pt x="158" y="928"/>
                  </a:cubicBezTo>
                  <a:cubicBezTo>
                    <a:pt x="157" y="932"/>
                    <a:pt x="157" y="932"/>
                    <a:pt x="157" y="932"/>
                  </a:cubicBezTo>
                  <a:cubicBezTo>
                    <a:pt x="161" y="932"/>
                    <a:pt x="165" y="933"/>
                    <a:pt x="169" y="933"/>
                  </a:cubicBezTo>
                  <a:cubicBezTo>
                    <a:pt x="170" y="929"/>
                    <a:pt x="170" y="929"/>
                    <a:pt x="170" y="929"/>
                  </a:cubicBezTo>
                  <a:moveTo>
                    <a:pt x="189" y="930"/>
                  </a:moveTo>
                  <a:cubicBezTo>
                    <a:pt x="183" y="930"/>
                    <a:pt x="183" y="930"/>
                    <a:pt x="183" y="930"/>
                  </a:cubicBezTo>
                  <a:cubicBezTo>
                    <a:pt x="181" y="930"/>
                    <a:pt x="179" y="930"/>
                    <a:pt x="178" y="930"/>
                  </a:cubicBezTo>
                  <a:cubicBezTo>
                    <a:pt x="177" y="934"/>
                    <a:pt x="177" y="934"/>
                    <a:pt x="177" y="934"/>
                  </a:cubicBezTo>
                  <a:cubicBezTo>
                    <a:pt x="179" y="934"/>
                    <a:pt x="181" y="934"/>
                    <a:pt x="183" y="934"/>
                  </a:cubicBezTo>
                  <a:cubicBezTo>
                    <a:pt x="189" y="934"/>
                    <a:pt x="189" y="934"/>
                    <a:pt x="189" y="934"/>
                  </a:cubicBezTo>
                  <a:cubicBezTo>
                    <a:pt x="189" y="930"/>
                    <a:pt x="189" y="930"/>
                    <a:pt x="189" y="930"/>
                  </a:cubicBezTo>
                  <a:cubicBezTo>
                    <a:pt x="189" y="930"/>
                    <a:pt x="189" y="930"/>
                    <a:pt x="189" y="930"/>
                  </a:cubicBezTo>
                  <a:moveTo>
                    <a:pt x="209" y="930"/>
                  </a:moveTo>
                  <a:cubicBezTo>
                    <a:pt x="197" y="930"/>
                    <a:pt x="197" y="930"/>
                    <a:pt x="197" y="930"/>
                  </a:cubicBezTo>
                  <a:cubicBezTo>
                    <a:pt x="197" y="934"/>
                    <a:pt x="197" y="934"/>
                    <a:pt x="197" y="934"/>
                  </a:cubicBezTo>
                  <a:cubicBezTo>
                    <a:pt x="209" y="934"/>
                    <a:pt x="209" y="934"/>
                    <a:pt x="209" y="934"/>
                  </a:cubicBezTo>
                  <a:cubicBezTo>
                    <a:pt x="209" y="930"/>
                    <a:pt x="209" y="930"/>
                    <a:pt x="209" y="930"/>
                  </a:cubicBezTo>
                  <a:moveTo>
                    <a:pt x="229" y="930"/>
                  </a:moveTo>
                  <a:cubicBezTo>
                    <a:pt x="217" y="930"/>
                    <a:pt x="217" y="930"/>
                    <a:pt x="217" y="930"/>
                  </a:cubicBezTo>
                  <a:cubicBezTo>
                    <a:pt x="217" y="934"/>
                    <a:pt x="217" y="934"/>
                    <a:pt x="217" y="934"/>
                  </a:cubicBezTo>
                  <a:cubicBezTo>
                    <a:pt x="229" y="934"/>
                    <a:pt x="229" y="934"/>
                    <a:pt x="229" y="934"/>
                  </a:cubicBezTo>
                  <a:cubicBezTo>
                    <a:pt x="229" y="930"/>
                    <a:pt x="229" y="930"/>
                    <a:pt x="229" y="930"/>
                  </a:cubicBezTo>
                  <a:moveTo>
                    <a:pt x="249" y="930"/>
                  </a:moveTo>
                  <a:cubicBezTo>
                    <a:pt x="237" y="930"/>
                    <a:pt x="237" y="930"/>
                    <a:pt x="237" y="930"/>
                  </a:cubicBezTo>
                  <a:cubicBezTo>
                    <a:pt x="237" y="934"/>
                    <a:pt x="237" y="934"/>
                    <a:pt x="237" y="934"/>
                  </a:cubicBezTo>
                  <a:cubicBezTo>
                    <a:pt x="249" y="934"/>
                    <a:pt x="249" y="934"/>
                    <a:pt x="249" y="934"/>
                  </a:cubicBezTo>
                  <a:cubicBezTo>
                    <a:pt x="249" y="930"/>
                    <a:pt x="249" y="930"/>
                    <a:pt x="249" y="930"/>
                  </a:cubicBezTo>
                  <a:moveTo>
                    <a:pt x="269" y="930"/>
                  </a:moveTo>
                  <a:cubicBezTo>
                    <a:pt x="257" y="930"/>
                    <a:pt x="257" y="930"/>
                    <a:pt x="257" y="930"/>
                  </a:cubicBezTo>
                  <a:cubicBezTo>
                    <a:pt x="257" y="934"/>
                    <a:pt x="257" y="934"/>
                    <a:pt x="257" y="934"/>
                  </a:cubicBezTo>
                  <a:cubicBezTo>
                    <a:pt x="269" y="934"/>
                    <a:pt x="269" y="934"/>
                    <a:pt x="269" y="934"/>
                  </a:cubicBezTo>
                  <a:cubicBezTo>
                    <a:pt x="269" y="930"/>
                    <a:pt x="269" y="930"/>
                    <a:pt x="269" y="930"/>
                  </a:cubicBezTo>
                  <a:moveTo>
                    <a:pt x="289" y="930"/>
                  </a:moveTo>
                  <a:cubicBezTo>
                    <a:pt x="277" y="930"/>
                    <a:pt x="277" y="930"/>
                    <a:pt x="277" y="930"/>
                  </a:cubicBezTo>
                  <a:cubicBezTo>
                    <a:pt x="277" y="934"/>
                    <a:pt x="277" y="934"/>
                    <a:pt x="277" y="934"/>
                  </a:cubicBezTo>
                  <a:cubicBezTo>
                    <a:pt x="289" y="934"/>
                    <a:pt x="289" y="934"/>
                    <a:pt x="289" y="934"/>
                  </a:cubicBezTo>
                  <a:cubicBezTo>
                    <a:pt x="289" y="930"/>
                    <a:pt x="289" y="930"/>
                    <a:pt x="289" y="930"/>
                  </a:cubicBezTo>
                  <a:moveTo>
                    <a:pt x="309" y="930"/>
                  </a:moveTo>
                  <a:cubicBezTo>
                    <a:pt x="297" y="930"/>
                    <a:pt x="297" y="930"/>
                    <a:pt x="297" y="930"/>
                  </a:cubicBezTo>
                  <a:cubicBezTo>
                    <a:pt x="297" y="934"/>
                    <a:pt x="297" y="934"/>
                    <a:pt x="297" y="934"/>
                  </a:cubicBezTo>
                  <a:cubicBezTo>
                    <a:pt x="309" y="934"/>
                    <a:pt x="309" y="934"/>
                    <a:pt x="309" y="934"/>
                  </a:cubicBezTo>
                  <a:cubicBezTo>
                    <a:pt x="309" y="930"/>
                    <a:pt x="309" y="930"/>
                    <a:pt x="309" y="930"/>
                  </a:cubicBezTo>
                  <a:moveTo>
                    <a:pt x="329" y="930"/>
                  </a:moveTo>
                  <a:cubicBezTo>
                    <a:pt x="317" y="930"/>
                    <a:pt x="317" y="930"/>
                    <a:pt x="317" y="930"/>
                  </a:cubicBezTo>
                  <a:cubicBezTo>
                    <a:pt x="317" y="934"/>
                    <a:pt x="317" y="934"/>
                    <a:pt x="317" y="934"/>
                  </a:cubicBezTo>
                  <a:cubicBezTo>
                    <a:pt x="329" y="934"/>
                    <a:pt x="329" y="934"/>
                    <a:pt x="329" y="934"/>
                  </a:cubicBezTo>
                  <a:cubicBezTo>
                    <a:pt x="329" y="930"/>
                    <a:pt x="329" y="930"/>
                    <a:pt x="329" y="930"/>
                  </a:cubicBezTo>
                  <a:moveTo>
                    <a:pt x="349" y="930"/>
                  </a:moveTo>
                  <a:cubicBezTo>
                    <a:pt x="337" y="930"/>
                    <a:pt x="337" y="930"/>
                    <a:pt x="337" y="930"/>
                  </a:cubicBezTo>
                  <a:cubicBezTo>
                    <a:pt x="337" y="934"/>
                    <a:pt x="337" y="934"/>
                    <a:pt x="337" y="934"/>
                  </a:cubicBezTo>
                  <a:cubicBezTo>
                    <a:pt x="349" y="934"/>
                    <a:pt x="349" y="934"/>
                    <a:pt x="349" y="934"/>
                  </a:cubicBezTo>
                  <a:cubicBezTo>
                    <a:pt x="349" y="930"/>
                    <a:pt x="349" y="930"/>
                    <a:pt x="349" y="930"/>
                  </a:cubicBezTo>
                  <a:moveTo>
                    <a:pt x="369" y="930"/>
                  </a:moveTo>
                  <a:cubicBezTo>
                    <a:pt x="357" y="930"/>
                    <a:pt x="357" y="930"/>
                    <a:pt x="357" y="930"/>
                  </a:cubicBezTo>
                  <a:cubicBezTo>
                    <a:pt x="357" y="934"/>
                    <a:pt x="357" y="934"/>
                    <a:pt x="357" y="934"/>
                  </a:cubicBezTo>
                  <a:cubicBezTo>
                    <a:pt x="369" y="934"/>
                    <a:pt x="369" y="934"/>
                    <a:pt x="369" y="934"/>
                  </a:cubicBezTo>
                  <a:cubicBezTo>
                    <a:pt x="369" y="930"/>
                    <a:pt x="369" y="930"/>
                    <a:pt x="369" y="930"/>
                  </a:cubicBezTo>
                  <a:moveTo>
                    <a:pt x="389" y="930"/>
                  </a:moveTo>
                  <a:cubicBezTo>
                    <a:pt x="377" y="930"/>
                    <a:pt x="377" y="930"/>
                    <a:pt x="377" y="930"/>
                  </a:cubicBezTo>
                  <a:cubicBezTo>
                    <a:pt x="377" y="934"/>
                    <a:pt x="377" y="934"/>
                    <a:pt x="377" y="934"/>
                  </a:cubicBezTo>
                  <a:cubicBezTo>
                    <a:pt x="389" y="934"/>
                    <a:pt x="389" y="934"/>
                    <a:pt x="389" y="934"/>
                  </a:cubicBezTo>
                  <a:cubicBezTo>
                    <a:pt x="389" y="930"/>
                    <a:pt x="389" y="930"/>
                    <a:pt x="389" y="930"/>
                  </a:cubicBezTo>
                  <a:moveTo>
                    <a:pt x="409" y="930"/>
                  </a:moveTo>
                  <a:cubicBezTo>
                    <a:pt x="397" y="930"/>
                    <a:pt x="397" y="930"/>
                    <a:pt x="397" y="930"/>
                  </a:cubicBezTo>
                  <a:cubicBezTo>
                    <a:pt x="397" y="934"/>
                    <a:pt x="397" y="934"/>
                    <a:pt x="397" y="934"/>
                  </a:cubicBezTo>
                  <a:cubicBezTo>
                    <a:pt x="409" y="934"/>
                    <a:pt x="409" y="934"/>
                    <a:pt x="409" y="934"/>
                  </a:cubicBezTo>
                  <a:cubicBezTo>
                    <a:pt x="409" y="930"/>
                    <a:pt x="409" y="930"/>
                    <a:pt x="409" y="930"/>
                  </a:cubicBezTo>
                  <a:moveTo>
                    <a:pt x="429" y="930"/>
                  </a:moveTo>
                  <a:cubicBezTo>
                    <a:pt x="417" y="930"/>
                    <a:pt x="417" y="930"/>
                    <a:pt x="417" y="930"/>
                  </a:cubicBezTo>
                  <a:cubicBezTo>
                    <a:pt x="417" y="934"/>
                    <a:pt x="417" y="934"/>
                    <a:pt x="417" y="934"/>
                  </a:cubicBezTo>
                  <a:cubicBezTo>
                    <a:pt x="429" y="934"/>
                    <a:pt x="429" y="934"/>
                    <a:pt x="429" y="934"/>
                  </a:cubicBezTo>
                  <a:cubicBezTo>
                    <a:pt x="429" y="930"/>
                    <a:pt x="429" y="930"/>
                    <a:pt x="429" y="930"/>
                  </a:cubicBezTo>
                  <a:moveTo>
                    <a:pt x="449" y="930"/>
                  </a:moveTo>
                  <a:cubicBezTo>
                    <a:pt x="437" y="930"/>
                    <a:pt x="437" y="930"/>
                    <a:pt x="437" y="930"/>
                  </a:cubicBezTo>
                  <a:cubicBezTo>
                    <a:pt x="437" y="934"/>
                    <a:pt x="437" y="934"/>
                    <a:pt x="437" y="934"/>
                  </a:cubicBezTo>
                  <a:cubicBezTo>
                    <a:pt x="449" y="934"/>
                    <a:pt x="449" y="934"/>
                    <a:pt x="449" y="934"/>
                  </a:cubicBezTo>
                  <a:cubicBezTo>
                    <a:pt x="449" y="930"/>
                    <a:pt x="449" y="930"/>
                    <a:pt x="449" y="930"/>
                  </a:cubicBezTo>
                  <a:moveTo>
                    <a:pt x="469" y="930"/>
                  </a:moveTo>
                  <a:cubicBezTo>
                    <a:pt x="457" y="930"/>
                    <a:pt x="457" y="930"/>
                    <a:pt x="457" y="930"/>
                  </a:cubicBezTo>
                  <a:cubicBezTo>
                    <a:pt x="457" y="934"/>
                    <a:pt x="457" y="934"/>
                    <a:pt x="457" y="934"/>
                  </a:cubicBezTo>
                  <a:cubicBezTo>
                    <a:pt x="469" y="934"/>
                    <a:pt x="469" y="934"/>
                    <a:pt x="469" y="934"/>
                  </a:cubicBezTo>
                  <a:cubicBezTo>
                    <a:pt x="469" y="930"/>
                    <a:pt x="469" y="930"/>
                    <a:pt x="469" y="930"/>
                  </a:cubicBezTo>
                  <a:moveTo>
                    <a:pt x="489" y="930"/>
                  </a:moveTo>
                  <a:cubicBezTo>
                    <a:pt x="477" y="930"/>
                    <a:pt x="477" y="930"/>
                    <a:pt x="477" y="930"/>
                  </a:cubicBezTo>
                  <a:cubicBezTo>
                    <a:pt x="477" y="934"/>
                    <a:pt x="477" y="934"/>
                    <a:pt x="477" y="934"/>
                  </a:cubicBezTo>
                  <a:cubicBezTo>
                    <a:pt x="489" y="934"/>
                    <a:pt x="489" y="934"/>
                    <a:pt x="489" y="934"/>
                  </a:cubicBezTo>
                  <a:cubicBezTo>
                    <a:pt x="489" y="930"/>
                    <a:pt x="489" y="930"/>
                    <a:pt x="489" y="930"/>
                  </a:cubicBezTo>
                  <a:moveTo>
                    <a:pt x="509" y="930"/>
                  </a:moveTo>
                  <a:cubicBezTo>
                    <a:pt x="497" y="930"/>
                    <a:pt x="497" y="930"/>
                    <a:pt x="497" y="930"/>
                  </a:cubicBezTo>
                  <a:cubicBezTo>
                    <a:pt x="497" y="934"/>
                    <a:pt x="497" y="934"/>
                    <a:pt x="497" y="934"/>
                  </a:cubicBezTo>
                  <a:cubicBezTo>
                    <a:pt x="509" y="934"/>
                    <a:pt x="509" y="934"/>
                    <a:pt x="509" y="934"/>
                  </a:cubicBezTo>
                  <a:cubicBezTo>
                    <a:pt x="509" y="930"/>
                    <a:pt x="509" y="930"/>
                    <a:pt x="509" y="930"/>
                  </a:cubicBezTo>
                  <a:moveTo>
                    <a:pt x="529" y="930"/>
                  </a:moveTo>
                  <a:cubicBezTo>
                    <a:pt x="517" y="930"/>
                    <a:pt x="517" y="930"/>
                    <a:pt x="517" y="930"/>
                  </a:cubicBezTo>
                  <a:cubicBezTo>
                    <a:pt x="517" y="934"/>
                    <a:pt x="517" y="934"/>
                    <a:pt x="517" y="934"/>
                  </a:cubicBezTo>
                  <a:cubicBezTo>
                    <a:pt x="529" y="934"/>
                    <a:pt x="529" y="934"/>
                    <a:pt x="529" y="934"/>
                  </a:cubicBezTo>
                  <a:cubicBezTo>
                    <a:pt x="529" y="930"/>
                    <a:pt x="529" y="930"/>
                    <a:pt x="529" y="930"/>
                  </a:cubicBezTo>
                  <a:moveTo>
                    <a:pt x="549" y="930"/>
                  </a:moveTo>
                  <a:cubicBezTo>
                    <a:pt x="537" y="930"/>
                    <a:pt x="537" y="930"/>
                    <a:pt x="537" y="930"/>
                  </a:cubicBezTo>
                  <a:cubicBezTo>
                    <a:pt x="537" y="934"/>
                    <a:pt x="537" y="934"/>
                    <a:pt x="537" y="934"/>
                  </a:cubicBezTo>
                  <a:cubicBezTo>
                    <a:pt x="549" y="934"/>
                    <a:pt x="549" y="934"/>
                    <a:pt x="549" y="934"/>
                  </a:cubicBezTo>
                  <a:cubicBezTo>
                    <a:pt x="549" y="930"/>
                    <a:pt x="549" y="930"/>
                    <a:pt x="549" y="930"/>
                  </a:cubicBezTo>
                  <a:moveTo>
                    <a:pt x="569" y="930"/>
                  </a:moveTo>
                  <a:cubicBezTo>
                    <a:pt x="557" y="930"/>
                    <a:pt x="557" y="930"/>
                    <a:pt x="557" y="930"/>
                  </a:cubicBezTo>
                  <a:cubicBezTo>
                    <a:pt x="557" y="934"/>
                    <a:pt x="557" y="934"/>
                    <a:pt x="557" y="934"/>
                  </a:cubicBezTo>
                  <a:cubicBezTo>
                    <a:pt x="569" y="934"/>
                    <a:pt x="569" y="934"/>
                    <a:pt x="569" y="934"/>
                  </a:cubicBezTo>
                  <a:cubicBezTo>
                    <a:pt x="569" y="930"/>
                    <a:pt x="569" y="930"/>
                    <a:pt x="569" y="930"/>
                  </a:cubicBezTo>
                  <a:moveTo>
                    <a:pt x="589" y="930"/>
                  </a:moveTo>
                  <a:cubicBezTo>
                    <a:pt x="577" y="930"/>
                    <a:pt x="577" y="930"/>
                    <a:pt x="577" y="930"/>
                  </a:cubicBezTo>
                  <a:cubicBezTo>
                    <a:pt x="577" y="934"/>
                    <a:pt x="577" y="934"/>
                    <a:pt x="577" y="934"/>
                  </a:cubicBezTo>
                  <a:cubicBezTo>
                    <a:pt x="589" y="934"/>
                    <a:pt x="589" y="934"/>
                    <a:pt x="589" y="934"/>
                  </a:cubicBezTo>
                  <a:cubicBezTo>
                    <a:pt x="589" y="930"/>
                    <a:pt x="589" y="930"/>
                    <a:pt x="589" y="930"/>
                  </a:cubicBezTo>
                  <a:moveTo>
                    <a:pt x="609" y="930"/>
                  </a:moveTo>
                  <a:cubicBezTo>
                    <a:pt x="597" y="930"/>
                    <a:pt x="597" y="930"/>
                    <a:pt x="597" y="930"/>
                  </a:cubicBezTo>
                  <a:cubicBezTo>
                    <a:pt x="597" y="934"/>
                    <a:pt x="597" y="934"/>
                    <a:pt x="597" y="934"/>
                  </a:cubicBezTo>
                  <a:cubicBezTo>
                    <a:pt x="609" y="934"/>
                    <a:pt x="609" y="934"/>
                    <a:pt x="609" y="934"/>
                  </a:cubicBezTo>
                  <a:cubicBezTo>
                    <a:pt x="609" y="930"/>
                    <a:pt x="609" y="930"/>
                    <a:pt x="609" y="930"/>
                  </a:cubicBezTo>
                  <a:moveTo>
                    <a:pt x="629" y="930"/>
                  </a:moveTo>
                  <a:cubicBezTo>
                    <a:pt x="617" y="930"/>
                    <a:pt x="617" y="930"/>
                    <a:pt x="617" y="930"/>
                  </a:cubicBezTo>
                  <a:cubicBezTo>
                    <a:pt x="617" y="934"/>
                    <a:pt x="617" y="934"/>
                    <a:pt x="617" y="934"/>
                  </a:cubicBezTo>
                  <a:cubicBezTo>
                    <a:pt x="629" y="934"/>
                    <a:pt x="629" y="934"/>
                    <a:pt x="629" y="934"/>
                  </a:cubicBezTo>
                  <a:cubicBezTo>
                    <a:pt x="629" y="930"/>
                    <a:pt x="629" y="930"/>
                    <a:pt x="629" y="930"/>
                  </a:cubicBezTo>
                  <a:moveTo>
                    <a:pt x="649" y="930"/>
                  </a:moveTo>
                  <a:cubicBezTo>
                    <a:pt x="637" y="930"/>
                    <a:pt x="637" y="930"/>
                    <a:pt x="637" y="930"/>
                  </a:cubicBezTo>
                  <a:cubicBezTo>
                    <a:pt x="637" y="934"/>
                    <a:pt x="637" y="934"/>
                    <a:pt x="637" y="934"/>
                  </a:cubicBezTo>
                  <a:cubicBezTo>
                    <a:pt x="649" y="934"/>
                    <a:pt x="649" y="934"/>
                    <a:pt x="649" y="934"/>
                  </a:cubicBezTo>
                  <a:cubicBezTo>
                    <a:pt x="649" y="930"/>
                    <a:pt x="649" y="930"/>
                    <a:pt x="649" y="930"/>
                  </a:cubicBezTo>
                  <a:moveTo>
                    <a:pt x="669" y="930"/>
                  </a:moveTo>
                  <a:cubicBezTo>
                    <a:pt x="657" y="930"/>
                    <a:pt x="657" y="930"/>
                    <a:pt x="657" y="930"/>
                  </a:cubicBezTo>
                  <a:cubicBezTo>
                    <a:pt x="657" y="934"/>
                    <a:pt x="657" y="934"/>
                    <a:pt x="657" y="934"/>
                  </a:cubicBezTo>
                  <a:cubicBezTo>
                    <a:pt x="669" y="934"/>
                    <a:pt x="669" y="934"/>
                    <a:pt x="669" y="934"/>
                  </a:cubicBezTo>
                  <a:cubicBezTo>
                    <a:pt x="669" y="930"/>
                    <a:pt x="669" y="930"/>
                    <a:pt x="669" y="930"/>
                  </a:cubicBezTo>
                  <a:moveTo>
                    <a:pt x="689" y="930"/>
                  </a:moveTo>
                  <a:cubicBezTo>
                    <a:pt x="677" y="930"/>
                    <a:pt x="677" y="930"/>
                    <a:pt x="677" y="930"/>
                  </a:cubicBezTo>
                  <a:cubicBezTo>
                    <a:pt x="677" y="934"/>
                    <a:pt x="677" y="934"/>
                    <a:pt x="677" y="934"/>
                  </a:cubicBezTo>
                  <a:cubicBezTo>
                    <a:pt x="689" y="934"/>
                    <a:pt x="689" y="934"/>
                    <a:pt x="689" y="934"/>
                  </a:cubicBezTo>
                  <a:cubicBezTo>
                    <a:pt x="689" y="930"/>
                    <a:pt x="689" y="930"/>
                    <a:pt x="689" y="930"/>
                  </a:cubicBezTo>
                  <a:moveTo>
                    <a:pt x="709" y="930"/>
                  </a:moveTo>
                  <a:cubicBezTo>
                    <a:pt x="697" y="930"/>
                    <a:pt x="697" y="930"/>
                    <a:pt x="697" y="930"/>
                  </a:cubicBezTo>
                  <a:cubicBezTo>
                    <a:pt x="697" y="934"/>
                    <a:pt x="697" y="934"/>
                    <a:pt x="697" y="934"/>
                  </a:cubicBezTo>
                  <a:cubicBezTo>
                    <a:pt x="709" y="934"/>
                    <a:pt x="709" y="934"/>
                    <a:pt x="709" y="934"/>
                  </a:cubicBezTo>
                  <a:cubicBezTo>
                    <a:pt x="709" y="930"/>
                    <a:pt x="709" y="930"/>
                    <a:pt x="709" y="930"/>
                  </a:cubicBezTo>
                  <a:moveTo>
                    <a:pt x="729" y="930"/>
                  </a:moveTo>
                  <a:cubicBezTo>
                    <a:pt x="717" y="930"/>
                    <a:pt x="717" y="930"/>
                    <a:pt x="717" y="930"/>
                  </a:cubicBezTo>
                  <a:cubicBezTo>
                    <a:pt x="717" y="934"/>
                    <a:pt x="717" y="934"/>
                    <a:pt x="717" y="934"/>
                  </a:cubicBezTo>
                  <a:cubicBezTo>
                    <a:pt x="729" y="934"/>
                    <a:pt x="729" y="934"/>
                    <a:pt x="729" y="934"/>
                  </a:cubicBezTo>
                  <a:cubicBezTo>
                    <a:pt x="729" y="930"/>
                    <a:pt x="729" y="930"/>
                    <a:pt x="729" y="930"/>
                  </a:cubicBezTo>
                  <a:moveTo>
                    <a:pt x="749" y="930"/>
                  </a:moveTo>
                  <a:cubicBezTo>
                    <a:pt x="737" y="930"/>
                    <a:pt x="737" y="930"/>
                    <a:pt x="737" y="930"/>
                  </a:cubicBezTo>
                  <a:cubicBezTo>
                    <a:pt x="737" y="934"/>
                    <a:pt x="737" y="934"/>
                    <a:pt x="737" y="934"/>
                  </a:cubicBezTo>
                  <a:cubicBezTo>
                    <a:pt x="749" y="934"/>
                    <a:pt x="749" y="934"/>
                    <a:pt x="749" y="934"/>
                  </a:cubicBezTo>
                  <a:cubicBezTo>
                    <a:pt x="749" y="930"/>
                    <a:pt x="749" y="930"/>
                    <a:pt x="749" y="930"/>
                  </a:cubicBezTo>
                  <a:moveTo>
                    <a:pt x="769" y="930"/>
                  </a:moveTo>
                  <a:cubicBezTo>
                    <a:pt x="757" y="930"/>
                    <a:pt x="757" y="930"/>
                    <a:pt x="757" y="930"/>
                  </a:cubicBezTo>
                  <a:cubicBezTo>
                    <a:pt x="757" y="934"/>
                    <a:pt x="757" y="934"/>
                    <a:pt x="757" y="934"/>
                  </a:cubicBezTo>
                  <a:cubicBezTo>
                    <a:pt x="769" y="934"/>
                    <a:pt x="769" y="934"/>
                    <a:pt x="769" y="934"/>
                  </a:cubicBezTo>
                  <a:cubicBezTo>
                    <a:pt x="769" y="930"/>
                    <a:pt x="769" y="930"/>
                    <a:pt x="769" y="930"/>
                  </a:cubicBezTo>
                  <a:moveTo>
                    <a:pt x="789" y="930"/>
                  </a:moveTo>
                  <a:cubicBezTo>
                    <a:pt x="777" y="930"/>
                    <a:pt x="777" y="930"/>
                    <a:pt x="777" y="930"/>
                  </a:cubicBezTo>
                  <a:cubicBezTo>
                    <a:pt x="777" y="934"/>
                    <a:pt x="777" y="934"/>
                    <a:pt x="777" y="934"/>
                  </a:cubicBezTo>
                  <a:cubicBezTo>
                    <a:pt x="789" y="934"/>
                    <a:pt x="789" y="934"/>
                    <a:pt x="789" y="934"/>
                  </a:cubicBezTo>
                  <a:cubicBezTo>
                    <a:pt x="789" y="930"/>
                    <a:pt x="789" y="930"/>
                    <a:pt x="789" y="930"/>
                  </a:cubicBezTo>
                  <a:moveTo>
                    <a:pt x="809" y="930"/>
                  </a:moveTo>
                  <a:cubicBezTo>
                    <a:pt x="797" y="930"/>
                    <a:pt x="797" y="930"/>
                    <a:pt x="797" y="930"/>
                  </a:cubicBezTo>
                  <a:cubicBezTo>
                    <a:pt x="797" y="934"/>
                    <a:pt x="797" y="934"/>
                    <a:pt x="797" y="934"/>
                  </a:cubicBezTo>
                  <a:cubicBezTo>
                    <a:pt x="809" y="934"/>
                    <a:pt x="809" y="934"/>
                    <a:pt x="809" y="934"/>
                  </a:cubicBezTo>
                  <a:cubicBezTo>
                    <a:pt x="809" y="930"/>
                    <a:pt x="809" y="930"/>
                    <a:pt x="809" y="930"/>
                  </a:cubicBezTo>
                  <a:moveTo>
                    <a:pt x="829" y="930"/>
                  </a:moveTo>
                  <a:cubicBezTo>
                    <a:pt x="817" y="930"/>
                    <a:pt x="817" y="930"/>
                    <a:pt x="817" y="930"/>
                  </a:cubicBezTo>
                  <a:cubicBezTo>
                    <a:pt x="817" y="934"/>
                    <a:pt x="817" y="934"/>
                    <a:pt x="817" y="934"/>
                  </a:cubicBezTo>
                  <a:cubicBezTo>
                    <a:pt x="829" y="934"/>
                    <a:pt x="829" y="934"/>
                    <a:pt x="829" y="934"/>
                  </a:cubicBezTo>
                  <a:cubicBezTo>
                    <a:pt x="829" y="930"/>
                    <a:pt x="829" y="930"/>
                    <a:pt x="829" y="930"/>
                  </a:cubicBezTo>
                  <a:moveTo>
                    <a:pt x="849" y="930"/>
                  </a:moveTo>
                  <a:cubicBezTo>
                    <a:pt x="837" y="930"/>
                    <a:pt x="837" y="930"/>
                    <a:pt x="837" y="930"/>
                  </a:cubicBezTo>
                  <a:cubicBezTo>
                    <a:pt x="837" y="934"/>
                    <a:pt x="837" y="934"/>
                    <a:pt x="837" y="934"/>
                  </a:cubicBezTo>
                  <a:cubicBezTo>
                    <a:pt x="849" y="934"/>
                    <a:pt x="849" y="934"/>
                    <a:pt x="849" y="934"/>
                  </a:cubicBezTo>
                  <a:cubicBezTo>
                    <a:pt x="849" y="930"/>
                    <a:pt x="849" y="930"/>
                    <a:pt x="849" y="930"/>
                  </a:cubicBezTo>
                  <a:moveTo>
                    <a:pt x="869" y="930"/>
                  </a:moveTo>
                  <a:cubicBezTo>
                    <a:pt x="857" y="930"/>
                    <a:pt x="857" y="930"/>
                    <a:pt x="857" y="930"/>
                  </a:cubicBezTo>
                  <a:cubicBezTo>
                    <a:pt x="857" y="934"/>
                    <a:pt x="857" y="934"/>
                    <a:pt x="857" y="934"/>
                  </a:cubicBezTo>
                  <a:cubicBezTo>
                    <a:pt x="869" y="934"/>
                    <a:pt x="869" y="934"/>
                    <a:pt x="869" y="934"/>
                  </a:cubicBezTo>
                  <a:cubicBezTo>
                    <a:pt x="869" y="930"/>
                    <a:pt x="869" y="930"/>
                    <a:pt x="869" y="930"/>
                  </a:cubicBezTo>
                  <a:moveTo>
                    <a:pt x="889" y="930"/>
                  </a:moveTo>
                  <a:cubicBezTo>
                    <a:pt x="877" y="930"/>
                    <a:pt x="877" y="930"/>
                    <a:pt x="877" y="930"/>
                  </a:cubicBezTo>
                  <a:cubicBezTo>
                    <a:pt x="877" y="934"/>
                    <a:pt x="877" y="934"/>
                    <a:pt x="877" y="934"/>
                  </a:cubicBezTo>
                  <a:cubicBezTo>
                    <a:pt x="889" y="934"/>
                    <a:pt x="889" y="934"/>
                    <a:pt x="889" y="934"/>
                  </a:cubicBezTo>
                  <a:cubicBezTo>
                    <a:pt x="889" y="930"/>
                    <a:pt x="889" y="930"/>
                    <a:pt x="889" y="930"/>
                  </a:cubicBezTo>
                  <a:moveTo>
                    <a:pt x="909" y="930"/>
                  </a:moveTo>
                  <a:cubicBezTo>
                    <a:pt x="897" y="930"/>
                    <a:pt x="897" y="930"/>
                    <a:pt x="897" y="930"/>
                  </a:cubicBezTo>
                  <a:cubicBezTo>
                    <a:pt x="897" y="934"/>
                    <a:pt x="897" y="934"/>
                    <a:pt x="897" y="934"/>
                  </a:cubicBezTo>
                  <a:cubicBezTo>
                    <a:pt x="909" y="934"/>
                    <a:pt x="909" y="934"/>
                    <a:pt x="909" y="934"/>
                  </a:cubicBezTo>
                  <a:cubicBezTo>
                    <a:pt x="909" y="930"/>
                    <a:pt x="909" y="930"/>
                    <a:pt x="909" y="930"/>
                  </a:cubicBezTo>
                  <a:moveTo>
                    <a:pt x="929" y="930"/>
                  </a:moveTo>
                  <a:cubicBezTo>
                    <a:pt x="917" y="930"/>
                    <a:pt x="917" y="930"/>
                    <a:pt x="917" y="930"/>
                  </a:cubicBezTo>
                  <a:cubicBezTo>
                    <a:pt x="917" y="934"/>
                    <a:pt x="917" y="934"/>
                    <a:pt x="917" y="934"/>
                  </a:cubicBezTo>
                  <a:cubicBezTo>
                    <a:pt x="929" y="934"/>
                    <a:pt x="929" y="934"/>
                    <a:pt x="929" y="934"/>
                  </a:cubicBezTo>
                  <a:cubicBezTo>
                    <a:pt x="929" y="930"/>
                    <a:pt x="929" y="930"/>
                    <a:pt x="929" y="930"/>
                  </a:cubicBezTo>
                  <a:moveTo>
                    <a:pt x="949" y="930"/>
                  </a:moveTo>
                  <a:cubicBezTo>
                    <a:pt x="937" y="930"/>
                    <a:pt x="937" y="930"/>
                    <a:pt x="937" y="930"/>
                  </a:cubicBezTo>
                  <a:cubicBezTo>
                    <a:pt x="937" y="934"/>
                    <a:pt x="937" y="934"/>
                    <a:pt x="937" y="934"/>
                  </a:cubicBezTo>
                  <a:cubicBezTo>
                    <a:pt x="949" y="934"/>
                    <a:pt x="949" y="934"/>
                    <a:pt x="949" y="934"/>
                  </a:cubicBezTo>
                  <a:cubicBezTo>
                    <a:pt x="949" y="930"/>
                    <a:pt x="949" y="930"/>
                    <a:pt x="949" y="930"/>
                  </a:cubicBezTo>
                  <a:moveTo>
                    <a:pt x="969" y="930"/>
                  </a:moveTo>
                  <a:cubicBezTo>
                    <a:pt x="957" y="930"/>
                    <a:pt x="957" y="930"/>
                    <a:pt x="957" y="930"/>
                  </a:cubicBezTo>
                  <a:cubicBezTo>
                    <a:pt x="957" y="934"/>
                    <a:pt x="957" y="934"/>
                    <a:pt x="957" y="934"/>
                  </a:cubicBezTo>
                  <a:cubicBezTo>
                    <a:pt x="969" y="934"/>
                    <a:pt x="969" y="934"/>
                    <a:pt x="969" y="934"/>
                  </a:cubicBezTo>
                  <a:cubicBezTo>
                    <a:pt x="969" y="930"/>
                    <a:pt x="969" y="930"/>
                    <a:pt x="969" y="930"/>
                  </a:cubicBezTo>
                  <a:moveTo>
                    <a:pt x="989" y="930"/>
                  </a:moveTo>
                  <a:cubicBezTo>
                    <a:pt x="977" y="930"/>
                    <a:pt x="977" y="930"/>
                    <a:pt x="977" y="930"/>
                  </a:cubicBezTo>
                  <a:cubicBezTo>
                    <a:pt x="977" y="934"/>
                    <a:pt x="977" y="934"/>
                    <a:pt x="977" y="934"/>
                  </a:cubicBezTo>
                  <a:cubicBezTo>
                    <a:pt x="989" y="934"/>
                    <a:pt x="989" y="934"/>
                    <a:pt x="989" y="934"/>
                  </a:cubicBezTo>
                  <a:cubicBezTo>
                    <a:pt x="989" y="930"/>
                    <a:pt x="989" y="930"/>
                    <a:pt x="989" y="930"/>
                  </a:cubicBezTo>
                  <a:moveTo>
                    <a:pt x="1009" y="930"/>
                  </a:moveTo>
                  <a:cubicBezTo>
                    <a:pt x="997" y="930"/>
                    <a:pt x="997" y="930"/>
                    <a:pt x="997" y="930"/>
                  </a:cubicBezTo>
                  <a:cubicBezTo>
                    <a:pt x="997" y="934"/>
                    <a:pt x="997" y="934"/>
                    <a:pt x="997" y="934"/>
                  </a:cubicBezTo>
                  <a:cubicBezTo>
                    <a:pt x="1009" y="934"/>
                    <a:pt x="1009" y="934"/>
                    <a:pt x="1009" y="934"/>
                  </a:cubicBezTo>
                  <a:cubicBezTo>
                    <a:pt x="1009" y="930"/>
                    <a:pt x="1009" y="930"/>
                    <a:pt x="1009" y="930"/>
                  </a:cubicBezTo>
                  <a:moveTo>
                    <a:pt x="1029" y="930"/>
                  </a:moveTo>
                  <a:cubicBezTo>
                    <a:pt x="1017" y="930"/>
                    <a:pt x="1017" y="930"/>
                    <a:pt x="1017" y="930"/>
                  </a:cubicBezTo>
                  <a:cubicBezTo>
                    <a:pt x="1017" y="934"/>
                    <a:pt x="1017" y="934"/>
                    <a:pt x="1017" y="934"/>
                  </a:cubicBezTo>
                  <a:cubicBezTo>
                    <a:pt x="1029" y="934"/>
                    <a:pt x="1029" y="934"/>
                    <a:pt x="1029" y="934"/>
                  </a:cubicBezTo>
                  <a:cubicBezTo>
                    <a:pt x="1029" y="930"/>
                    <a:pt x="1029" y="930"/>
                    <a:pt x="1029" y="930"/>
                  </a:cubicBezTo>
                  <a:moveTo>
                    <a:pt x="1049" y="930"/>
                  </a:moveTo>
                  <a:cubicBezTo>
                    <a:pt x="1037" y="930"/>
                    <a:pt x="1037" y="930"/>
                    <a:pt x="1037" y="930"/>
                  </a:cubicBezTo>
                  <a:cubicBezTo>
                    <a:pt x="1037" y="934"/>
                    <a:pt x="1037" y="934"/>
                    <a:pt x="1037" y="934"/>
                  </a:cubicBezTo>
                  <a:cubicBezTo>
                    <a:pt x="1049" y="934"/>
                    <a:pt x="1049" y="934"/>
                    <a:pt x="1049" y="934"/>
                  </a:cubicBezTo>
                  <a:cubicBezTo>
                    <a:pt x="1049" y="930"/>
                    <a:pt x="1049" y="930"/>
                    <a:pt x="1049" y="930"/>
                  </a:cubicBezTo>
                  <a:moveTo>
                    <a:pt x="1069" y="930"/>
                  </a:moveTo>
                  <a:cubicBezTo>
                    <a:pt x="1057" y="930"/>
                    <a:pt x="1057" y="930"/>
                    <a:pt x="1057" y="930"/>
                  </a:cubicBezTo>
                  <a:cubicBezTo>
                    <a:pt x="1057" y="934"/>
                    <a:pt x="1057" y="934"/>
                    <a:pt x="1057" y="934"/>
                  </a:cubicBezTo>
                  <a:cubicBezTo>
                    <a:pt x="1069" y="934"/>
                    <a:pt x="1069" y="934"/>
                    <a:pt x="1069" y="934"/>
                  </a:cubicBezTo>
                  <a:cubicBezTo>
                    <a:pt x="1069" y="930"/>
                    <a:pt x="1069" y="930"/>
                    <a:pt x="1069" y="930"/>
                  </a:cubicBezTo>
                  <a:moveTo>
                    <a:pt x="1089" y="930"/>
                  </a:moveTo>
                  <a:cubicBezTo>
                    <a:pt x="1077" y="930"/>
                    <a:pt x="1077" y="930"/>
                    <a:pt x="1077" y="930"/>
                  </a:cubicBezTo>
                  <a:cubicBezTo>
                    <a:pt x="1077" y="934"/>
                    <a:pt x="1077" y="934"/>
                    <a:pt x="1077" y="934"/>
                  </a:cubicBezTo>
                  <a:cubicBezTo>
                    <a:pt x="1089" y="934"/>
                    <a:pt x="1089" y="934"/>
                    <a:pt x="1089" y="934"/>
                  </a:cubicBezTo>
                  <a:cubicBezTo>
                    <a:pt x="1089" y="930"/>
                    <a:pt x="1089" y="930"/>
                    <a:pt x="1089" y="930"/>
                  </a:cubicBezTo>
                  <a:moveTo>
                    <a:pt x="1109" y="930"/>
                  </a:moveTo>
                  <a:cubicBezTo>
                    <a:pt x="1097" y="930"/>
                    <a:pt x="1097" y="930"/>
                    <a:pt x="1097" y="930"/>
                  </a:cubicBezTo>
                  <a:cubicBezTo>
                    <a:pt x="1097" y="934"/>
                    <a:pt x="1097" y="934"/>
                    <a:pt x="1097" y="934"/>
                  </a:cubicBezTo>
                  <a:cubicBezTo>
                    <a:pt x="1109" y="934"/>
                    <a:pt x="1109" y="934"/>
                    <a:pt x="1109" y="934"/>
                  </a:cubicBezTo>
                  <a:cubicBezTo>
                    <a:pt x="1109" y="930"/>
                    <a:pt x="1109" y="930"/>
                    <a:pt x="1109" y="930"/>
                  </a:cubicBezTo>
                  <a:moveTo>
                    <a:pt x="1129" y="930"/>
                  </a:moveTo>
                  <a:cubicBezTo>
                    <a:pt x="1117" y="930"/>
                    <a:pt x="1117" y="930"/>
                    <a:pt x="1117" y="930"/>
                  </a:cubicBezTo>
                  <a:cubicBezTo>
                    <a:pt x="1117" y="934"/>
                    <a:pt x="1117" y="934"/>
                    <a:pt x="1117" y="934"/>
                  </a:cubicBezTo>
                  <a:cubicBezTo>
                    <a:pt x="1129" y="934"/>
                    <a:pt x="1129" y="934"/>
                    <a:pt x="1129" y="934"/>
                  </a:cubicBezTo>
                  <a:cubicBezTo>
                    <a:pt x="1129" y="930"/>
                    <a:pt x="1129" y="930"/>
                    <a:pt x="1129" y="930"/>
                  </a:cubicBezTo>
                  <a:moveTo>
                    <a:pt x="1149" y="930"/>
                  </a:moveTo>
                  <a:cubicBezTo>
                    <a:pt x="1137" y="930"/>
                    <a:pt x="1137" y="930"/>
                    <a:pt x="1137" y="930"/>
                  </a:cubicBezTo>
                  <a:cubicBezTo>
                    <a:pt x="1137" y="934"/>
                    <a:pt x="1137" y="934"/>
                    <a:pt x="1137" y="934"/>
                  </a:cubicBezTo>
                  <a:cubicBezTo>
                    <a:pt x="1149" y="934"/>
                    <a:pt x="1149" y="934"/>
                    <a:pt x="1149" y="934"/>
                  </a:cubicBezTo>
                  <a:cubicBezTo>
                    <a:pt x="1149" y="930"/>
                    <a:pt x="1149" y="930"/>
                    <a:pt x="1149" y="930"/>
                  </a:cubicBezTo>
                  <a:moveTo>
                    <a:pt x="1169" y="930"/>
                  </a:moveTo>
                  <a:cubicBezTo>
                    <a:pt x="1157" y="930"/>
                    <a:pt x="1157" y="930"/>
                    <a:pt x="1157" y="930"/>
                  </a:cubicBezTo>
                  <a:cubicBezTo>
                    <a:pt x="1157" y="934"/>
                    <a:pt x="1157" y="934"/>
                    <a:pt x="1157" y="934"/>
                  </a:cubicBezTo>
                  <a:cubicBezTo>
                    <a:pt x="1169" y="934"/>
                    <a:pt x="1169" y="934"/>
                    <a:pt x="1169" y="934"/>
                  </a:cubicBezTo>
                  <a:cubicBezTo>
                    <a:pt x="1169" y="930"/>
                    <a:pt x="1169" y="930"/>
                    <a:pt x="1169" y="930"/>
                  </a:cubicBezTo>
                  <a:moveTo>
                    <a:pt x="1189" y="930"/>
                  </a:moveTo>
                  <a:cubicBezTo>
                    <a:pt x="1177" y="930"/>
                    <a:pt x="1177" y="930"/>
                    <a:pt x="1177" y="930"/>
                  </a:cubicBezTo>
                  <a:cubicBezTo>
                    <a:pt x="1177" y="934"/>
                    <a:pt x="1177" y="934"/>
                    <a:pt x="1177" y="934"/>
                  </a:cubicBezTo>
                  <a:cubicBezTo>
                    <a:pt x="1189" y="934"/>
                    <a:pt x="1189" y="934"/>
                    <a:pt x="1189" y="934"/>
                  </a:cubicBezTo>
                  <a:cubicBezTo>
                    <a:pt x="1189" y="930"/>
                    <a:pt x="1189" y="930"/>
                    <a:pt x="1189" y="930"/>
                  </a:cubicBezTo>
                  <a:moveTo>
                    <a:pt x="1209" y="930"/>
                  </a:moveTo>
                  <a:cubicBezTo>
                    <a:pt x="1197" y="930"/>
                    <a:pt x="1197" y="930"/>
                    <a:pt x="1197" y="930"/>
                  </a:cubicBezTo>
                  <a:cubicBezTo>
                    <a:pt x="1197" y="934"/>
                    <a:pt x="1197" y="934"/>
                    <a:pt x="1197" y="934"/>
                  </a:cubicBezTo>
                  <a:cubicBezTo>
                    <a:pt x="1209" y="934"/>
                    <a:pt x="1209" y="934"/>
                    <a:pt x="1209" y="934"/>
                  </a:cubicBezTo>
                  <a:cubicBezTo>
                    <a:pt x="1209" y="930"/>
                    <a:pt x="1209" y="930"/>
                    <a:pt x="1209" y="930"/>
                  </a:cubicBezTo>
                  <a:moveTo>
                    <a:pt x="1229" y="930"/>
                  </a:moveTo>
                  <a:cubicBezTo>
                    <a:pt x="1217" y="930"/>
                    <a:pt x="1217" y="930"/>
                    <a:pt x="1217" y="930"/>
                  </a:cubicBezTo>
                  <a:cubicBezTo>
                    <a:pt x="1217" y="934"/>
                    <a:pt x="1217" y="934"/>
                    <a:pt x="1217" y="934"/>
                  </a:cubicBezTo>
                  <a:cubicBezTo>
                    <a:pt x="1229" y="934"/>
                    <a:pt x="1229" y="934"/>
                    <a:pt x="1229" y="934"/>
                  </a:cubicBezTo>
                  <a:cubicBezTo>
                    <a:pt x="1229" y="930"/>
                    <a:pt x="1229" y="930"/>
                    <a:pt x="1229" y="930"/>
                  </a:cubicBezTo>
                  <a:moveTo>
                    <a:pt x="1249" y="930"/>
                  </a:moveTo>
                  <a:cubicBezTo>
                    <a:pt x="1237" y="930"/>
                    <a:pt x="1237" y="930"/>
                    <a:pt x="1237" y="930"/>
                  </a:cubicBezTo>
                  <a:cubicBezTo>
                    <a:pt x="1237" y="934"/>
                    <a:pt x="1237" y="934"/>
                    <a:pt x="1237" y="934"/>
                  </a:cubicBezTo>
                  <a:cubicBezTo>
                    <a:pt x="1249" y="934"/>
                    <a:pt x="1249" y="934"/>
                    <a:pt x="1249" y="934"/>
                  </a:cubicBezTo>
                  <a:cubicBezTo>
                    <a:pt x="1249" y="930"/>
                    <a:pt x="1249" y="930"/>
                    <a:pt x="1249" y="930"/>
                  </a:cubicBezTo>
                  <a:moveTo>
                    <a:pt x="1269" y="930"/>
                  </a:moveTo>
                  <a:cubicBezTo>
                    <a:pt x="1257" y="930"/>
                    <a:pt x="1257" y="930"/>
                    <a:pt x="1257" y="930"/>
                  </a:cubicBezTo>
                  <a:cubicBezTo>
                    <a:pt x="1257" y="934"/>
                    <a:pt x="1257" y="934"/>
                    <a:pt x="1257" y="934"/>
                  </a:cubicBezTo>
                  <a:cubicBezTo>
                    <a:pt x="1269" y="934"/>
                    <a:pt x="1269" y="934"/>
                    <a:pt x="1269" y="934"/>
                  </a:cubicBezTo>
                  <a:cubicBezTo>
                    <a:pt x="1269" y="930"/>
                    <a:pt x="1269" y="930"/>
                    <a:pt x="1269" y="930"/>
                  </a:cubicBezTo>
                  <a:moveTo>
                    <a:pt x="1289" y="930"/>
                  </a:moveTo>
                  <a:cubicBezTo>
                    <a:pt x="1277" y="930"/>
                    <a:pt x="1277" y="930"/>
                    <a:pt x="1277" y="930"/>
                  </a:cubicBezTo>
                  <a:cubicBezTo>
                    <a:pt x="1277" y="934"/>
                    <a:pt x="1277" y="934"/>
                    <a:pt x="1277" y="934"/>
                  </a:cubicBezTo>
                  <a:cubicBezTo>
                    <a:pt x="1289" y="934"/>
                    <a:pt x="1289" y="934"/>
                    <a:pt x="1289" y="934"/>
                  </a:cubicBezTo>
                  <a:cubicBezTo>
                    <a:pt x="1289" y="930"/>
                    <a:pt x="1289" y="930"/>
                    <a:pt x="1289" y="930"/>
                  </a:cubicBezTo>
                  <a:moveTo>
                    <a:pt x="1309" y="930"/>
                  </a:moveTo>
                  <a:cubicBezTo>
                    <a:pt x="1297" y="930"/>
                    <a:pt x="1297" y="930"/>
                    <a:pt x="1297" y="930"/>
                  </a:cubicBezTo>
                  <a:cubicBezTo>
                    <a:pt x="1297" y="934"/>
                    <a:pt x="1297" y="934"/>
                    <a:pt x="1297" y="934"/>
                  </a:cubicBezTo>
                  <a:cubicBezTo>
                    <a:pt x="1309" y="934"/>
                    <a:pt x="1309" y="934"/>
                    <a:pt x="1309" y="934"/>
                  </a:cubicBezTo>
                  <a:cubicBezTo>
                    <a:pt x="1309" y="930"/>
                    <a:pt x="1309" y="930"/>
                    <a:pt x="1309" y="930"/>
                  </a:cubicBezTo>
                  <a:moveTo>
                    <a:pt x="1329" y="930"/>
                  </a:moveTo>
                  <a:cubicBezTo>
                    <a:pt x="1317" y="930"/>
                    <a:pt x="1317" y="930"/>
                    <a:pt x="1317" y="930"/>
                  </a:cubicBezTo>
                  <a:cubicBezTo>
                    <a:pt x="1317" y="934"/>
                    <a:pt x="1317" y="934"/>
                    <a:pt x="1317" y="934"/>
                  </a:cubicBezTo>
                  <a:cubicBezTo>
                    <a:pt x="1329" y="934"/>
                    <a:pt x="1329" y="934"/>
                    <a:pt x="1329" y="934"/>
                  </a:cubicBezTo>
                  <a:cubicBezTo>
                    <a:pt x="1329" y="930"/>
                    <a:pt x="1329" y="930"/>
                    <a:pt x="1329" y="930"/>
                  </a:cubicBezTo>
                  <a:moveTo>
                    <a:pt x="1349" y="930"/>
                  </a:moveTo>
                  <a:cubicBezTo>
                    <a:pt x="1337" y="930"/>
                    <a:pt x="1337" y="930"/>
                    <a:pt x="1337" y="930"/>
                  </a:cubicBezTo>
                  <a:cubicBezTo>
                    <a:pt x="1337" y="934"/>
                    <a:pt x="1337" y="934"/>
                    <a:pt x="1337" y="934"/>
                  </a:cubicBezTo>
                  <a:cubicBezTo>
                    <a:pt x="1349" y="934"/>
                    <a:pt x="1349" y="934"/>
                    <a:pt x="1349" y="934"/>
                  </a:cubicBezTo>
                  <a:cubicBezTo>
                    <a:pt x="1349" y="930"/>
                    <a:pt x="1349" y="930"/>
                    <a:pt x="1349" y="930"/>
                  </a:cubicBezTo>
                  <a:moveTo>
                    <a:pt x="1369" y="930"/>
                  </a:moveTo>
                  <a:cubicBezTo>
                    <a:pt x="1357" y="930"/>
                    <a:pt x="1357" y="930"/>
                    <a:pt x="1357" y="930"/>
                  </a:cubicBezTo>
                  <a:cubicBezTo>
                    <a:pt x="1357" y="934"/>
                    <a:pt x="1357" y="934"/>
                    <a:pt x="1357" y="934"/>
                  </a:cubicBezTo>
                  <a:cubicBezTo>
                    <a:pt x="1369" y="934"/>
                    <a:pt x="1369" y="934"/>
                    <a:pt x="1369" y="934"/>
                  </a:cubicBezTo>
                  <a:cubicBezTo>
                    <a:pt x="1369" y="930"/>
                    <a:pt x="1369" y="930"/>
                    <a:pt x="1369" y="930"/>
                  </a:cubicBezTo>
                  <a:moveTo>
                    <a:pt x="1389" y="930"/>
                  </a:moveTo>
                  <a:cubicBezTo>
                    <a:pt x="1377" y="930"/>
                    <a:pt x="1377" y="930"/>
                    <a:pt x="1377" y="930"/>
                  </a:cubicBezTo>
                  <a:cubicBezTo>
                    <a:pt x="1377" y="934"/>
                    <a:pt x="1377" y="934"/>
                    <a:pt x="1377" y="934"/>
                  </a:cubicBezTo>
                  <a:cubicBezTo>
                    <a:pt x="1389" y="934"/>
                    <a:pt x="1389" y="934"/>
                    <a:pt x="1389" y="934"/>
                  </a:cubicBezTo>
                  <a:cubicBezTo>
                    <a:pt x="1389" y="930"/>
                    <a:pt x="1389" y="930"/>
                    <a:pt x="1389" y="930"/>
                  </a:cubicBezTo>
                  <a:moveTo>
                    <a:pt x="1409" y="930"/>
                  </a:moveTo>
                  <a:cubicBezTo>
                    <a:pt x="1397" y="930"/>
                    <a:pt x="1397" y="930"/>
                    <a:pt x="1397" y="930"/>
                  </a:cubicBezTo>
                  <a:cubicBezTo>
                    <a:pt x="1397" y="934"/>
                    <a:pt x="1397" y="934"/>
                    <a:pt x="1397" y="934"/>
                  </a:cubicBezTo>
                  <a:cubicBezTo>
                    <a:pt x="1409" y="934"/>
                    <a:pt x="1409" y="934"/>
                    <a:pt x="1409" y="934"/>
                  </a:cubicBezTo>
                  <a:cubicBezTo>
                    <a:pt x="1409" y="930"/>
                    <a:pt x="1409" y="930"/>
                    <a:pt x="1409" y="930"/>
                  </a:cubicBezTo>
                  <a:moveTo>
                    <a:pt x="1429" y="930"/>
                  </a:moveTo>
                  <a:cubicBezTo>
                    <a:pt x="1417" y="930"/>
                    <a:pt x="1417" y="930"/>
                    <a:pt x="1417" y="930"/>
                  </a:cubicBezTo>
                  <a:cubicBezTo>
                    <a:pt x="1417" y="934"/>
                    <a:pt x="1417" y="934"/>
                    <a:pt x="1417" y="934"/>
                  </a:cubicBezTo>
                  <a:cubicBezTo>
                    <a:pt x="1429" y="934"/>
                    <a:pt x="1429" y="934"/>
                    <a:pt x="1429" y="934"/>
                  </a:cubicBezTo>
                  <a:cubicBezTo>
                    <a:pt x="1429" y="930"/>
                    <a:pt x="1429" y="930"/>
                    <a:pt x="1429" y="930"/>
                  </a:cubicBezTo>
                  <a:moveTo>
                    <a:pt x="1449" y="930"/>
                  </a:moveTo>
                  <a:cubicBezTo>
                    <a:pt x="1437" y="930"/>
                    <a:pt x="1437" y="930"/>
                    <a:pt x="1437" y="930"/>
                  </a:cubicBezTo>
                  <a:cubicBezTo>
                    <a:pt x="1437" y="934"/>
                    <a:pt x="1437" y="934"/>
                    <a:pt x="1437" y="934"/>
                  </a:cubicBezTo>
                  <a:cubicBezTo>
                    <a:pt x="1449" y="934"/>
                    <a:pt x="1449" y="934"/>
                    <a:pt x="1449" y="934"/>
                  </a:cubicBezTo>
                  <a:cubicBezTo>
                    <a:pt x="1449" y="930"/>
                    <a:pt x="1449" y="930"/>
                    <a:pt x="1449" y="930"/>
                  </a:cubicBezTo>
                  <a:moveTo>
                    <a:pt x="1469" y="930"/>
                  </a:moveTo>
                  <a:cubicBezTo>
                    <a:pt x="1457" y="930"/>
                    <a:pt x="1457" y="930"/>
                    <a:pt x="1457" y="930"/>
                  </a:cubicBezTo>
                  <a:cubicBezTo>
                    <a:pt x="1457" y="934"/>
                    <a:pt x="1457" y="934"/>
                    <a:pt x="1457" y="934"/>
                  </a:cubicBezTo>
                  <a:cubicBezTo>
                    <a:pt x="1469" y="934"/>
                    <a:pt x="1469" y="934"/>
                    <a:pt x="1469" y="934"/>
                  </a:cubicBezTo>
                  <a:cubicBezTo>
                    <a:pt x="1469" y="930"/>
                    <a:pt x="1469" y="930"/>
                    <a:pt x="1469" y="930"/>
                  </a:cubicBezTo>
                  <a:moveTo>
                    <a:pt x="1489" y="930"/>
                  </a:moveTo>
                  <a:cubicBezTo>
                    <a:pt x="1477" y="930"/>
                    <a:pt x="1477" y="930"/>
                    <a:pt x="1477" y="930"/>
                  </a:cubicBezTo>
                  <a:cubicBezTo>
                    <a:pt x="1477" y="934"/>
                    <a:pt x="1477" y="934"/>
                    <a:pt x="1477" y="934"/>
                  </a:cubicBezTo>
                  <a:cubicBezTo>
                    <a:pt x="1489" y="934"/>
                    <a:pt x="1489" y="934"/>
                    <a:pt x="1489" y="934"/>
                  </a:cubicBezTo>
                  <a:cubicBezTo>
                    <a:pt x="1489" y="930"/>
                    <a:pt x="1489" y="930"/>
                    <a:pt x="1489" y="930"/>
                  </a:cubicBezTo>
                  <a:moveTo>
                    <a:pt x="1509" y="930"/>
                  </a:moveTo>
                  <a:cubicBezTo>
                    <a:pt x="1497" y="930"/>
                    <a:pt x="1497" y="930"/>
                    <a:pt x="1497" y="930"/>
                  </a:cubicBezTo>
                  <a:cubicBezTo>
                    <a:pt x="1497" y="934"/>
                    <a:pt x="1497" y="934"/>
                    <a:pt x="1497" y="934"/>
                  </a:cubicBezTo>
                  <a:cubicBezTo>
                    <a:pt x="1509" y="934"/>
                    <a:pt x="1509" y="934"/>
                    <a:pt x="1509" y="934"/>
                  </a:cubicBezTo>
                  <a:cubicBezTo>
                    <a:pt x="1509" y="930"/>
                    <a:pt x="1509" y="930"/>
                    <a:pt x="1509" y="930"/>
                  </a:cubicBezTo>
                  <a:moveTo>
                    <a:pt x="1529" y="930"/>
                  </a:moveTo>
                  <a:cubicBezTo>
                    <a:pt x="1517" y="930"/>
                    <a:pt x="1517" y="930"/>
                    <a:pt x="1517" y="930"/>
                  </a:cubicBezTo>
                  <a:cubicBezTo>
                    <a:pt x="1517" y="934"/>
                    <a:pt x="1517" y="934"/>
                    <a:pt x="1517" y="934"/>
                  </a:cubicBezTo>
                  <a:cubicBezTo>
                    <a:pt x="1529" y="934"/>
                    <a:pt x="1529" y="934"/>
                    <a:pt x="1529" y="934"/>
                  </a:cubicBezTo>
                  <a:cubicBezTo>
                    <a:pt x="1529" y="930"/>
                    <a:pt x="1529" y="930"/>
                    <a:pt x="1529" y="930"/>
                  </a:cubicBezTo>
                  <a:moveTo>
                    <a:pt x="1549" y="930"/>
                  </a:moveTo>
                  <a:cubicBezTo>
                    <a:pt x="1537" y="930"/>
                    <a:pt x="1537" y="930"/>
                    <a:pt x="1537" y="930"/>
                  </a:cubicBezTo>
                  <a:cubicBezTo>
                    <a:pt x="1537" y="934"/>
                    <a:pt x="1537" y="934"/>
                    <a:pt x="1537" y="934"/>
                  </a:cubicBezTo>
                  <a:cubicBezTo>
                    <a:pt x="1549" y="934"/>
                    <a:pt x="1549" y="934"/>
                    <a:pt x="1549" y="934"/>
                  </a:cubicBezTo>
                  <a:cubicBezTo>
                    <a:pt x="1549" y="930"/>
                    <a:pt x="1549" y="930"/>
                    <a:pt x="1549" y="930"/>
                  </a:cubicBezTo>
                  <a:moveTo>
                    <a:pt x="1569" y="930"/>
                  </a:moveTo>
                  <a:cubicBezTo>
                    <a:pt x="1557" y="930"/>
                    <a:pt x="1557" y="930"/>
                    <a:pt x="1557" y="930"/>
                  </a:cubicBezTo>
                  <a:cubicBezTo>
                    <a:pt x="1557" y="934"/>
                    <a:pt x="1557" y="934"/>
                    <a:pt x="1557" y="934"/>
                  </a:cubicBezTo>
                  <a:cubicBezTo>
                    <a:pt x="1569" y="934"/>
                    <a:pt x="1569" y="934"/>
                    <a:pt x="1569" y="934"/>
                  </a:cubicBezTo>
                  <a:cubicBezTo>
                    <a:pt x="1569" y="930"/>
                    <a:pt x="1569" y="930"/>
                    <a:pt x="1569" y="930"/>
                  </a:cubicBezTo>
                  <a:moveTo>
                    <a:pt x="1589" y="930"/>
                  </a:moveTo>
                  <a:cubicBezTo>
                    <a:pt x="1577" y="930"/>
                    <a:pt x="1577" y="930"/>
                    <a:pt x="1577" y="930"/>
                  </a:cubicBezTo>
                  <a:cubicBezTo>
                    <a:pt x="1577" y="934"/>
                    <a:pt x="1577" y="934"/>
                    <a:pt x="1577" y="934"/>
                  </a:cubicBezTo>
                  <a:cubicBezTo>
                    <a:pt x="1589" y="934"/>
                    <a:pt x="1589" y="934"/>
                    <a:pt x="1589" y="934"/>
                  </a:cubicBezTo>
                  <a:cubicBezTo>
                    <a:pt x="1589" y="930"/>
                    <a:pt x="1589" y="930"/>
                    <a:pt x="1589" y="930"/>
                  </a:cubicBezTo>
                  <a:moveTo>
                    <a:pt x="1609" y="930"/>
                  </a:moveTo>
                  <a:cubicBezTo>
                    <a:pt x="1597" y="930"/>
                    <a:pt x="1597" y="930"/>
                    <a:pt x="1597" y="930"/>
                  </a:cubicBezTo>
                  <a:cubicBezTo>
                    <a:pt x="1597" y="934"/>
                    <a:pt x="1597" y="934"/>
                    <a:pt x="1597" y="934"/>
                  </a:cubicBezTo>
                  <a:cubicBezTo>
                    <a:pt x="1609" y="934"/>
                    <a:pt x="1609" y="934"/>
                    <a:pt x="1609" y="934"/>
                  </a:cubicBezTo>
                  <a:cubicBezTo>
                    <a:pt x="1609" y="930"/>
                    <a:pt x="1609" y="930"/>
                    <a:pt x="1609" y="930"/>
                  </a:cubicBezTo>
                  <a:moveTo>
                    <a:pt x="1629" y="930"/>
                  </a:moveTo>
                  <a:cubicBezTo>
                    <a:pt x="1617" y="930"/>
                    <a:pt x="1617" y="930"/>
                    <a:pt x="1617" y="930"/>
                  </a:cubicBezTo>
                  <a:cubicBezTo>
                    <a:pt x="1617" y="934"/>
                    <a:pt x="1617" y="934"/>
                    <a:pt x="1617" y="934"/>
                  </a:cubicBezTo>
                  <a:cubicBezTo>
                    <a:pt x="1629" y="934"/>
                    <a:pt x="1629" y="934"/>
                    <a:pt x="1629" y="934"/>
                  </a:cubicBezTo>
                  <a:cubicBezTo>
                    <a:pt x="1629" y="930"/>
                    <a:pt x="1629" y="930"/>
                    <a:pt x="1629" y="930"/>
                  </a:cubicBezTo>
                  <a:moveTo>
                    <a:pt x="1649" y="930"/>
                  </a:moveTo>
                  <a:cubicBezTo>
                    <a:pt x="1637" y="930"/>
                    <a:pt x="1637" y="930"/>
                    <a:pt x="1637" y="930"/>
                  </a:cubicBezTo>
                  <a:cubicBezTo>
                    <a:pt x="1637" y="934"/>
                    <a:pt x="1637" y="934"/>
                    <a:pt x="1637" y="934"/>
                  </a:cubicBezTo>
                  <a:cubicBezTo>
                    <a:pt x="1649" y="934"/>
                    <a:pt x="1649" y="934"/>
                    <a:pt x="1649" y="934"/>
                  </a:cubicBezTo>
                  <a:cubicBezTo>
                    <a:pt x="1649" y="930"/>
                    <a:pt x="1649" y="930"/>
                    <a:pt x="1649" y="930"/>
                  </a:cubicBezTo>
                  <a:moveTo>
                    <a:pt x="1669" y="930"/>
                  </a:moveTo>
                  <a:cubicBezTo>
                    <a:pt x="1657" y="930"/>
                    <a:pt x="1657" y="930"/>
                    <a:pt x="1657" y="930"/>
                  </a:cubicBezTo>
                  <a:cubicBezTo>
                    <a:pt x="1657" y="934"/>
                    <a:pt x="1657" y="934"/>
                    <a:pt x="1657" y="934"/>
                  </a:cubicBezTo>
                  <a:cubicBezTo>
                    <a:pt x="1669" y="934"/>
                    <a:pt x="1669" y="934"/>
                    <a:pt x="1669" y="934"/>
                  </a:cubicBezTo>
                  <a:cubicBezTo>
                    <a:pt x="1669" y="930"/>
                    <a:pt x="1669" y="930"/>
                    <a:pt x="1669" y="930"/>
                  </a:cubicBezTo>
                  <a:moveTo>
                    <a:pt x="1689" y="930"/>
                  </a:moveTo>
                  <a:cubicBezTo>
                    <a:pt x="1677" y="930"/>
                    <a:pt x="1677" y="930"/>
                    <a:pt x="1677" y="930"/>
                  </a:cubicBezTo>
                  <a:cubicBezTo>
                    <a:pt x="1677" y="934"/>
                    <a:pt x="1677" y="934"/>
                    <a:pt x="1677" y="934"/>
                  </a:cubicBezTo>
                  <a:cubicBezTo>
                    <a:pt x="1689" y="934"/>
                    <a:pt x="1689" y="934"/>
                    <a:pt x="1689" y="934"/>
                  </a:cubicBezTo>
                  <a:cubicBezTo>
                    <a:pt x="1689" y="930"/>
                    <a:pt x="1689" y="930"/>
                    <a:pt x="1689" y="930"/>
                  </a:cubicBezTo>
                  <a:moveTo>
                    <a:pt x="1709" y="930"/>
                  </a:moveTo>
                  <a:cubicBezTo>
                    <a:pt x="1697" y="930"/>
                    <a:pt x="1697" y="930"/>
                    <a:pt x="1697" y="930"/>
                  </a:cubicBezTo>
                  <a:cubicBezTo>
                    <a:pt x="1697" y="934"/>
                    <a:pt x="1697" y="934"/>
                    <a:pt x="1697" y="934"/>
                  </a:cubicBezTo>
                  <a:cubicBezTo>
                    <a:pt x="1709" y="934"/>
                    <a:pt x="1709" y="934"/>
                    <a:pt x="1709" y="934"/>
                  </a:cubicBezTo>
                  <a:cubicBezTo>
                    <a:pt x="1709" y="930"/>
                    <a:pt x="1709" y="930"/>
                    <a:pt x="1709" y="930"/>
                  </a:cubicBezTo>
                  <a:moveTo>
                    <a:pt x="1729" y="930"/>
                  </a:moveTo>
                  <a:cubicBezTo>
                    <a:pt x="1717" y="930"/>
                    <a:pt x="1717" y="930"/>
                    <a:pt x="1717" y="930"/>
                  </a:cubicBezTo>
                  <a:cubicBezTo>
                    <a:pt x="1717" y="934"/>
                    <a:pt x="1717" y="934"/>
                    <a:pt x="1717" y="934"/>
                  </a:cubicBezTo>
                  <a:cubicBezTo>
                    <a:pt x="1729" y="934"/>
                    <a:pt x="1729" y="934"/>
                    <a:pt x="1729" y="934"/>
                  </a:cubicBezTo>
                  <a:cubicBezTo>
                    <a:pt x="1729" y="930"/>
                    <a:pt x="1729" y="930"/>
                    <a:pt x="1729" y="930"/>
                  </a:cubicBezTo>
                  <a:moveTo>
                    <a:pt x="1749" y="930"/>
                  </a:moveTo>
                  <a:cubicBezTo>
                    <a:pt x="1737" y="930"/>
                    <a:pt x="1737" y="930"/>
                    <a:pt x="1737" y="930"/>
                  </a:cubicBezTo>
                  <a:cubicBezTo>
                    <a:pt x="1737" y="934"/>
                    <a:pt x="1737" y="934"/>
                    <a:pt x="1737" y="934"/>
                  </a:cubicBezTo>
                  <a:cubicBezTo>
                    <a:pt x="1749" y="934"/>
                    <a:pt x="1749" y="934"/>
                    <a:pt x="1749" y="934"/>
                  </a:cubicBezTo>
                  <a:cubicBezTo>
                    <a:pt x="1749" y="930"/>
                    <a:pt x="1749" y="930"/>
                    <a:pt x="1749" y="930"/>
                  </a:cubicBezTo>
                  <a:moveTo>
                    <a:pt x="1769" y="930"/>
                  </a:moveTo>
                  <a:cubicBezTo>
                    <a:pt x="1757" y="930"/>
                    <a:pt x="1757" y="930"/>
                    <a:pt x="1757" y="930"/>
                  </a:cubicBezTo>
                  <a:cubicBezTo>
                    <a:pt x="1757" y="934"/>
                    <a:pt x="1757" y="934"/>
                    <a:pt x="1757" y="934"/>
                  </a:cubicBezTo>
                  <a:cubicBezTo>
                    <a:pt x="1769" y="934"/>
                    <a:pt x="1769" y="934"/>
                    <a:pt x="1769" y="934"/>
                  </a:cubicBezTo>
                  <a:cubicBezTo>
                    <a:pt x="1769" y="930"/>
                    <a:pt x="1769" y="930"/>
                    <a:pt x="1769" y="930"/>
                  </a:cubicBezTo>
                  <a:moveTo>
                    <a:pt x="1789" y="930"/>
                  </a:moveTo>
                  <a:cubicBezTo>
                    <a:pt x="1777" y="930"/>
                    <a:pt x="1777" y="930"/>
                    <a:pt x="1777" y="930"/>
                  </a:cubicBezTo>
                  <a:cubicBezTo>
                    <a:pt x="1777" y="934"/>
                    <a:pt x="1777" y="934"/>
                    <a:pt x="1777" y="934"/>
                  </a:cubicBezTo>
                  <a:cubicBezTo>
                    <a:pt x="1789" y="934"/>
                    <a:pt x="1789" y="934"/>
                    <a:pt x="1789" y="934"/>
                  </a:cubicBezTo>
                  <a:cubicBezTo>
                    <a:pt x="1789" y="930"/>
                    <a:pt x="1789" y="930"/>
                    <a:pt x="1789" y="930"/>
                  </a:cubicBezTo>
                  <a:moveTo>
                    <a:pt x="1809" y="930"/>
                  </a:moveTo>
                  <a:cubicBezTo>
                    <a:pt x="1797" y="930"/>
                    <a:pt x="1797" y="930"/>
                    <a:pt x="1797" y="930"/>
                  </a:cubicBezTo>
                  <a:cubicBezTo>
                    <a:pt x="1797" y="934"/>
                    <a:pt x="1797" y="934"/>
                    <a:pt x="1797" y="934"/>
                  </a:cubicBezTo>
                  <a:cubicBezTo>
                    <a:pt x="1809" y="934"/>
                    <a:pt x="1809" y="934"/>
                    <a:pt x="1809" y="934"/>
                  </a:cubicBezTo>
                  <a:cubicBezTo>
                    <a:pt x="1809" y="930"/>
                    <a:pt x="1809" y="930"/>
                    <a:pt x="1809" y="930"/>
                  </a:cubicBezTo>
                  <a:moveTo>
                    <a:pt x="1829" y="930"/>
                  </a:moveTo>
                  <a:cubicBezTo>
                    <a:pt x="1817" y="930"/>
                    <a:pt x="1817" y="930"/>
                    <a:pt x="1817" y="930"/>
                  </a:cubicBezTo>
                  <a:cubicBezTo>
                    <a:pt x="1817" y="934"/>
                    <a:pt x="1817" y="934"/>
                    <a:pt x="1817" y="934"/>
                  </a:cubicBezTo>
                  <a:cubicBezTo>
                    <a:pt x="1829" y="934"/>
                    <a:pt x="1829" y="934"/>
                    <a:pt x="1829" y="934"/>
                  </a:cubicBezTo>
                  <a:cubicBezTo>
                    <a:pt x="1829" y="930"/>
                    <a:pt x="1829" y="930"/>
                    <a:pt x="1829" y="930"/>
                  </a:cubicBezTo>
                  <a:moveTo>
                    <a:pt x="1849" y="930"/>
                  </a:moveTo>
                  <a:cubicBezTo>
                    <a:pt x="1837" y="930"/>
                    <a:pt x="1837" y="930"/>
                    <a:pt x="1837" y="930"/>
                  </a:cubicBezTo>
                  <a:cubicBezTo>
                    <a:pt x="1837" y="934"/>
                    <a:pt x="1837" y="934"/>
                    <a:pt x="1837" y="934"/>
                  </a:cubicBezTo>
                  <a:cubicBezTo>
                    <a:pt x="1849" y="934"/>
                    <a:pt x="1849" y="934"/>
                    <a:pt x="1849" y="934"/>
                  </a:cubicBezTo>
                  <a:cubicBezTo>
                    <a:pt x="1849" y="930"/>
                    <a:pt x="1849" y="930"/>
                    <a:pt x="1849" y="930"/>
                  </a:cubicBezTo>
                  <a:moveTo>
                    <a:pt x="1869" y="930"/>
                  </a:moveTo>
                  <a:cubicBezTo>
                    <a:pt x="1857" y="930"/>
                    <a:pt x="1857" y="930"/>
                    <a:pt x="1857" y="930"/>
                  </a:cubicBezTo>
                  <a:cubicBezTo>
                    <a:pt x="1857" y="934"/>
                    <a:pt x="1857" y="934"/>
                    <a:pt x="1857" y="934"/>
                  </a:cubicBezTo>
                  <a:cubicBezTo>
                    <a:pt x="1869" y="934"/>
                    <a:pt x="1869" y="934"/>
                    <a:pt x="1869" y="934"/>
                  </a:cubicBezTo>
                  <a:cubicBezTo>
                    <a:pt x="1869" y="930"/>
                    <a:pt x="1869" y="930"/>
                    <a:pt x="1869" y="930"/>
                  </a:cubicBezTo>
                  <a:moveTo>
                    <a:pt x="1889" y="930"/>
                  </a:moveTo>
                  <a:cubicBezTo>
                    <a:pt x="1877" y="930"/>
                    <a:pt x="1877" y="930"/>
                    <a:pt x="1877" y="930"/>
                  </a:cubicBezTo>
                  <a:cubicBezTo>
                    <a:pt x="1877" y="934"/>
                    <a:pt x="1877" y="934"/>
                    <a:pt x="1877" y="934"/>
                  </a:cubicBezTo>
                  <a:cubicBezTo>
                    <a:pt x="1889" y="934"/>
                    <a:pt x="1889" y="934"/>
                    <a:pt x="1889" y="934"/>
                  </a:cubicBezTo>
                  <a:cubicBezTo>
                    <a:pt x="1889" y="930"/>
                    <a:pt x="1889" y="930"/>
                    <a:pt x="1889" y="930"/>
                  </a:cubicBezTo>
                  <a:moveTo>
                    <a:pt x="1909" y="930"/>
                  </a:moveTo>
                  <a:cubicBezTo>
                    <a:pt x="1897" y="930"/>
                    <a:pt x="1897" y="930"/>
                    <a:pt x="1897" y="930"/>
                  </a:cubicBezTo>
                  <a:cubicBezTo>
                    <a:pt x="1897" y="934"/>
                    <a:pt x="1897" y="934"/>
                    <a:pt x="1897" y="934"/>
                  </a:cubicBezTo>
                  <a:cubicBezTo>
                    <a:pt x="1909" y="934"/>
                    <a:pt x="1909" y="934"/>
                    <a:pt x="1909" y="934"/>
                  </a:cubicBezTo>
                  <a:cubicBezTo>
                    <a:pt x="1909" y="930"/>
                    <a:pt x="1909" y="930"/>
                    <a:pt x="1909" y="930"/>
                  </a:cubicBezTo>
                  <a:moveTo>
                    <a:pt x="1929" y="930"/>
                  </a:moveTo>
                  <a:cubicBezTo>
                    <a:pt x="1917" y="930"/>
                    <a:pt x="1917" y="930"/>
                    <a:pt x="1917" y="930"/>
                  </a:cubicBezTo>
                  <a:cubicBezTo>
                    <a:pt x="1917" y="934"/>
                    <a:pt x="1917" y="934"/>
                    <a:pt x="1917" y="934"/>
                  </a:cubicBezTo>
                  <a:cubicBezTo>
                    <a:pt x="1929" y="934"/>
                    <a:pt x="1929" y="934"/>
                    <a:pt x="1929" y="934"/>
                  </a:cubicBezTo>
                  <a:cubicBezTo>
                    <a:pt x="1929" y="930"/>
                    <a:pt x="1929" y="930"/>
                    <a:pt x="1929" y="930"/>
                  </a:cubicBezTo>
                  <a:moveTo>
                    <a:pt x="1949" y="930"/>
                  </a:moveTo>
                  <a:cubicBezTo>
                    <a:pt x="1937" y="930"/>
                    <a:pt x="1937" y="930"/>
                    <a:pt x="1937" y="930"/>
                  </a:cubicBezTo>
                  <a:cubicBezTo>
                    <a:pt x="1937" y="934"/>
                    <a:pt x="1937" y="934"/>
                    <a:pt x="1937" y="934"/>
                  </a:cubicBezTo>
                  <a:cubicBezTo>
                    <a:pt x="1949" y="934"/>
                    <a:pt x="1949" y="934"/>
                    <a:pt x="1949" y="934"/>
                  </a:cubicBezTo>
                  <a:cubicBezTo>
                    <a:pt x="1949" y="930"/>
                    <a:pt x="1949" y="930"/>
                    <a:pt x="1949" y="930"/>
                  </a:cubicBezTo>
                  <a:moveTo>
                    <a:pt x="1969" y="930"/>
                  </a:moveTo>
                  <a:cubicBezTo>
                    <a:pt x="1957" y="930"/>
                    <a:pt x="1957" y="930"/>
                    <a:pt x="1957" y="930"/>
                  </a:cubicBezTo>
                  <a:cubicBezTo>
                    <a:pt x="1957" y="934"/>
                    <a:pt x="1957" y="934"/>
                    <a:pt x="1957" y="934"/>
                  </a:cubicBezTo>
                  <a:cubicBezTo>
                    <a:pt x="1969" y="934"/>
                    <a:pt x="1969" y="934"/>
                    <a:pt x="1969" y="934"/>
                  </a:cubicBezTo>
                  <a:cubicBezTo>
                    <a:pt x="1969" y="930"/>
                    <a:pt x="1969" y="930"/>
                    <a:pt x="1969" y="930"/>
                  </a:cubicBezTo>
                  <a:moveTo>
                    <a:pt x="1989" y="930"/>
                  </a:moveTo>
                  <a:cubicBezTo>
                    <a:pt x="1977" y="930"/>
                    <a:pt x="1977" y="930"/>
                    <a:pt x="1977" y="930"/>
                  </a:cubicBezTo>
                  <a:cubicBezTo>
                    <a:pt x="1977" y="934"/>
                    <a:pt x="1977" y="934"/>
                    <a:pt x="1977" y="934"/>
                  </a:cubicBezTo>
                  <a:cubicBezTo>
                    <a:pt x="1989" y="934"/>
                    <a:pt x="1989" y="934"/>
                    <a:pt x="1989" y="934"/>
                  </a:cubicBezTo>
                  <a:cubicBezTo>
                    <a:pt x="1989" y="930"/>
                    <a:pt x="1989" y="930"/>
                    <a:pt x="1989" y="930"/>
                  </a:cubicBezTo>
                  <a:moveTo>
                    <a:pt x="2009" y="930"/>
                  </a:moveTo>
                  <a:cubicBezTo>
                    <a:pt x="1997" y="930"/>
                    <a:pt x="1997" y="930"/>
                    <a:pt x="1997" y="930"/>
                  </a:cubicBezTo>
                  <a:cubicBezTo>
                    <a:pt x="1997" y="934"/>
                    <a:pt x="1997" y="934"/>
                    <a:pt x="1997" y="934"/>
                  </a:cubicBezTo>
                  <a:cubicBezTo>
                    <a:pt x="2009" y="934"/>
                    <a:pt x="2009" y="934"/>
                    <a:pt x="2009" y="934"/>
                  </a:cubicBezTo>
                  <a:cubicBezTo>
                    <a:pt x="2009" y="930"/>
                    <a:pt x="2009" y="930"/>
                    <a:pt x="2009" y="930"/>
                  </a:cubicBezTo>
                  <a:moveTo>
                    <a:pt x="2029" y="930"/>
                  </a:moveTo>
                  <a:cubicBezTo>
                    <a:pt x="2017" y="930"/>
                    <a:pt x="2017" y="930"/>
                    <a:pt x="2017" y="930"/>
                  </a:cubicBezTo>
                  <a:cubicBezTo>
                    <a:pt x="2017" y="934"/>
                    <a:pt x="2017" y="934"/>
                    <a:pt x="2017" y="934"/>
                  </a:cubicBezTo>
                  <a:cubicBezTo>
                    <a:pt x="2029" y="934"/>
                    <a:pt x="2029" y="934"/>
                    <a:pt x="2029" y="934"/>
                  </a:cubicBezTo>
                  <a:cubicBezTo>
                    <a:pt x="2029" y="930"/>
                    <a:pt x="2029" y="930"/>
                    <a:pt x="2029" y="930"/>
                  </a:cubicBezTo>
                  <a:moveTo>
                    <a:pt x="2049" y="930"/>
                  </a:moveTo>
                  <a:cubicBezTo>
                    <a:pt x="2037" y="930"/>
                    <a:pt x="2037" y="930"/>
                    <a:pt x="2037" y="930"/>
                  </a:cubicBezTo>
                  <a:cubicBezTo>
                    <a:pt x="2037" y="934"/>
                    <a:pt x="2037" y="934"/>
                    <a:pt x="2037" y="934"/>
                  </a:cubicBezTo>
                  <a:cubicBezTo>
                    <a:pt x="2049" y="934"/>
                    <a:pt x="2049" y="934"/>
                    <a:pt x="2049" y="934"/>
                  </a:cubicBezTo>
                  <a:cubicBezTo>
                    <a:pt x="2049" y="930"/>
                    <a:pt x="2049" y="930"/>
                    <a:pt x="2049" y="930"/>
                  </a:cubicBezTo>
                  <a:moveTo>
                    <a:pt x="2069" y="930"/>
                  </a:moveTo>
                  <a:cubicBezTo>
                    <a:pt x="2057" y="930"/>
                    <a:pt x="2057" y="930"/>
                    <a:pt x="2057" y="930"/>
                  </a:cubicBezTo>
                  <a:cubicBezTo>
                    <a:pt x="2057" y="934"/>
                    <a:pt x="2057" y="934"/>
                    <a:pt x="2057" y="934"/>
                  </a:cubicBezTo>
                  <a:cubicBezTo>
                    <a:pt x="2069" y="934"/>
                    <a:pt x="2069" y="934"/>
                    <a:pt x="2069" y="934"/>
                  </a:cubicBezTo>
                  <a:cubicBezTo>
                    <a:pt x="2069" y="930"/>
                    <a:pt x="2069" y="930"/>
                    <a:pt x="2069" y="930"/>
                  </a:cubicBezTo>
                  <a:moveTo>
                    <a:pt x="2089" y="930"/>
                  </a:moveTo>
                  <a:cubicBezTo>
                    <a:pt x="2077" y="930"/>
                    <a:pt x="2077" y="930"/>
                    <a:pt x="2077" y="930"/>
                  </a:cubicBezTo>
                  <a:cubicBezTo>
                    <a:pt x="2077" y="934"/>
                    <a:pt x="2077" y="934"/>
                    <a:pt x="2077" y="934"/>
                  </a:cubicBezTo>
                  <a:cubicBezTo>
                    <a:pt x="2089" y="934"/>
                    <a:pt x="2089" y="934"/>
                    <a:pt x="2089" y="934"/>
                  </a:cubicBezTo>
                  <a:cubicBezTo>
                    <a:pt x="2089" y="930"/>
                    <a:pt x="2089" y="930"/>
                    <a:pt x="2089" y="930"/>
                  </a:cubicBezTo>
                  <a:moveTo>
                    <a:pt x="2109" y="930"/>
                  </a:moveTo>
                  <a:cubicBezTo>
                    <a:pt x="2097" y="930"/>
                    <a:pt x="2097" y="930"/>
                    <a:pt x="2097" y="930"/>
                  </a:cubicBezTo>
                  <a:cubicBezTo>
                    <a:pt x="2097" y="934"/>
                    <a:pt x="2097" y="934"/>
                    <a:pt x="2097" y="934"/>
                  </a:cubicBezTo>
                  <a:cubicBezTo>
                    <a:pt x="2109" y="934"/>
                    <a:pt x="2109" y="934"/>
                    <a:pt x="2109" y="934"/>
                  </a:cubicBezTo>
                  <a:cubicBezTo>
                    <a:pt x="2109" y="930"/>
                    <a:pt x="2109" y="930"/>
                    <a:pt x="2109" y="930"/>
                  </a:cubicBezTo>
                  <a:moveTo>
                    <a:pt x="2129" y="930"/>
                  </a:moveTo>
                  <a:cubicBezTo>
                    <a:pt x="2117" y="930"/>
                    <a:pt x="2117" y="930"/>
                    <a:pt x="2117" y="930"/>
                  </a:cubicBezTo>
                  <a:cubicBezTo>
                    <a:pt x="2117" y="934"/>
                    <a:pt x="2117" y="934"/>
                    <a:pt x="2117" y="934"/>
                  </a:cubicBezTo>
                  <a:cubicBezTo>
                    <a:pt x="2129" y="934"/>
                    <a:pt x="2129" y="934"/>
                    <a:pt x="2129" y="934"/>
                  </a:cubicBezTo>
                  <a:cubicBezTo>
                    <a:pt x="2129" y="930"/>
                    <a:pt x="2129" y="930"/>
                    <a:pt x="2129" y="930"/>
                  </a:cubicBezTo>
                  <a:moveTo>
                    <a:pt x="2149" y="930"/>
                  </a:moveTo>
                  <a:cubicBezTo>
                    <a:pt x="2137" y="930"/>
                    <a:pt x="2137" y="930"/>
                    <a:pt x="2137" y="930"/>
                  </a:cubicBezTo>
                  <a:cubicBezTo>
                    <a:pt x="2137" y="934"/>
                    <a:pt x="2137" y="934"/>
                    <a:pt x="2137" y="934"/>
                  </a:cubicBezTo>
                  <a:cubicBezTo>
                    <a:pt x="2149" y="934"/>
                    <a:pt x="2149" y="934"/>
                    <a:pt x="2149" y="934"/>
                  </a:cubicBezTo>
                  <a:cubicBezTo>
                    <a:pt x="2149" y="930"/>
                    <a:pt x="2149" y="930"/>
                    <a:pt x="2149" y="930"/>
                  </a:cubicBezTo>
                  <a:moveTo>
                    <a:pt x="2169" y="930"/>
                  </a:moveTo>
                  <a:cubicBezTo>
                    <a:pt x="2157" y="930"/>
                    <a:pt x="2157" y="930"/>
                    <a:pt x="2157" y="930"/>
                  </a:cubicBezTo>
                  <a:cubicBezTo>
                    <a:pt x="2157" y="934"/>
                    <a:pt x="2157" y="934"/>
                    <a:pt x="2157" y="934"/>
                  </a:cubicBezTo>
                  <a:cubicBezTo>
                    <a:pt x="2169" y="934"/>
                    <a:pt x="2169" y="934"/>
                    <a:pt x="2169" y="934"/>
                  </a:cubicBezTo>
                  <a:cubicBezTo>
                    <a:pt x="2169" y="930"/>
                    <a:pt x="2169" y="930"/>
                    <a:pt x="2169" y="930"/>
                  </a:cubicBezTo>
                  <a:moveTo>
                    <a:pt x="2189" y="930"/>
                  </a:moveTo>
                  <a:cubicBezTo>
                    <a:pt x="2177" y="930"/>
                    <a:pt x="2177" y="930"/>
                    <a:pt x="2177" y="930"/>
                  </a:cubicBezTo>
                  <a:cubicBezTo>
                    <a:pt x="2177" y="934"/>
                    <a:pt x="2177" y="934"/>
                    <a:pt x="2177" y="934"/>
                  </a:cubicBezTo>
                  <a:cubicBezTo>
                    <a:pt x="2189" y="934"/>
                    <a:pt x="2189" y="934"/>
                    <a:pt x="2189" y="934"/>
                  </a:cubicBezTo>
                  <a:cubicBezTo>
                    <a:pt x="2189" y="930"/>
                    <a:pt x="2189" y="930"/>
                    <a:pt x="2189" y="930"/>
                  </a:cubicBezTo>
                  <a:moveTo>
                    <a:pt x="2209" y="930"/>
                  </a:moveTo>
                  <a:cubicBezTo>
                    <a:pt x="2197" y="930"/>
                    <a:pt x="2197" y="930"/>
                    <a:pt x="2197" y="930"/>
                  </a:cubicBezTo>
                  <a:cubicBezTo>
                    <a:pt x="2197" y="934"/>
                    <a:pt x="2197" y="934"/>
                    <a:pt x="2197" y="934"/>
                  </a:cubicBezTo>
                  <a:cubicBezTo>
                    <a:pt x="2209" y="934"/>
                    <a:pt x="2209" y="934"/>
                    <a:pt x="2209" y="934"/>
                  </a:cubicBezTo>
                  <a:cubicBezTo>
                    <a:pt x="2209" y="930"/>
                    <a:pt x="2209" y="930"/>
                    <a:pt x="2209" y="930"/>
                  </a:cubicBezTo>
                  <a:moveTo>
                    <a:pt x="2230" y="930"/>
                  </a:moveTo>
                  <a:cubicBezTo>
                    <a:pt x="2227" y="930"/>
                    <a:pt x="2224" y="930"/>
                    <a:pt x="2221" y="930"/>
                  </a:cubicBezTo>
                  <a:cubicBezTo>
                    <a:pt x="2217" y="930"/>
                    <a:pt x="2217" y="930"/>
                    <a:pt x="2217" y="930"/>
                  </a:cubicBezTo>
                  <a:cubicBezTo>
                    <a:pt x="2217" y="934"/>
                    <a:pt x="2217" y="934"/>
                    <a:pt x="2217" y="934"/>
                  </a:cubicBezTo>
                  <a:cubicBezTo>
                    <a:pt x="2221" y="934"/>
                    <a:pt x="2221" y="934"/>
                    <a:pt x="2221" y="934"/>
                  </a:cubicBezTo>
                  <a:cubicBezTo>
                    <a:pt x="2224" y="934"/>
                    <a:pt x="2227" y="934"/>
                    <a:pt x="2229" y="934"/>
                  </a:cubicBezTo>
                  <a:cubicBezTo>
                    <a:pt x="2230" y="930"/>
                    <a:pt x="2230" y="930"/>
                    <a:pt x="2230" y="930"/>
                  </a:cubicBezTo>
                  <a:cubicBezTo>
                    <a:pt x="2230" y="930"/>
                    <a:pt x="2230" y="930"/>
                    <a:pt x="2230" y="930"/>
                  </a:cubicBezTo>
                  <a:moveTo>
                    <a:pt x="2250" y="933"/>
                  </a:moveTo>
                  <a:cubicBezTo>
                    <a:pt x="2246" y="932"/>
                    <a:pt x="2242" y="931"/>
                    <a:pt x="2238" y="931"/>
                  </a:cubicBezTo>
                  <a:cubicBezTo>
                    <a:pt x="2237" y="935"/>
                    <a:pt x="2237" y="935"/>
                    <a:pt x="2237" y="935"/>
                  </a:cubicBezTo>
                  <a:cubicBezTo>
                    <a:pt x="2241" y="935"/>
                    <a:pt x="2245" y="936"/>
                    <a:pt x="2249" y="937"/>
                  </a:cubicBezTo>
                  <a:cubicBezTo>
                    <a:pt x="2250" y="933"/>
                    <a:pt x="2250" y="933"/>
                    <a:pt x="2250" y="933"/>
                  </a:cubicBezTo>
                  <a:moveTo>
                    <a:pt x="2269" y="939"/>
                  </a:moveTo>
                  <a:cubicBezTo>
                    <a:pt x="2265" y="938"/>
                    <a:pt x="2261" y="936"/>
                    <a:pt x="2258" y="935"/>
                  </a:cubicBezTo>
                  <a:cubicBezTo>
                    <a:pt x="2256" y="939"/>
                    <a:pt x="2256" y="939"/>
                    <a:pt x="2256" y="939"/>
                  </a:cubicBezTo>
                  <a:cubicBezTo>
                    <a:pt x="2260" y="940"/>
                    <a:pt x="2264" y="941"/>
                    <a:pt x="2267" y="943"/>
                  </a:cubicBezTo>
                  <a:cubicBezTo>
                    <a:pt x="2269" y="939"/>
                    <a:pt x="2269" y="939"/>
                    <a:pt x="2269" y="939"/>
                  </a:cubicBezTo>
                  <a:cubicBezTo>
                    <a:pt x="2269" y="939"/>
                    <a:pt x="2269" y="939"/>
                    <a:pt x="2269" y="939"/>
                  </a:cubicBezTo>
                  <a:moveTo>
                    <a:pt x="2287" y="948"/>
                  </a:moveTo>
                  <a:cubicBezTo>
                    <a:pt x="2284" y="946"/>
                    <a:pt x="2280" y="944"/>
                    <a:pt x="2276" y="942"/>
                  </a:cubicBezTo>
                  <a:cubicBezTo>
                    <a:pt x="2275" y="946"/>
                    <a:pt x="2275" y="946"/>
                    <a:pt x="2275" y="946"/>
                  </a:cubicBezTo>
                  <a:cubicBezTo>
                    <a:pt x="2278" y="948"/>
                    <a:pt x="2282" y="950"/>
                    <a:pt x="2285" y="952"/>
                  </a:cubicBezTo>
                  <a:cubicBezTo>
                    <a:pt x="2287" y="948"/>
                    <a:pt x="2287" y="948"/>
                    <a:pt x="2287" y="948"/>
                  </a:cubicBezTo>
                  <a:moveTo>
                    <a:pt x="2303" y="961"/>
                  </a:moveTo>
                  <a:cubicBezTo>
                    <a:pt x="2300" y="958"/>
                    <a:pt x="2297" y="955"/>
                    <a:pt x="2294" y="953"/>
                  </a:cubicBezTo>
                  <a:cubicBezTo>
                    <a:pt x="2291" y="956"/>
                    <a:pt x="2291" y="956"/>
                    <a:pt x="2291" y="956"/>
                  </a:cubicBezTo>
                  <a:cubicBezTo>
                    <a:pt x="2295" y="958"/>
                    <a:pt x="2298" y="961"/>
                    <a:pt x="2301" y="964"/>
                  </a:cubicBezTo>
                  <a:cubicBezTo>
                    <a:pt x="2303" y="961"/>
                    <a:pt x="2303" y="961"/>
                    <a:pt x="2303" y="961"/>
                  </a:cubicBezTo>
                  <a:cubicBezTo>
                    <a:pt x="2303" y="961"/>
                    <a:pt x="2303" y="961"/>
                    <a:pt x="2303" y="961"/>
                  </a:cubicBezTo>
                  <a:moveTo>
                    <a:pt x="2317" y="975"/>
                  </a:moveTo>
                  <a:cubicBezTo>
                    <a:pt x="2315" y="972"/>
                    <a:pt x="2312" y="969"/>
                    <a:pt x="2309" y="966"/>
                  </a:cubicBezTo>
                  <a:cubicBezTo>
                    <a:pt x="2306" y="969"/>
                    <a:pt x="2306" y="969"/>
                    <a:pt x="2306" y="969"/>
                  </a:cubicBezTo>
                  <a:cubicBezTo>
                    <a:pt x="2309" y="972"/>
                    <a:pt x="2312" y="975"/>
                    <a:pt x="2314" y="978"/>
                  </a:cubicBezTo>
                  <a:cubicBezTo>
                    <a:pt x="2317" y="975"/>
                    <a:pt x="2317" y="975"/>
                    <a:pt x="2317" y="975"/>
                  </a:cubicBezTo>
                  <a:cubicBezTo>
                    <a:pt x="2317" y="975"/>
                    <a:pt x="2317" y="975"/>
                    <a:pt x="2317" y="975"/>
                  </a:cubicBezTo>
                  <a:moveTo>
                    <a:pt x="2329" y="992"/>
                  </a:moveTo>
                  <a:cubicBezTo>
                    <a:pt x="2327" y="988"/>
                    <a:pt x="2325" y="985"/>
                    <a:pt x="2322" y="982"/>
                  </a:cubicBezTo>
                  <a:cubicBezTo>
                    <a:pt x="2319" y="984"/>
                    <a:pt x="2319" y="984"/>
                    <a:pt x="2319" y="984"/>
                  </a:cubicBezTo>
                  <a:cubicBezTo>
                    <a:pt x="2321" y="987"/>
                    <a:pt x="2324" y="990"/>
                    <a:pt x="2325" y="994"/>
                  </a:cubicBezTo>
                  <a:cubicBezTo>
                    <a:pt x="2329" y="992"/>
                    <a:pt x="2329" y="992"/>
                    <a:pt x="2329" y="992"/>
                  </a:cubicBezTo>
                  <a:moveTo>
                    <a:pt x="2338" y="1010"/>
                  </a:moveTo>
                  <a:cubicBezTo>
                    <a:pt x="2336" y="1006"/>
                    <a:pt x="2335" y="1003"/>
                    <a:pt x="2333" y="999"/>
                  </a:cubicBezTo>
                  <a:cubicBezTo>
                    <a:pt x="2329" y="1001"/>
                    <a:pt x="2329" y="1001"/>
                    <a:pt x="2329" y="1001"/>
                  </a:cubicBezTo>
                  <a:cubicBezTo>
                    <a:pt x="2331" y="1004"/>
                    <a:pt x="2332" y="1008"/>
                    <a:pt x="2334" y="1012"/>
                  </a:cubicBezTo>
                  <a:cubicBezTo>
                    <a:pt x="2338" y="1010"/>
                    <a:pt x="2338" y="1010"/>
                    <a:pt x="2338" y="1010"/>
                  </a:cubicBezTo>
                  <a:moveTo>
                    <a:pt x="2343" y="1030"/>
                  </a:moveTo>
                  <a:cubicBezTo>
                    <a:pt x="2342" y="1026"/>
                    <a:pt x="2341" y="1022"/>
                    <a:pt x="2340" y="1018"/>
                  </a:cubicBezTo>
                  <a:cubicBezTo>
                    <a:pt x="2336" y="1019"/>
                    <a:pt x="2336" y="1019"/>
                    <a:pt x="2336" y="1019"/>
                  </a:cubicBezTo>
                  <a:cubicBezTo>
                    <a:pt x="2338" y="1023"/>
                    <a:pt x="2338" y="1027"/>
                    <a:pt x="2339" y="1031"/>
                  </a:cubicBezTo>
                  <a:cubicBezTo>
                    <a:pt x="2343" y="1030"/>
                    <a:pt x="2343" y="1030"/>
                    <a:pt x="2343" y="1030"/>
                  </a:cubicBezTo>
                  <a:cubicBezTo>
                    <a:pt x="2343" y="1030"/>
                    <a:pt x="2343" y="1030"/>
                    <a:pt x="2343" y="1030"/>
                  </a:cubicBezTo>
                  <a:moveTo>
                    <a:pt x="2345" y="1050"/>
                  </a:moveTo>
                  <a:cubicBezTo>
                    <a:pt x="2345" y="1046"/>
                    <a:pt x="2345" y="1042"/>
                    <a:pt x="2344" y="1038"/>
                  </a:cubicBezTo>
                  <a:cubicBezTo>
                    <a:pt x="2340" y="1038"/>
                    <a:pt x="2340" y="1038"/>
                    <a:pt x="2340" y="1038"/>
                  </a:cubicBezTo>
                  <a:cubicBezTo>
                    <a:pt x="2341" y="1042"/>
                    <a:pt x="2341" y="1046"/>
                    <a:pt x="2341" y="1050"/>
                  </a:cubicBezTo>
                  <a:cubicBezTo>
                    <a:pt x="2345" y="1050"/>
                    <a:pt x="2345" y="1050"/>
                    <a:pt x="2345" y="1050"/>
                  </a:cubicBezTo>
                  <a:moveTo>
                    <a:pt x="2344" y="1070"/>
                  </a:moveTo>
                  <a:cubicBezTo>
                    <a:pt x="2345" y="1066"/>
                    <a:pt x="2345" y="1062"/>
                    <a:pt x="2345" y="1058"/>
                  </a:cubicBezTo>
                  <a:cubicBezTo>
                    <a:pt x="2341" y="1058"/>
                    <a:pt x="2341" y="1058"/>
                    <a:pt x="2341" y="1058"/>
                  </a:cubicBezTo>
                  <a:cubicBezTo>
                    <a:pt x="2341" y="1062"/>
                    <a:pt x="2341" y="1066"/>
                    <a:pt x="2340" y="1070"/>
                  </a:cubicBezTo>
                  <a:cubicBezTo>
                    <a:pt x="2344" y="1070"/>
                    <a:pt x="2344" y="1070"/>
                    <a:pt x="2344" y="1070"/>
                  </a:cubicBezTo>
                  <a:moveTo>
                    <a:pt x="2340" y="1090"/>
                  </a:moveTo>
                  <a:cubicBezTo>
                    <a:pt x="2341" y="1086"/>
                    <a:pt x="2342" y="1082"/>
                    <a:pt x="2343" y="1078"/>
                  </a:cubicBezTo>
                  <a:cubicBezTo>
                    <a:pt x="2339" y="1077"/>
                    <a:pt x="2339" y="1077"/>
                    <a:pt x="2339" y="1077"/>
                  </a:cubicBezTo>
                  <a:cubicBezTo>
                    <a:pt x="2338" y="1081"/>
                    <a:pt x="2337" y="1085"/>
                    <a:pt x="2336" y="1089"/>
                  </a:cubicBezTo>
                  <a:cubicBezTo>
                    <a:pt x="2340" y="1090"/>
                    <a:pt x="2340" y="1090"/>
                    <a:pt x="2340" y="1090"/>
                  </a:cubicBezTo>
                  <a:moveTo>
                    <a:pt x="2333" y="1109"/>
                  </a:moveTo>
                  <a:cubicBezTo>
                    <a:pt x="2334" y="1105"/>
                    <a:pt x="2336" y="1102"/>
                    <a:pt x="2337" y="1098"/>
                  </a:cubicBezTo>
                  <a:cubicBezTo>
                    <a:pt x="2334" y="1096"/>
                    <a:pt x="2334" y="1096"/>
                    <a:pt x="2334" y="1096"/>
                  </a:cubicBezTo>
                  <a:cubicBezTo>
                    <a:pt x="2332" y="1100"/>
                    <a:pt x="2331" y="1104"/>
                    <a:pt x="2329" y="1107"/>
                  </a:cubicBezTo>
                  <a:cubicBezTo>
                    <a:pt x="2333" y="1109"/>
                    <a:pt x="2333" y="1109"/>
                    <a:pt x="2333" y="1109"/>
                  </a:cubicBezTo>
                  <a:cubicBezTo>
                    <a:pt x="2333" y="1109"/>
                    <a:pt x="2333" y="1109"/>
                    <a:pt x="2333" y="1109"/>
                  </a:cubicBezTo>
                  <a:moveTo>
                    <a:pt x="2322" y="1126"/>
                  </a:moveTo>
                  <a:cubicBezTo>
                    <a:pt x="2324" y="1123"/>
                    <a:pt x="2327" y="1120"/>
                    <a:pt x="2329" y="1116"/>
                  </a:cubicBezTo>
                  <a:cubicBezTo>
                    <a:pt x="2325" y="1114"/>
                    <a:pt x="2325" y="1114"/>
                    <a:pt x="2325" y="1114"/>
                  </a:cubicBezTo>
                  <a:cubicBezTo>
                    <a:pt x="2323" y="1117"/>
                    <a:pt x="2321" y="1121"/>
                    <a:pt x="2319" y="1124"/>
                  </a:cubicBezTo>
                  <a:cubicBezTo>
                    <a:pt x="2322" y="1126"/>
                    <a:pt x="2322" y="1126"/>
                    <a:pt x="2322" y="1126"/>
                  </a:cubicBezTo>
                  <a:moveTo>
                    <a:pt x="2309" y="1142"/>
                  </a:moveTo>
                  <a:cubicBezTo>
                    <a:pt x="2312" y="1139"/>
                    <a:pt x="2315" y="1136"/>
                    <a:pt x="2317" y="1133"/>
                  </a:cubicBezTo>
                  <a:cubicBezTo>
                    <a:pt x="2314" y="1130"/>
                    <a:pt x="2314" y="1130"/>
                    <a:pt x="2314" y="1130"/>
                  </a:cubicBezTo>
                  <a:cubicBezTo>
                    <a:pt x="2312" y="1133"/>
                    <a:pt x="2309" y="1136"/>
                    <a:pt x="2306" y="1139"/>
                  </a:cubicBezTo>
                  <a:cubicBezTo>
                    <a:pt x="2309" y="1142"/>
                    <a:pt x="2309" y="1142"/>
                    <a:pt x="2309" y="1142"/>
                  </a:cubicBezTo>
                  <a:moveTo>
                    <a:pt x="2293" y="1155"/>
                  </a:moveTo>
                  <a:cubicBezTo>
                    <a:pt x="2297" y="1152"/>
                    <a:pt x="2300" y="1150"/>
                    <a:pt x="2303" y="1147"/>
                  </a:cubicBezTo>
                  <a:cubicBezTo>
                    <a:pt x="2300" y="1144"/>
                    <a:pt x="2300" y="1144"/>
                    <a:pt x="2300" y="1144"/>
                  </a:cubicBezTo>
                  <a:cubicBezTo>
                    <a:pt x="2297" y="1147"/>
                    <a:pt x="2294" y="1149"/>
                    <a:pt x="2291" y="1152"/>
                  </a:cubicBezTo>
                  <a:cubicBezTo>
                    <a:pt x="2293" y="1155"/>
                    <a:pt x="2293" y="1155"/>
                    <a:pt x="2293" y="1155"/>
                  </a:cubicBezTo>
                  <a:moveTo>
                    <a:pt x="2276" y="1165"/>
                  </a:moveTo>
                  <a:cubicBezTo>
                    <a:pt x="2280" y="1163"/>
                    <a:pt x="2283" y="1161"/>
                    <a:pt x="2287" y="1159"/>
                  </a:cubicBezTo>
                  <a:cubicBezTo>
                    <a:pt x="2285" y="1156"/>
                    <a:pt x="2285" y="1156"/>
                    <a:pt x="2285" y="1156"/>
                  </a:cubicBezTo>
                  <a:cubicBezTo>
                    <a:pt x="2281" y="1158"/>
                    <a:pt x="2278" y="1160"/>
                    <a:pt x="2274" y="1162"/>
                  </a:cubicBezTo>
                  <a:cubicBezTo>
                    <a:pt x="2276" y="1165"/>
                    <a:pt x="2276" y="1165"/>
                    <a:pt x="2276" y="1165"/>
                  </a:cubicBezTo>
                  <a:moveTo>
                    <a:pt x="2257" y="1173"/>
                  </a:moveTo>
                  <a:cubicBezTo>
                    <a:pt x="2261" y="1171"/>
                    <a:pt x="2265" y="1170"/>
                    <a:pt x="2269" y="1169"/>
                  </a:cubicBezTo>
                  <a:cubicBezTo>
                    <a:pt x="2267" y="1165"/>
                    <a:pt x="2267" y="1165"/>
                    <a:pt x="2267" y="1165"/>
                  </a:cubicBezTo>
                  <a:cubicBezTo>
                    <a:pt x="2263" y="1166"/>
                    <a:pt x="2260" y="1168"/>
                    <a:pt x="2256" y="1169"/>
                  </a:cubicBezTo>
                  <a:cubicBezTo>
                    <a:pt x="2257" y="1173"/>
                    <a:pt x="2257" y="1173"/>
                    <a:pt x="2257" y="1173"/>
                  </a:cubicBezTo>
                  <a:moveTo>
                    <a:pt x="2237" y="1177"/>
                  </a:moveTo>
                  <a:cubicBezTo>
                    <a:pt x="2241" y="1176"/>
                    <a:pt x="2245" y="1176"/>
                    <a:pt x="2249" y="1175"/>
                  </a:cubicBezTo>
                  <a:cubicBezTo>
                    <a:pt x="2248" y="1171"/>
                    <a:pt x="2248" y="1171"/>
                    <a:pt x="2248" y="1171"/>
                  </a:cubicBezTo>
                  <a:cubicBezTo>
                    <a:pt x="2245" y="1172"/>
                    <a:pt x="2241" y="1172"/>
                    <a:pt x="2237" y="1173"/>
                  </a:cubicBezTo>
                  <a:cubicBezTo>
                    <a:pt x="2237" y="1177"/>
                    <a:pt x="2237" y="1177"/>
                    <a:pt x="2237" y="1177"/>
                  </a:cubicBezTo>
                  <a:moveTo>
                    <a:pt x="2217" y="1178"/>
                  </a:moveTo>
                  <a:cubicBezTo>
                    <a:pt x="2221" y="1178"/>
                    <a:pt x="2221" y="1178"/>
                    <a:pt x="2221" y="1178"/>
                  </a:cubicBezTo>
                  <a:cubicBezTo>
                    <a:pt x="2224" y="1178"/>
                    <a:pt x="2227" y="1178"/>
                    <a:pt x="2229" y="1178"/>
                  </a:cubicBezTo>
                  <a:cubicBezTo>
                    <a:pt x="2229" y="1174"/>
                    <a:pt x="2229" y="1174"/>
                    <a:pt x="2229" y="1174"/>
                  </a:cubicBezTo>
                  <a:cubicBezTo>
                    <a:pt x="2226" y="1174"/>
                    <a:pt x="2224" y="1174"/>
                    <a:pt x="2221" y="1174"/>
                  </a:cubicBezTo>
                  <a:cubicBezTo>
                    <a:pt x="2217" y="1174"/>
                    <a:pt x="2217" y="1174"/>
                    <a:pt x="2217" y="1174"/>
                  </a:cubicBezTo>
                  <a:cubicBezTo>
                    <a:pt x="2217" y="1178"/>
                    <a:pt x="2217" y="1178"/>
                    <a:pt x="2217" y="1178"/>
                  </a:cubicBezTo>
                  <a:moveTo>
                    <a:pt x="2197" y="1178"/>
                  </a:moveTo>
                  <a:cubicBezTo>
                    <a:pt x="2209" y="1178"/>
                    <a:pt x="2209" y="1178"/>
                    <a:pt x="2209" y="1178"/>
                  </a:cubicBezTo>
                  <a:cubicBezTo>
                    <a:pt x="2209" y="1174"/>
                    <a:pt x="2209" y="1174"/>
                    <a:pt x="2209" y="1174"/>
                  </a:cubicBezTo>
                  <a:cubicBezTo>
                    <a:pt x="2197" y="1174"/>
                    <a:pt x="2197" y="1174"/>
                    <a:pt x="2197" y="1174"/>
                  </a:cubicBezTo>
                  <a:cubicBezTo>
                    <a:pt x="2197" y="1178"/>
                    <a:pt x="2197" y="1178"/>
                    <a:pt x="2197" y="1178"/>
                  </a:cubicBezTo>
                  <a:moveTo>
                    <a:pt x="2177" y="1178"/>
                  </a:moveTo>
                  <a:cubicBezTo>
                    <a:pt x="2189" y="1178"/>
                    <a:pt x="2189" y="1178"/>
                    <a:pt x="2189" y="1178"/>
                  </a:cubicBezTo>
                  <a:cubicBezTo>
                    <a:pt x="2189" y="1174"/>
                    <a:pt x="2189" y="1174"/>
                    <a:pt x="2189" y="1174"/>
                  </a:cubicBezTo>
                  <a:cubicBezTo>
                    <a:pt x="2177" y="1174"/>
                    <a:pt x="2177" y="1174"/>
                    <a:pt x="2177" y="1174"/>
                  </a:cubicBezTo>
                  <a:cubicBezTo>
                    <a:pt x="2177" y="1178"/>
                    <a:pt x="2177" y="1178"/>
                    <a:pt x="2177" y="1178"/>
                  </a:cubicBezTo>
                  <a:moveTo>
                    <a:pt x="2157" y="1178"/>
                  </a:moveTo>
                  <a:cubicBezTo>
                    <a:pt x="2169" y="1178"/>
                    <a:pt x="2169" y="1178"/>
                    <a:pt x="2169" y="1178"/>
                  </a:cubicBezTo>
                  <a:cubicBezTo>
                    <a:pt x="2169" y="1174"/>
                    <a:pt x="2169" y="1174"/>
                    <a:pt x="2169" y="1174"/>
                  </a:cubicBezTo>
                  <a:cubicBezTo>
                    <a:pt x="2157" y="1174"/>
                    <a:pt x="2157" y="1174"/>
                    <a:pt x="2157" y="1174"/>
                  </a:cubicBezTo>
                  <a:cubicBezTo>
                    <a:pt x="2157" y="1178"/>
                    <a:pt x="2157" y="1178"/>
                    <a:pt x="2157" y="1178"/>
                  </a:cubicBezTo>
                  <a:moveTo>
                    <a:pt x="2137" y="1178"/>
                  </a:moveTo>
                  <a:cubicBezTo>
                    <a:pt x="2149" y="1178"/>
                    <a:pt x="2149" y="1178"/>
                    <a:pt x="2149" y="1178"/>
                  </a:cubicBezTo>
                  <a:cubicBezTo>
                    <a:pt x="2149" y="1174"/>
                    <a:pt x="2149" y="1174"/>
                    <a:pt x="2149" y="1174"/>
                  </a:cubicBezTo>
                  <a:cubicBezTo>
                    <a:pt x="2137" y="1174"/>
                    <a:pt x="2137" y="1174"/>
                    <a:pt x="2137" y="1174"/>
                  </a:cubicBezTo>
                  <a:cubicBezTo>
                    <a:pt x="2137" y="1178"/>
                    <a:pt x="2137" y="1178"/>
                    <a:pt x="2137" y="1178"/>
                  </a:cubicBezTo>
                  <a:moveTo>
                    <a:pt x="2117" y="1178"/>
                  </a:moveTo>
                  <a:cubicBezTo>
                    <a:pt x="2129" y="1178"/>
                    <a:pt x="2129" y="1178"/>
                    <a:pt x="2129" y="1178"/>
                  </a:cubicBezTo>
                  <a:cubicBezTo>
                    <a:pt x="2129" y="1174"/>
                    <a:pt x="2129" y="1174"/>
                    <a:pt x="2129" y="1174"/>
                  </a:cubicBezTo>
                  <a:cubicBezTo>
                    <a:pt x="2117" y="1174"/>
                    <a:pt x="2117" y="1174"/>
                    <a:pt x="2117" y="1174"/>
                  </a:cubicBezTo>
                  <a:cubicBezTo>
                    <a:pt x="2117" y="1178"/>
                    <a:pt x="2117" y="1178"/>
                    <a:pt x="2117" y="1178"/>
                  </a:cubicBezTo>
                  <a:moveTo>
                    <a:pt x="2097" y="1178"/>
                  </a:moveTo>
                  <a:cubicBezTo>
                    <a:pt x="2109" y="1178"/>
                    <a:pt x="2109" y="1178"/>
                    <a:pt x="2109" y="1178"/>
                  </a:cubicBezTo>
                  <a:cubicBezTo>
                    <a:pt x="2109" y="1174"/>
                    <a:pt x="2109" y="1174"/>
                    <a:pt x="2109" y="1174"/>
                  </a:cubicBezTo>
                  <a:cubicBezTo>
                    <a:pt x="2097" y="1174"/>
                    <a:pt x="2097" y="1174"/>
                    <a:pt x="2097" y="1174"/>
                  </a:cubicBezTo>
                  <a:cubicBezTo>
                    <a:pt x="2097" y="1178"/>
                    <a:pt x="2097" y="1178"/>
                    <a:pt x="2097" y="1178"/>
                  </a:cubicBezTo>
                  <a:moveTo>
                    <a:pt x="2077" y="1178"/>
                  </a:moveTo>
                  <a:cubicBezTo>
                    <a:pt x="2089" y="1178"/>
                    <a:pt x="2089" y="1178"/>
                    <a:pt x="2089" y="1178"/>
                  </a:cubicBezTo>
                  <a:cubicBezTo>
                    <a:pt x="2089" y="1174"/>
                    <a:pt x="2089" y="1174"/>
                    <a:pt x="2089" y="1174"/>
                  </a:cubicBezTo>
                  <a:cubicBezTo>
                    <a:pt x="2077" y="1174"/>
                    <a:pt x="2077" y="1174"/>
                    <a:pt x="2077" y="1174"/>
                  </a:cubicBezTo>
                  <a:cubicBezTo>
                    <a:pt x="2077" y="1178"/>
                    <a:pt x="2077" y="1178"/>
                    <a:pt x="2077" y="1178"/>
                  </a:cubicBezTo>
                  <a:moveTo>
                    <a:pt x="2057" y="1178"/>
                  </a:moveTo>
                  <a:cubicBezTo>
                    <a:pt x="2069" y="1178"/>
                    <a:pt x="2069" y="1178"/>
                    <a:pt x="2069" y="1178"/>
                  </a:cubicBezTo>
                  <a:cubicBezTo>
                    <a:pt x="2069" y="1174"/>
                    <a:pt x="2069" y="1174"/>
                    <a:pt x="2069" y="1174"/>
                  </a:cubicBezTo>
                  <a:cubicBezTo>
                    <a:pt x="2057" y="1174"/>
                    <a:pt x="2057" y="1174"/>
                    <a:pt x="2057" y="1174"/>
                  </a:cubicBezTo>
                  <a:cubicBezTo>
                    <a:pt x="2057" y="1178"/>
                    <a:pt x="2057" y="1178"/>
                    <a:pt x="2057" y="1178"/>
                  </a:cubicBezTo>
                  <a:moveTo>
                    <a:pt x="2037" y="1178"/>
                  </a:moveTo>
                  <a:cubicBezTo>
                    <a:pt x="2049" y="1178"/>
                    <a:pt x="2049" y="1178"/>
                    <a:pt x="2049" y="1178"/>
                  </a:cubicBezTo>
                  <a:cubicBezTo>
                    <a:pt x="2049" y="1174"/>
                    <a:pt x="2049" y="1174"/>
                    <a:pt x="2049" y="1174"/>
                  </a:cubicBezTo>
                  <a:cubicBezTo>
                    <a:pt x="2037" y="1174"/>
                    <a:pt x="2037" y="1174"/>
                    <a:pt x="2037" y="1174"/>
                  </a:cubicBezTo>
                  <a:cubicBezTo>
                    <a:pt x="2037" y="1178"/>
                    <a:pt x="2037" y="1178"/>
                    <a:pt x="2037" y="1178"/>
                  </a:cubicBezTo>
                  <a:moveTo>
                    <a:pt x="2017" y="1178"/>
                  </a:moveTo>
                  <a:cubicBezTo>
                    <a:pt x="2029" y="1178"/>
                    <a:pt x="2029" y="1178"/>
                    <a:pt x="2029" y="1178"/>
                  </a:cubicBezTo>
                  <a:cubicBezTo>
                    <a:pt x="2029" y="1174"/>
                    <a:pt x="2029" y="1174"/>
                    <a:pt x="2029" y="1174"/>
                  </a:cubicBezTo>
                  <a:cubicBezTo>
                    <a:pt x="2017" y="1174"/>
                    <a:pt x="2017" y="1174"/>
                    <a:pt x="2017" y="1174"/>
                  </a:cubicBezTo>
                  <a:cubicBezTo>
                    <a:pt x="2017" y="1178"/>
                    <a:pt x="2017" y="1178"/>
                    <a:pt x="2017" y="1178"/>
                  </a:cubicBezTo>
                  <a:moveTo>
                    <a:pt x="1997" y="1178"/>
                  </a:moveTo>
                  <a:cubicBezTo>
                    <a:pt x="2009" y="1178"/>
                    <a:pt x="2009" y="1178"/>
                    <a:pt x="2009" y="1178"/>
                  </a:cubicBezTo>
                  <a:cubicBezTo>
                    <a:pt x="2009" y="1174"/>
                    <a:pt x="2009" y="1174"/>
                    <a:pt x="2009" y="1174"/>
                  </a:cubicBezTo>
                  <a:cubicBezTo>
                    <a:pt x="1997" y="1174"/>
                    <a:pt x="1997" y="1174"/>
                    <a:pt x="1997" y="1174"/>
                  </a:cubicBezTo>
                  <a:cubicBezTo>
                    <a:pt x="1997" y="1178"/>
                    <a:pt x="1997" y="1178"/>
                    <a:pt x="1997" y="1178"/>
                  </a:cubicBezTo>
                  <a:moveTo>
                    <a:pt x="1977" y="1178"/>
                  </a:moveTo>
                  <a:cubicBezTo>
                    <a:pt x="1989" y="1178"/>
                    <a:pt x="1989" y="1178"/>
                    <a:pt x="1989" y="1178"/>
                  </a:cubicBezTo>
                  <a:cubicBezTo>
                    <a:pt x="1989" y="1174"/>
                    <a:pt x="1989" y="1174"/>
                    <a:pt x="1989" y="1174"/>
                  </a:cubicBezTo>
                  <a:cubicBezTo>
                    <a:pt x="1977" y="1174"/>
                    <a:pt x="1977" y="1174"/>
                    <a:pt x="1977" y="1174"/>
                  </a:cubicBezTo>
                  <a:cubicBezTo>
                    <a:pt x="1977" y="1178"/>
                    <a:pt x="1977" y="1178"/>
                    <a:pt x="1977" y="1178"/>
                  </a:cubicBezTo>
                  <a:moveTo>
                    <a:pt x="1957" y="1178"/>
                  </a:moveTo>
                  <a:cubicBezTo>
                    <a:pt x="1969" y="1178"/>
                    <a:pt x="1969" y="1178"/>
                    <a:pt x="1969" y="1178"/>
                  </a:cubicBezTo>
                  <a:cubicBezTo>
                    <a:pt x="1969" y="1174"/>
                    <a:pt x="1969" y="1174"/>
                    <a:pt x="1969" y="1174"/>
                  </a:cubicBezTo>
                  <a:cubicBezTo>
                    <a:pt x="1957" y="1174"/>
                    <a:pt x="1957" y="1174"/>
                    <a:pt x="1957" y="1174"/>
                  </a:cubicBezTo>
                  <a:cubicBezTo>
                    <a:pt x="1957" y="1178"/>
                    <a:pt x="1957" y="1178"/>
                    <a:pt x="1957" y="1178"/>
                  </a:cubicBezTo>
                  <a:moveTo>
                    <a:pt x="1937" y="1178"/>
                  </a:moveTo>
                  <a:cubicBezTo>
                    <a:pt x="1949" y="1178"/>
                    <a:pt x="1949" y="1178"/>
                    <a:pt x="1949" y="1178"/>
                  </a:cubicBezTo>
                  <a:cubicBezTo>
                    <a:pt x="1949" y="1174"/>
                    <a:pt x="1949" y="1174"/>
                    <a:pt x="1949" y="1174"/>
                  </a:cubicBezTo>
                  <a:cubicBezTo>
                    <a:pt x="1937" y="1174"/>
                    <a:pt x="1937" y="1174"/>
                    <a:pt x="1937" y="1174"/>
                  </a:cubicBezTo>
                  <a:cubicBezTo>
                    <a:pt x="1937" y="1178"/>
                    <a:pt x="1937" y="1178"/>
                    <a:pt x="1937" y="1178"/>
                  </a:cubicBezTo>
                  <a:moveTo>
                    <a:pt x="1917" y="1178"/>
                  </a:moveTo>
                  <a:cubicBezTo>
                    <a:pt x="1929" y="1178"/>
                    <a:pt x="1929" y="1178"/>
                    <a:pt x="1929" y="1178"/>
                  </a:cubicBezTo>
                  <a:cubicBezTo>
                    <a:pt x="1929" y="1174"/>
                    <a:pt x="1929" y="1174"/>
                    <a:pt x="1929" y="1174"/>
                  </a:cubicBezTo>
                  <a:cubicBezTo>
                    <a:pt x="1917" y="1174"/>
                    <a:pt x="1917" y="1174"/>
                    <a:pt x="1917" y="1174"/>
                  </a:cubicBezTo>
                  <a:cubicBezTo>
                    <a:pt x="1917" y="1178"/>
                    <a:pt x="1917" y="1178"/>
                    <a:pt x="1917" y="1178"/>
                  </a:cubicBezTo>
                  <a:moveTo>
                    <a:pt x="1897" y="1178"/>
                  </a:moveTo>
                  <a:cubicBezTo>
                    <a:pt x="1909" y="1178"/>
                    <a:pt x="1909" y="1178"/>
                    <a:pt x="1909" y="1178"/>
                  </a:cubicBezTo>
                  <a:cubicBezTo>
                    <a:pt x="1909" y="1174"/>
                    <a:pt x="1909" y="1174"/>
                    <a:pt x="1909" y="1174"/>
                  </a:cubicBezTo>
                  <a:cubicBezTo>
                    <a:pt x="1897" y="1174"/>
                    <a:pt x="1897" y="1174"/>
                    <a:pt x="1897" y="1174"/>
                  </a:cubicBezTo>
                  <a:cubicBezTo>
                    <a:pt x="1897" y="1178"/>
                    <a:pt x="1897" y="1178"/>
                    <a:pt x="1897" y="1178"/>
                  </a:cubicBezTo>
                  <a:moveTo>
                    <a:pt x="1877" y="1178"/>
                  </a:moveTo>
                  <a:cubicBezTo>
                    <a:pt x="1889" y="1178"/>
                    <a:pt x="1889" y="1178"/>
                    <a:pt x="1889" y="1178"/>
                  </a:cubicBezTo>
                  <a:cubicBezTo>
                    <a:pt x="1889" y="1174"/>
                    <a:pt x="1889" y="1174"/>
                    <a:pt x="1889" y="1174"/>
                  </a:cubicBezTo>
                  <a:cubicBezTo>
                    <a:pt x="1877" y="1174"/>
                    <a:pt x="1877" y="1174"/>
                    <a:pt x="1877" y="1174"/>
                  </a:cubicBezTo>
                  <a:cubicBezTo>
                    <a:pt x="1877" y="1178"/>
                    <a:pt x="1877" y="1178"/>
                    <a:pt x="1877" y="1178"/>
                  </a:cubicBezTo>
                  <a:moveTo>
                    <a:pt x="1857" y="1178"/>
                  </a:moveTo>
                  <a:cubicBezTo>
                    <a:pt x="1869" y="1178"/>
                    <a:pt x="1869" y="1178"/>
                    <a:pt x="1869" y="1178"/>
                  </a:cubicBezTo>
                  <a:cubicBezTo>
                    <a:pt x="1869" y="1174"/>
                    <a:pt x="1869" y="1174"/>
                    <a:pt x="1869" y="1174"/>
                  </a:cubicBezTo>
                  <a:cubicBezTo>
                    <a:pt x="1857" y="1174"/>
                    <a:pt x="1857" y="1174"/>
                    <a:pt x="1857" y="1174"/>
                  </a:cubicBezTo>
                  <a:cubicBezTo>
                    <a:pt x="1857" y="1178"/>
                    <a:pt x="1857" y="1178"/>
                    <a:pt x="1857" y="1178"/>
                  </a:cubicBezTo>
                  <a:moveTo>
                    <a:pt x="1837" y="1178"/>
                  </a:moveTo>
                  <a:cubicBezTo>
                    <a:pt x="1849" y="1178"/>
                    <a:pt x="1849" y="1178"/>
                    <a:pt x="1849" y="1178"/>
                  </a:cubicBezTo>
                  <a:cubicBezTo>
                    <a:pt x="1849" y="1174"/>
                    <a:pt x="1849" y="1174"/>
                    <a:pt x="1849" y="1174"/>
                  </a:cubicBezTo>
                  <a:cubicBezTo>
                    <a:pt x="1837" y="1174"/>
                    <a:pt x="1837" y="1174"/>
                    <a:pt x="1837" y="1174"/>
                  </a:cubicBezTo>
                  <a:cubicBezTo>
                    <a:pt x="1837" y="1178"/>
                    <a:pt x="1837" y="1178"/>
                    <a:pt x="1837" y="1178"/>
                  </a:cubicBezTo>
                  <a:moveTo>
                    <a:pt x="1817" y="1178"/>
                  </a:moveTo>
                  <a:cubicBezTo>
                    <a:pt x="1829" y="1178"/>
                    <a:pt x="1829" y="1178"/>
                    <a:pt x="1829" y="1178"/>
                  </a:cubicBezTo>
                  <a:cubicBezTo>
                    <a:pt x="1829" y="1174"/>
                    <a:pt x="1829" y="1174"/>
                    <a:pt x="1829" y="1174"/>
                  </a:cubicBezTo>
                  <a:cubicBezTo>
                    <a:pt x="1817" y="1174"/>
                    <a:pt x="1817" y="1174"/>
                    <a:pt x="1817" y="1174"/>
                  </a:cubicBezTo>
                  <a:cubicBezTo>
                    <a:pt x="1817" y="1178"/>
                    <a:pt x="1817" y="1178"/>
                    <a:pt x="1817" y="1178"/>
                  </a:cubicBezTo>
                  <a:moveTo>
                    <a:pt x="1797" y="1178"/>
                  </a:moveTo>
                  <a:cubicBezTo>
                    <a:pt x="1809" y="1178"/>
                    <a:pt x="1809" y="1178"/>
                    <a:pt x="1809" y="1178"/>
                  </a:cubicBezTo>
                  <a:cubicBezTo>
                    <a:pt x="1809" y="1174"/>
                    <a:pt x="1809" y="1174"/>
                    <a:pt x="1809" y="1174"/>
                  </a:cubicBezTo>
                  <a:cubicBezTo>
                    <a:pt x="1797" y="1174"/>
                    <a:pt x="1797" y="1174"/>
                    <a:pt x="1797" y="1174"/>
                  </a:cubicBezTo>
                  <a:cubicBezTo>
                    <a:pt x="1797" y="1178"/>
                    <a:pt x="1797" y="1178"/>
                    <a:pt x="1797" y="1178"/>
                  </a:cubicBezTo>
                  <a:moveTo>
                    <a:pt x="1777" y="1178"/>
                  </a:moveTo>
                  <a:cubicBezTo>
                    <a:pt x="1789" y="1178"/>
                    <a:pt x="1789" y="1178"/>
                    <a:pt x="1789" y="1178"/>
                  </a:cubicBezTo>
                  <a:cubicBezTo>
                    <a:pt x="1789" y="1174"/>
                    <a:pt x="1789" y="1174"/>
                    <a:pt x="1789" y="1174"/>
                  </a:cubicBezTo>
                  <a:cubicBezTo>
                    <a:pt x="1777" y="1174"/>
                    <a:pt x="1777" y="1174"/>
                    <a:pt x="1777" y="1174"/>
                  </a:cubicBezTo>
                  <a:cubicBezTo>
                    <a:pt x="1777" y="1178"/>
                    <a:pt x="1777" y="1178"/>
                    <a:pt x="1777" y="1178"/>
                  </a:cubicBezTo>
                  <a:moveTo>
                    <a:pt x="1757" y="1178"/>
                  </a:moveTo>
                  <a:cubicBezTo>
                    <a:pt x="1769" y="1178"/>
                    <a:pt x="1769" y="1178"/>
                    <a:pt x="1769" y="1178"/>
                  </a:cubicBezTo>
                  <a:cubicBezTo>
                    <a:pt x="1769" y="1174"/>
                    <a:pt x="1769" y="1174"/>
                    <a:pt x="1769" y="1174"/>
                  </a:cubicBezTo>
                  <a:cubicBezTo>
                    <a:pt x="1757" y="1174"/>
                    <a:pt x="1757" y="1174"/>
                    <a:pt x="1757" y="1174"/>
                  </a:cubicBezTo>
                  <a:cubicBezTo>
                    <a:pt x="1757" y="1178"/>
                    <a:pt x="1757" y="1178"/>
                    <a:pt x="1757" y="1178"/>
                  </a:cubicBezTo>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5" name="Oval 13"/>
            <p:cNvSpPr>
              <a:spLocks noChangeArrowheads="1"/>
            </p:cNvSpPr>
            <p:nvPr userDrawn="1"/>
          </p:nvSpPr>
          <p:spPr bwMode="auto">
            <a:xfrm>
              <a:off x="1034684" y="3223342"/>
              <a:ext cx="275774" cy="274113"/>
            </a:xfrm>
            <a:prstGeom prst="ellipse">
              <a:avLst/>
            </a:pr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6" name="Freeform 14"/>
            <p:cNvSpPr/>
            <p:nvPr userDrawn="1"/>
          </p:nvSpPr>
          <p:spPr bwMode="auto">
            <a:xfrm>
              <a:off x="1089508" y="3301424"/>
              <a:ext cx="167791" cy="126258"/>
            </a:xfrm>
            <a:custGeom>
              <a:avLst/>
              <a:gdLst>
                <a:gd name="T0" fmla="*/ 0 w 65"/>
                <a:gd name="T1" fmla="*/ 24 h 49"/>
                <a:gd name="T2" fmla="*/ 22 w 65"/>
                <a:gd name="T3" fmla="*/ 48 h 49"/>
                <a:gd name="T4" fmla="*/ 25 w 65"/>
                <a:gd name="T5" fmla="*/ 49 h 49"/>
                <a:gd name="T6" fmla="*/ 28 w 65"/>
                <a:gd name="T7" fmla="*/ 48 h 49"/>
                <a:gd name="T8" fmla="*/ 65 w 65"/>
                <a:gd name="T9" fmla="*/ 5 h 49"/>
                <a:gd name="T10" fmla="*/ 58 w 65"/>
                <a:gd name="T11" fmla="*/ 0 h 49"/>
                <a:gd name="T12" fmla="*/ 25 w 65"/>
                <a:gd name="T13" fmla="*/ 39 h 49"/>
                <a:gd name="T14" fmla="*/ 6 w 65"/>
                <a:gd name="T15" fmla="*/ 18 h 49"/>
                <a:gd name="T16" fmla="*/ 0 w 65"/>
                <a:gd name="T17" fmla="*/ 2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49">
                  <a:moveTo>
                    <a:pt x="0" y="24"/>
                  </a:moveTo>
                  <a:cubicBezTo>
                    <a:pt x="22" y="48"/>
                    <a:pt x="22" y="48"/>
                    <a:pt x="22" y="48"/>
                  </a:cubicBezTo>
                  <a:cubicBezTo>
                    <a:pt x="23" y="49"/>
                    <a:pt x="24" y="49"/>
                    <a:pt x="25" y="49"/>
                  </a:cubicBezTo>
                  <a:cubicBezTo>
                    <a:pt x="26" y="49"/>
                    <a:pt x="27" y="49"/>
                    <a:pt x="28" y="48"/>
                  </a:cubicBezTo>
                  <a:cubicBezTo>
                    <a:pt x="65" y="5"/>
                    <a:pt x="65" y="5"/>
                    <a:pt x="65" y="5"/>
                  </a:cubicBezTo>
                  <a:cubicBezTo>
                    <a:pt x="58" y="0"/>
                    <a:pt x="58" y="0"/>
                    <a:pt x="58" y="0"/>
                  </a:cubicBezTo>
                  <a:cubicBezTo>
                    <a:pt x="25" y="39"/>
                    <a:pt x="25" y="39"/>
                    <a:pt x="25" y="39"/>
                  </a:cubicBezTo>
                  <a:cubicBezTo>
                    <a:pt x="6" y="18"/>
                    <a:pt x="6" y="18"/>
                    <a:pt x="6" y="18"/>
                  </a:cubicBezTo>
                  <a:cubicBezTo>
                    <a:pt x="0" y="24"/>
                    <a:pt x="0" y="24"/>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7" name="Oval 15"/>
            <p:cNvSpPr>
              <a:spLocks noChangeArrowheads="1"/>
            </p:cNvSpPr>
            <p:nvPr userDrawn="1"/>
          </p:nvSpPr>
          <p:spPr bwMode="auto">
            <a:xfrm>
              <a:off x="6360781" y="2575439"/>
              <a:ext cx="274113" cy="274113"/>
            </a:xfrm>
            <a:prstGeom prst="ellipse">
              <a:avLst/>
            </a:pr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8" name="Freeform 16"/>
            <p:cNvSpPr/>
            <p:nvPr userDrawn="1"/>
          </p:nvSpPr>
          <p:spPr bwMode="auto">
            <a:xfrm>
              <a:off x="6435539" y="2641891"/>
              <a:ext cx="124597" cy="139548"/>
            </a:xfrm>
            <a:custGeom>
              <a:avLst/>
              <a:gdLst>
                <a:gd name="T0" fmla="*/ 9 w 75"/>
                <a:gd name="T1" fmla="*/ 84 h 84"/>
                <a:gd name="T2" fmla="*/ 75 w 75"/>
                <a:gd name="T3" fmla="*/ 10 h 84"/>
                <a:gd name="T4" fmla="*/ 66 w 75"/>
                <a:gd name="T5" fmla="*/ 0 h 84"/>
                <a:gd name="T6" fmla="*/ 0 w 75"/>
                <a:gd name="T7" fmla="*/ 77 h 84"/>
                <a:gd name="T8" fmla="*/ 9 w 75"/>
                <a:gd name="T9" fmla="*/ 84 h 84"/>
              </a:gdLst>
              <a:ahLst/>
              <a:cxnLst>
                <a:cxn ang="0">
                  <a:pos x="T0" y="T1"/>
                </a:cxn>
                <a:cxn ang="0">
                  <a:pos x="T2" y="T3"/>
                </a:cxn>
                <a:cxn ang="0">
                  <a:pos x="T4" y="T5"/>
                </a:cxn>
                <a:cxn ang="0">
                  <a:pos x="T6" y="T7"/>
                </a:cxn>
                <a:cxn ang="0">
                  <a:pos x="T8" y="T9"/>
                </a:cxn>
              </a:cxnLst>
              <a:rect l="0" t="0" r="r" b="b"/>
              <a:pathLst>
                <a:path w="75" h="84">
                  <a:moveTo>
                    <a:pt x="9" y="84"/>
                  </a:moveTo>
                  <a:lnTo>
                    <a:pt x="75" y="10"/>
                  </a:lnTo>
                  <a:lnTo>
                    <a:pt x="66" y="0"/>
                  </a:lnTo>
                  <a:lnTo>
                    <a:pt x="0" y="77"/>
                  </a:lnTo>
                  <a:lnTo>
                    <a:pt x="9" y="8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9" name="Freeform 17"/>
            <p:cNvSpPr/>
            <p:nvPr userDrawn="1"/>
          </p:nvSpPr>
          <p:spPr bwMode="auto">
            <a:xfrm>
              <a:off x="6435539" y="2641891"/>
              <a:ext cx="124597" cy="139548"/>
            </a:xfrm>
            <a:custGeom>
              <a:avLst/>
              <a:gdLst>
                <a:gd name="T0" fmla="*/ 9 w 75"/>
                <a:gd name="T1" fmla="*/ 84 h 84"/>
                <a:gd name="T2" fmla="*/ 75 w 75"/>
                <a:gd name="T3" fmla="*/ 10 h 84"/>
                <a:gd name="T4" fmla="*/ 66 w 75"/>
                <a:gd name="T5" fmla="*/ 0 h 84"/>
                <a:gd name="T6" fmla="*/ 0 w 75"/>
                <a:gd name="T7" fmla="*/ 77 h 84"/>
              </a:gdLst>
              <a:ahLst/>
              <a:cxnLst>
                <a:cxn ang="0">
                  <a:pos x="T0" y="T1"/>
                </a:cxn>
                <a:cxn ang="0">
                  <a:pos x="T2" y="T3"/>
                </a:cxn>
                <a:cxn ang="0">
                  <a:pos x="T4" y="T5"/>
                </a:cxn>
                <a:cxn ang="0">
                  <a:pos x="T6" y="T7"/>
                </a:cxn>
              </a:cxnLst>
              <a:rect l="0" t="0" r="r" b="b"/>
              <a:pathLst>
                <a:path w="75" h="84">
                  <a:moveTo>
                    <a:pt x="9" y="84"/>
                  </a:moveTo>
                  <a:lnTo>
                    <a:pt x="75" y="10"/>
                  </a:lnTo>
                  <a:lnTo>
                    <a:pt x="66" y="0"/>
                  </a:lnTo>
                  <a:lnTo>
                    <a:pt x="0" y="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0" name="Freeform 18"/>
            <p:cNvSpPr/>
            <p:nvPr userDrawn="1"/>
          </p:nvSpPr>
          <p:spPr bwMode="auto">
            <a:xfrm>
              <a:off x="6427232" y="2650198"/>
              <a:ext cx="141210" cy="124597"/>
            </a:xfrm>
            <a:custGeom>
              <a:avLst/>
              <a:gdLst>
                <a:gd name="T0" fmla="*/ 0 w 85"/>
                <a:gd name="T1" fmla="*/ 9 h 75"/>
                <a:gd name="T2" fmla="*/ 77 w 85"/>
                <a:gd name="T3" fmla="*/ 75 h 75"/>
                <a:gd name="T4" fmla="*/ 85 w 85"/>
                <a:gd name="T5" fmla="*/ 65 h 75"/>
                <a:gd name="T6" fmla="*/ 8 w 85"/>
                <a:gd name="T7" fmla="*/ 0 h 75"/>
                <a:gd name="T8" fmla="*/ 0 w 85"/>
                <a:gd name="T9" fmla="*/ 9 h 75"/>
              </a:gdLst>
              <a:ahLst/>
              <a:cxnLst>
                <a:cxn ang="0">
                  <a:pos x="T0" y="T1"/>
                </a:cxn>
                <a:cxn ang="0">
                  <a:pos x="T2" y="T3"/>
                </a:cxn>
                <a:cxn ang="0">
                  <a:pos x="T4" y="T5"/>
                </a:cxn>
                <a:cxn ang="0">
                  <a:pos x="T6" y="T7"/>
                </a:cxn>
                <a:cxn ang="0">
                  <a:pos x="T8" y="T9"/>
                </a:cxn>
              </a:cxnLst>
              <a:rect l="0" t="0" r="r" b="b"/>
              <a:pathLst>
                <a:path w="85" h="75">
                  <a:moveTo>
                    <a:pt x="0" y="9"/>
                  </a:moveTo>
                  <a:lnTo>
                    <a:pt x="77" y="75"/>
                  </a:lnTo>
                  <a:lnTo>
                    <a:pt x="85" y="65"/>
                  </a:lnTo>
                  <a:lnTo>
                    <a:pt x="8"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1" name="Freeform 19"/>
            <p:cNvSpPr/>
            <p:nvPr userDrawn="1"/>
          </p:nvSpPr>
          <p:spPr bwMode="auto">
            <a:xfrm>
              <a:off x="6427232" y="2650198"/>
              <a:ext cx="141210" cy="124597"/>
            </a:xfrm>
            <a:custGeom>
              <a:avLst/>
              <a:gdLst>
                <a:gd name="T0" fmla="*/ 0 w 85"/>
                <a:gd name="T1" fmla="*/ 9 h 75"/>
                <a:gd name="T2" fmla="*/ 77 w 85"/>
                <a:gd name="T3" fmla="*/ 75 h 75"/>
                <a:gd name="T4" fmla="*/ 85 w 85"/>
                <a:gd name="T5" fmla="*/ 65 h 75"/>
                <a:gd name="T6" fmla="*/ 8 w 85"/>
                <a:gd name="T7" fmla="*/ 0 h 75"/>
              </a:gdLst>
              <a:ahLst/>
              <a:cxnLst>
                <a:cxn ang="0">
                  <a:pos x="T0" y="T1"/>
                </a:cxn>
                <a:cxn ang="0">
                  <a:pos x="T2" y="T3"/>
                </a:cxn>
                <a:cxn ang="0">
                  <a:pos x="T4" y="T5"/>
                </a:cxn>
                <a:cxn ang="0">
                  <a:pos x="T6" y="T7"/>
                </a:cxn>
              </a:cxnLst>
              <a:rect l="0" t="0" r="r" b="b"/>
              <a:pathLst>
                <a:path w="85" h="75">
                  <a:moveTo>
                    <a:pt x="0" y="9"/>
                  </a:moveTo>
                  <a:lnTo>
                    <a:pt x="77" y="75"/>
                  </a:lnTo>
                  <a:lnTo>
                    <a:pt x="85" y="65"/>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2" name="Freeform 20"/>
            <p:cNvSpPr/>
            <p:nvPr userDrawn="1"/>
          </p:nvSpPr>
          <p:spPr bwMode="auto">
            <a:xfrm>
              <a:off x="6653168" y="2955875"/>
              <a:ext cx="529952" cy="528290"/>
            </a:xfrm>
            <a:custGeom>
              <a:avLst/>
              <a:gdLst>
                <a:gd name="T0" fmla="*/ 184 w 204"/>
                <a:gd name="T1" fmla="*/ 204 h 204"/>
                <a:gd name="T2" fmla="*/ 19 w 204"/>
                <a:gd name="T3" fmla="*/ 204 h 204"/>
                <a:gd name="T4" fmla="*/ 0 w 204"/>
                <a:gd name="T5" fmla="*/ 185 h 204"/>
                <a:gd name="T6" fmla="*/ 0 w 204"/>
                <a:gd name="T7" fmla="*/ 20 h 204"/>
                <a:gd name="T8" fmla="*/ 19 w 204"/>
                <a:gd name="T9" fmla="*/ 0 h 204"/>
                <a:gd name="T10" fmla="*/ 184 w 204"/>
                <a:gd name="T11" fmla="*/ 0 h 204"/>
                <a:gd name="T12" fmla="*/ 204 w 204"/>
                <a:gd name="T13" fmla="*/ 20 h 204"/>
                <a:gd name="T14" fmla="*/ 204 w 204"/>
                <a:gd name="T15" fmla="*/ 185 h 204"/>
                <a:gd name="T16" fmla="*/ 184 w 204"/>
                <a:gd name="T1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204">
                  <a:moveTo>
                    <a:pt x="184" y="204"/>
                  </a:moveTo>
                  <a:cubicBezTo>
                    <a:pt x="19" y="204"/>
                    <a:pt x="19" y="204"/>
                    <a:pt x="19" y="204"/>
                  </a:cubicBezTo>
                  <a:cubicBezTo>
                    <a:pt x="8" y="204"/>
                    <a:pt x="0" y="196"/>
                    <a:pt x="0" y="185"/>
                  </a:cubicBezTo>
                  <a:cubicBezTo>
                    <a:pt x="0" y="20"/>
                    <a:pt x="0" y="20"/>
                    <a:pt x="0" y="20"/>
                  </a:cubicBezTo>
                  <a:cubicBezTo>
                    <a:pt x="0" y="9"/>
                    <a:pt x="8" y="0"/>
                    <a:pt x="19" y="0"/>
                  </a:cubicBezTo>
                  <a:cubicBezTo>
                    <a:pt x="184" y="0"/>
                    <a:pt x="184" y="0"/>
                    <a:pt x="184" y="0"/>
                  </a:cubicBezTo>
                  <a:cubicBezTo>
                    <a:pt x="195" y="0"/>
                    <a:pt x="204" y="9"/>
                    <a:pt x="204" y="20"/>
                  </a:cubicBezTo>
                  <a:cubicBezTo>
                    <a:pt x="204" y="185"/>
                    <a:pt x="204" y="185"/>
                    <a:pt x="204" y="185"/>
                  </a:cubicBezTo>
                  <a:cubicBezTo>
                    <a:pt x="204" y="196"/>
                    <a:pt x="195" y="204"/>
                    <a:pt x="184" y="204"/>
                  </a:cubicBezTo>
                  <a:close/>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3" name="Freeform 21"/>
            <p:cNvSpPr/>
            <p:nvPr userDrawn="1"/>
          </p:nvSpPr>
          <p:spPr bwMode="auto">
            <a:xfrm>
              <a:off x="6741217" y="3108714"/>
              <a:ext cx="257501" cy="245871"/>
            </a:xfrm>
            <a:custGeom>
              <a:avLst/>
              <a:gdLst>
                <a:gd name="T0" fmla="*/ 77 w 155"/>
                <a:gd name="T1" fmla="*/ 0 h 148"/>
                <a:gd name="T2" fmla="*/ 0 w 155"/>
                <a:gd name="T3" fmla="*/ 148 h 148"/>
                <a:gd name="T4" fmla="*/ 155 w 155"/>
                <a:gd name="T5" fmla="*/ 148 h 148"/>
                <a:gd name="T6" fmla="*/ 77 w 155"/>
                <a:gd name="T7" fmla="*/ 0 h 148"/>
              </a:gdLst>
              <a:ahLst/>
              <a:cxnLst>
                <a:cxn ang="0">
                  <a:pos x="T0" y="T1"/>
                </a:cxn>
                <a:cxn ang="0">
                  <a:pos x="T2" y="T3"/>
                </a:cxn>
                <a:cxn ang="0">
                  <a:pos x="T4" y="T5"/>
                </a:cxn>
                <a:cxn ang="0">
                  <a:pos x="T6" y="T7"/>
                </a:cxn>
              </a:cxnLst>
              <a:rect l="0" t="0" r="r" b="b"/>
              <a:pathLst>
                <a:path w="155" h="148">
                  <a:moveTo>
                    <a:pt x="77" y="0"/>
                  </a:moveTo>
                  <a:lnTo>
                    <a:pt x="0" y="148"/>
                  </a:lnTo>
                  <a:lnTo>
                    <a:pt x="155" y="148"/>
                  </a:lnTo>
                  <a:lnTo>
                    <a:pt x="77"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4" name="Freeform 22"/>
            <p:cNvSpPr/>
            <p:nvPr userDrawn="1"/>
          </p:nvSpPr>
          <p:spPr bwMode="auto">
            <a:xfrm>
              <a:off x="6975458" y="3190117"/>
              <a:ext cx="116290" cy="164468"/>
            </a:xfrm>
            <a:custGeom>
              <a:avLst/>
              <a:gdLst>
                <a:gd name="T0" fmla="*/ 19 w 70"/>
                <a:gd name="T1" fmla="*/ 0 h 99"/>
                <a:gd name="T2" fmla="*/ 0 w 70"/>
                <a:gd name="T3" fmla="*/ 35 h 99"/>
                <a:gd name="T4" fmla="*/ 33 w 70"/>
                <a:gd name="T5" fmla="*/ 99 h 99"/>
                <a:gd name="T6" fmla="*/ 70 w 70"/>
                <a:gd name="T7" fmla="*/ 99 h 99"/>
                <a:gd name="T8" fmla="*/ 19 w 70"/>
                <a:gd name="T9" fmla="*/ 0 h 99"/>
              </a:gdLst>
              <a:ahLst/>
              <a:cxnLst>
                <a:cxn ang="0">
                  <a:pos x="T0" y="T1"/>
                </a:cxn>
                <a:cxn ang="0">
                  <a:pos x="T2" y="T3"/>
                </a:cxn>
                <a:cxn ang="0">
                  <a:pos x="T4" y="T5"/>
                </a:cxn>
                <a:cxn ang="0">
                  <a:pos x="T6" y="T7"/>
                </a:cxn>
                <a:cxn ang="0">
                  <a:pos x="T8" y="T9"/>
                </a:cxn>
              </a:cxnLst>
              <a:rect l="0" t="0" r="r" b="b"/>
              <a:pathLst>
                <a:path w="70" h="99">
                  <a:moveTo>
                    <a:pt x="19" y="0"/>
                  </a:moveTo>
                  <a:lnTo>
                    <a:pt x="0" y="35"/>
                  </a:lnTo>
                  <a:lnTo>
                    <a:pt x="33" y="99"/>
                  </a:lnTo>
                  <a:lnTo>
                    <a:pt x="70" y="99"/>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5" name="Oval 23"/>
            <p:cNvSpPr>
              <a:spLocks noChangeArrowheads="1"/>
            </p:cNvSpPr>
            <p:nvPr userDrawn="1"/>
          </p:nvSpPr>
          <p:spPr bwMode="auto">
            <a:xfrm>
              <a:off x="7021974" y="3117020"/>
              <a:ext cx="51501" cy="5482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6" name="Oval 29"/>
            <p:cNvSpPr>
              <a:spLocks noChangeArrowheads="1"/>
            </p:cNvSpPr>
            <p:nvPr userDrawn="1"/>
          </p:nvSpPr>
          <p:spPr bwMode="auto">
            <a:xfrm>
              <a:off x="1283878" y="2238198"/>
              <a:ext cx="103000" cy="101339"/>
            </a:xfrm>
            <a:prstGeom prst="ellipse">
              <a:avLst/>
            </a:prstGeom>
            <a:solidFill>
              <a:srgbClr val="D7F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7" name="Rectangle 34"/>
            <p:cNvSpPr>
              <a:spLocks noChangeArrowheads="1"/>
            </p:cNvSpPr>
            <p:nvPr userDrawn="1"/>
          </p:nvSpPr>
          <p:spPr bwMode="auto">
            <a:xfrm>
              <a:off x="5480297" y="2035520"/>
              <a:ext cx="152839"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48" name="Freeform 35"/>
            <p:cNvSpPr/>
            <p:nvPr userDrawn="1"/>
          </p:nvSpPr>
          <p:spPr bwMode="auto">
            <a:xfrm>
              <a:off x="5480297" y="2035520"/>
              <a:ext cx="152839" cy="9968"/>
            </a:xfrm>
            <a:custGeom>
              <a:avLst/>
              <a:gdLst>
                <a:gd name="T0" fmla="*/ 0 w 92"/>
                <a:gd name="T1" fmla="*/ 6 h 6"/>
                <a:gd name="T2" fmla="*/ 92 w 92"/>
                <a:gd name="T3" fmla="*/ 6 h 6"/>
                <a:gd name="T4" fmla="*/ 92 w 92"/>
                <a:gd name="T5" fmla="*/ 0 h 6"/>
                <a:gd name="T6" fmla="*/ 0 w 92"/>
                <a:gd name="T7" fmla="*/ 0 h 6"/>
              </a:gdLst>
              <a:ahLst/>
              <a:cxnLst>
                <a:cxn ang="0">
                  <a:pos x="T0" y="T1"/>
                </a:cxn>
                <a:cxn ang="0">
                  <a:pos x="T2" y="T3"/>
                </a:cxn>
                <a:cxn ang="0">
                  <a:pos x="T4" y="T5"/>
                </a:cxn>
                <a:cxn ang="0">
                  <a:pos x="T6" y="T7"/>
                </a:cxn>
              </a:cxnLst>
              <a:rect l="0" t="0" r="r" b="b"/>
              <a:pathLst>
                <a:path w="92" h="6">
                  <a:moveTo>
                    <a:pt x="0" y="6"/>
                  </a:moveTo>
                  <a:lnTo>
                    <a:pt x="92" y="6"/>
                  </a:lnTo>
                  <a:lnTo>
                    <a:pt x="9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9" name="Rectangle 36"/>
            <p:cNvSpPr>
              <a:spLocks noChangeArrowheads="1"/>
            </p:cNvSpPr>
            <p:nvPr userDrawn="1"/>
          </p:nvSpPr>
          <p:spPr bwMode="auto">
            <a:xfrm>
              <a:off x="5275959" y="5424552"/>
              <a:ext cx="152839"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50" name="Freeform 37"/>
            <p:cNvSpPr/>
            <p:nvPr userDrawn="1"/>
          </p:nvSpPr>
          <p:spPr bwMode="auto">
            <a:xfrm>
              <a:off x="5275959" y="5424552"/>
              <a:ext cx="152839" cy="9968"/>
            </a:xfrm>
            <a:custGeom>
              <a:avLst/>
              <a:gdLst>
                <a:gd name="T0" fmla="*/ 0 w 92"/>
                <a:gd name="T1" fmla="*/ 6 h 6"/>
                <a:gd name="T2" fmla="*/ 92 w 92"/>
                <a:gd name="T3" fmla="*/ 6 h 6"/>
                <a:gd name="T4" fmla="*/ 92 w 92"/>
                <a:gd name="T5" fmla="*/ 0 h 6"/>
                <a:gd name="T6" fmla="*/ 0 w 92"/>
                <a:gd name="T7" fmla="*/ 0 h 6"/>
              </a:gdLst>
              <a:ahLst/>
              <a:cxnLst>
                <a:cxn ang="0">
                  <a:pos x="T0" y="T1"/>
                </a:cxn>
                <a:cxn ang="0">
                  <a:pos x="T2" y="T3"/>
                </a:cxn>
                <a:cxn ang="0">
                  <a:pos x="T4" y="T5"/>
                </a:cxn>
                <a:cxn ang="0">
                  <a:pos x="T6" y="T7"/>
                </a:cxn>
              </a:cxnLst>
              <a:rect l="0" t="0" r="r" b="b"/>
              <a:pathLst>
                <a:path w="92" h="6">
                  <a:moveTo>
                    <a:pt x="0" y="6"/>
                  </a:moveTo>
                  <a:lnTo>
                    <a:pt x="92" y="6"/>
                  </a:lnTo>
                  <a:lnTo>
                    <a:pt x="9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1" name="Rectangle 38"/>
            <p:cNvSpPr>
              <a:spLocks noChangeArrowheads="1"/>
            </p:cNvSpPr>
            <p:nvPr userDrawn="1"/>
          </p:nvSpPr>
          <p:spPr bwMode="auto">
            <a:xfrm>
              <a:off x="5347394" y="2035520"/>
              <a:ext cx="81404"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52" name="Freeform 39"/>
            <p:cNvSpPr/>
            <p:nvPr userDrawn="1"/>
          </p:nvSpPr>
          <p:spPr bwMode="auto">
            <a:xfrm>
              <a:off x="5347394" y="2035520"/>
              <a:ext cx="81404" cy="9968"/>
            </a:xfrm>
            <a:custGeom>
              <a:avLst/>
              <a:gdLst>
                <a:gd name="T0" fmla="*/ 0 w 49"/>
                <a:gd name="T1" fmla="*/ 6 h 6"/>
                <a:gd name="T2" fmla="*/ 49 w 49"/>
                <a:gd name="T3" fmla="*/ 6 h 6"/>
                <a:gd name="T4" fmla="*/ 49 w 49"/>
                <a:gd name="T5" fmla="*/ 0 h 6"/>
                <a:gd name="T6" fmla="*/ 0 w 49"/>
                <a:gd name="T7" fmla="*/ 0 h 6"/>
              </a:gdLst>
              <a:ahLst/>
              <a:cxnLst>
                <a:cxn ang="0">
                  <a:pos x="T0" y="T1"/>
                </a:cxn>
                <a:cxn ang="0">
                  <a:pos x="T2" y="T3"/>
                </a:cxn>
                <a:cxn ang="0">
                  <a:pos x="T4" y="T5"/>
                </a:cxn>
                <a:cxn ang="0">
                  <a:pos x="T6" y="T7"/>
                </a:cxn>
              </a:cxnLst>
              <a:rect l="0" t="0" r="r" b="b"/>
              <a:pathLst>
                <a:path w="49" h="6">
                  <a:moveTo>
                    <a:pt x="0" y="6"/>
                  </a:moveTo>
                  <a:lnTo>
                    <a:pt x="49" y="6"/>
                  </a:lnTo>
                  <a:lnTo>
                    <a:pt x="4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3" name="Rectangle 40"/>
            <p:cNvSpPr>
              <a:spLocks noChangeArrowheads="1"/>
            </p:cNvSpPr>
            <p:nvPr userDrawn="1"/>
          </p:nvSpPr>
          <p:spPr bwMode="auto">
            <a:xfrm>
              <a:off x="2202572" y="2191682"/>
              <a:ext cx="83065"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54" name="Freeform 41"/>
            <p:cNvSpPr/>
            <p:nvPr userDrawn="1"/>
          </p:nvSpPr>
          <p:spPr bwMode="auto">
            <a:xfrm>
              <a:off x="2202572" y="2191682"/>
              <a:ext cx="83065" cy="9968"/>
            </a:xfrm>
            <a:custGeom>
              <a:avLst/>
              <a:gdLst>
                <a:gd name="T0" fmla="*/ 0 w 50"/>
                <a:gd name="T1" fmla="*/ 6 h 6"/>
                <a:gd name="T2" fmla="*/ 50 w 50"/>
                <a:gd name="T3" fmla="*/ 6 h 6"/>
                <a:gd name="T4" fmla="*/ 50 w 50"/>
                <a:gd name="T5" fmla="*/ 0 h 6"/>
                <a:gd name="T6" fmla="*/ 0 w 50"/>
                <a:gd name="T7" fmla="*/ 0 h 6"/>
              </a:gdLst>
              <a:ahLst/>
              <a:cxnLst>
                <a:cxn ang="0">
                  <a:pos x="T0" y="T1"/>
                </a:cxn>
                <a:cxn ang="0">
                  <a:pos x="T2" y="T3"/>
                </a:cxn>
                <a:cxn ang="0">
                  <a:pos x="T4" y="T5"/>
                </a:cxn>
                <a:cxn ang="0">
                  <a:pos x="T6" y="T7"/>
                </a:cxn>
              </a:cxnLst>
              <a:rect l="0" t="0" r="r" b="b"/>
              <a:pathLst>
                <a:path w="50" h="6">
                  <a:moveTo>
                    <a:pt x="0" y="6"/>
                  </a:moveTo>
                  <a:lnTo>
                    <a:pt x="50" y="6"/>
                  </a:lnTo>
                  <a:lnTo>
                    <a:pt x="5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555" name="组合 554"/>
            <p:cNvGrpSpPr/>
            <p:nvPr userDrawn="1"/>
          </p:nvGrpSpPr>
          <p:grpSpPr>
            <a:xfrm>
              <a:off x="642620" y="2535568"/>
              <a:ext cx="441903" cy="802404"/>
              <a:chOff x="673100" y="2649868"/>
              <a:chExt cx="441903" cy="802404"/>
            </a:xfrm>
          </p:grpSpPr>
          <p:sp>
            <p:nvSpPr>
              <p:cNvPr id="784" name="Freeform 5"/>
              <p:cNvSpPr>
                <a:spLocks noEditPoints="1"/>
              </p:cNvSpPr>
              <p:nvPr userDrawn="1"/>
            </p:nvSpPr>
            <p:spPr bwMode="auto">
              <a:xfrm>
                <a:off x="673100" y="3010369"/>
                <a:ext cx="441903" cy="441903"/>
              </a:xfrm>
              <a:custGeom>
                <a:avLst/>
                <a:gdLst>
                  <a:gd name="T0" fmla="*/ 169 w 170"/>
                  <a:gd name="T1" fmla="*/ 96 h 170"/>
                  <a:gd name="T2" fmla="*/ 169 w 170"/>
                  <a:gd name="T3" fmla="*/ 76 h 170"/>
                  <a:gd name="T4" fmla="*/ 164 w 170"/>
                  <a:gd name="T5" fmla="*/ 57 h 170"/>
                  <a:gd name="T6" fmla="*/ 147 w 170"/>
                  <a:gd name="T7" fmla="*/ 61 h 170"/>
                  <a:gd name="T8" fmla="*/ 138 w 170"/>
                  <a:gd name="T9" fmla="*/ 46 h 170"/>
                  <a:gd name="T10" fmla="*/ 152 w 170"/>
                  <a:gd name="T11" fmla="*/ 33 h 170"/>
                  <a:gd name="T12" fmla="*/ 121 w 170"/>
                  <a:gd name="T13" fmla="*/ 9 h 170"/>
                  <a:gd name="T14" fmla="*/ 112 w 170"/>
                  <a:gd name="T15" fmla="*/ 24 h 170"/>
                  <a:gd name="T16" fmla="*/ 95 w 170"/>
                  <a:gd name="T17" fmla="*/ 19 h 170"/>
                  <a:gd name="T18" fmla="*/ 96 w 170"/>
                  <a:gd name="T19" fmla="*/ 1 h 170"/>
                  <a:gd name="T20" fmla="*/ 76 w 170"/>
                  <a:gd name="T21" fmla="*/ 1 h 170"/>
                  <a:gd name="T22" fmla="*/ 56 w 170"/>
                  <a:gd name="T23" fmla="*/ 5 h 170"/>
                  <a:gd name="T24" fmla="*/ 61 w 170"/>
                  <a:gd name="T25" fmla="*/ 23 h 170"/>
                  <a:gd name="T26" fmla="*/ 45 w 170"/>
                  <a:gd name="T27" fmla="*/ 31 h 170"/>
                  <a:gd name="T28" fmla="*/ 33 w 170"/>
                  <a:gd name="T29" fmla="*/ 18 h 170"/>
                  <a:gd name="T30" fmla="*/ 8 w 170"/>
                  <a:gd name="T31" fmla="*/ 49 h 170"/>
                  <a:gd name="T32" fmla="*/ 24 w 170"/>
                  <a:gd name="T33" fmla="*/ 58 h 170"/>
                  <a:gd name="T34" fmla="*/ 19 w 170"/>
                  <a:gd name="T35" fmla="*/ 75 h 170"/>
                  <a:gd name="T36" fmla="*/ 1 w 170"/>
                  <a:gd name="T37" fmla="*/ 74 h 170"/>
                  <a:gd name="T38" fmla="*/ 0 w 170"/>
                  <a:gd name="T39" fmla="*/ 94 h 170"/>
                  <a:gd name="T40" fmla="*/ 5 w 170"/>
                  <a:gd name="T41" fmla="*/ 113 h 170"/>
                  <a:gd name="T42" fmla="*/ 22 w 170"/>
                  <a:gd name="T43" fmla="*/ 109 h 170"/>
                  <a:gd name="T44" fmla="*/ 31 w 170"/>
                  <a:gd name="T45" fmla="*/ 124 h 170"/>
                  <a:gd name="T46" fmla="*/ 18 w 170"/>
                  <a:gd name="T47" fmla="*/ 137 h 170"/>
                  <a:gd name="T48" fmla="*/ 48 w 170"/>
                  <a:gd name="T49" fmla="*/ 161 h 170"/>
                  <a:gd name="T50" fmla="*/ 57 w 170"/>
                  <a:gd name="T51" fmla="*/ 146 h 170"/>
                  <a:gd name="T52" fmla="*/ 74 w 170"/>
                  <a:gd name="T53" fmla="*/ 151 h 170"/>
                  <a:gd name="T54" fmla="*/ 74 w 170"/>
                  <a:gd name="T55" fmla="*/ 169 h 170"/>
                  <a:gd name="T56" fmla="*/ 94 w 170"/>
                  <a:gd name="T57" fmla="*/ 169 h 170"/>
                  <a:gd name="T58" fmla="*/ 113 w 170"/>
                  <a:gd name="T59" fmla="*/ 165 h 170"/>
                  <a:gd name="T60" fmla="*/ 108 w 170"/>
                  <a:gd name="T61" fmla="*/ 147 h 170"/>
                  <a:gd name="T62" fmla="*/ 124 w 170"/>
                  <a:gd name="T63" fmla="*/ 139 h 170"/>
                  <a:gd name="T64" fmla="*/ 136 w 170"/>
                  <a:gd name="T65" fmla="*/ 152 h 170"/>
                  <a:gd name="T66" fmla="*/ 161 w 170"/>
                  <a:gd name="T67" fmla="*/ 121 h 170"/>
                  <a:gd name="T68" fmla="*/ 146 w 170"/>
                  <a:gd name="T69" fmla="*/ 112 h 170"/>
                  <a:gd name="T70" fmla="*/ 151 w 170"/>
                  <a:gd name="T71" fmla="*/ 95 h 170"/>
                  <a:gd name="T72" fmla="*/ 169 w 170"/>
                  <a:gd name="T73" fmla="*/ 96 h 170"/>
                  <a:gd name="T74" fmla="*/ 89 w 170"/>
                  <a:gd name="T75" fmla="*/ 126 h 170"/>
                  <a:gd name="T76" fmla="*/ 44 w 170"/>
                  <a:gd name="T77" fmla="*/ 89 h 170"/>
                  <a:gd name="T78" fmla="*/ 80 w 170"/>
                  <a:gd name="T79" fmla="*/ 44 h 170"/>
                  <a:gd name="T80" fmla="*/ 125 w 170"/>
                  <a:gd name="T81" fmla="*/ 81 h 170"/>
                  <a:gd name="T82" fmla="*/ 89 w 170"/>
                  <a:gd name="T83" fmla="*/ 126 h 170"/>
                  <a:gd name="T84" fmla="*/ 88 w 170"/>
                  <a:gd name="T85" fmla="*/ 115 h 170"/>
                  <a:gd name="T86" fmla="*/ 55 w 170"/>
                  <a:gd name="T87" fmla="*/ 88 h 170"/>
                  <a:gd name="T88" fmla="*/ 81 w 170"/>
                  <a:gd name="T89" fmla="*/ 55 h 170"/>
                  <a:gd name="T90" fmla="*/ 114 w 170"/>
                  <a:gd name="T91" fmla="*/ 82 h 170"/>
                  <a:gd name="T92" fmla="*/ 88 w 170"/>
                  <a:gd name="T93" fmla="*/ 11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0" h="170">
                    <a:moveTo>
                      <a:pt x="169" y="96"/>
                    </a:moveTo>
                    <a:cubicBezTo>
                      <a:pt x="169" y="89"/>
                      <a:pt x="170" y="83"/>
                      <a:pt x="169" y="76"/>
                    </a:cubicBezTo>
                    <a:cubicBezTo>
                      <a:pt x="168" y="69"/>
                      <a:pt x="167" y="63"/>
                      <a:pt x="164" y="57"/>
                    </a:cubicBezTo>
                    <a:cubicBezTo>
                      <a:pt x="147" y="61"/>
                      <a:pt x="147" y="61"/>
                      <a:pt x="147" y="61"/>
                    </a:cubicBezTo>
                    <a:cubicBezTo>
                      <a:pt x="145" y="56"/>
                      <a:pt x="142" y="50"/>
                      <a:pt x="138" y="46"/>
                    </a:cubicBezTo>
                    <a:cubicBezTo>
                      <a:pt x="152" y="33"/>
                      <a:pt x="152" y="33"/>
                      <a:pt x="152" y="33"/>
                    </a:cubicBezTo>
                    <a:cubicBezTo>
                      <a:pt x="144" y="23"/>
                      <a:pt x="133" y="14"/>
                      <a:pt x="121" y="9"/>
                    </a:cubicBezTo>
                    <a:cubicBezTo>
                      <a:pt x="112" y="24"/>
                      <a:pt x="112" y="24"/>
                      <a:pt x="112" y="24"/>
                    </a:cubicBezTo>
                    <a:cubicBezTo>
                      <a:pt x="106" y="22"/>
                      <a:pt x="101" y="20"/>
                      <a:pt x="95" y="19"/>
                    </a:cubicBezTo>
                    <a:cubicBezTo>
                      <a:pt x="96" y="1"/>
                      <a:pt x="96" y="1"/>
                      <a:pt x="96" y="1"/>
                    </a:cubicBezTo>
                    <a:cubicBezTo>
                      <a:pt x="89" y="0"/>
                      <a:pt x="82" y="0"/>
                      <a:pt x="76" y="1"/>
                    </a:cubicBezTo>
                    <a:cubicBezTo>
                      <a:pt x="69" y="2"/>
                      <a:pt x="62" y="3"/>
                      <a:pt x="56" y="5"/>
                    </a:cubicBezTo>
                    <a:cubicBezTo>
                      <a:pt x="61" y="23"/>
                      <a:pt x="61" y="23"/>
                      <a:pt x="61" y="23"/>
                    </a:cubicBezTo>
                    <a:cubicBezTo>
                      <a:pt x="55" y="25"/>
                      <a:pt x="50" y="28"/>
                      <a:pt x="45" y="31"/>
                    </a:cubicBezTo>
                    <a:cubicBezTo>
                      <a:pt x="33" y="18"/>
                      <a:pt x="33" y="18"/>
                      <a:pt x="33" y="18"/>
                    </a:cubicBezTo>
                    <a:cubicBezTo>
                      <a:pt x="22" y="26"/>
                      <a:pt x="14" y="37"/>
                      <a:pt x="8" y="49"/>
                    </a:cubicBezTo>
                    <a:cubicBezTo>
                      <a:pt x="24" y="58"/>
                      <a:pt x="24" y="58"/>
                      <a:pt x="24" y="58"/>
                    </a:cubicBezTo>
                    <a:cubicBezTo>
                      <a:pt x="21" y="63"/>
                      <a:pt x="20" y="69"/>
                      <a:pt x="19" y="75"/>
                    </a:cubicBezTo>
                    <a:cubicBezTo>
                      <a:pt x="1" y="74"/>
                      <a:pt x="1" y="74"/>
                      <a:pt x="1" y="74"/>
                    </a:cubicBezTo>
                    <a:cubicBezTo>
                      <a:pt x="0" y="81"/>
                      <a:pt x="0" y="87"/>
                      <a:pt x="0" y="94"/>
                    </a:cubicBezTo>
                    <a:cubicBezTo>
                      <a:pt x="1" y="101"/>
                      <a:pt x="3" y="107"/>
                      <a:pt x="5" y="113"/>
                    </a:cubicBezTo>
                    <a:cubicBezTo>
                      <a:pt x="22" y="109"/>
                      <a:pt x="22" y="109"/>
                      <a:pt x="22" y="109"/>
                    </a:cubicBezTo>
                    <a:cubicBezTo>
                      <a:pt x="24" y="114"/>
                      <a:pt x="27" y="120"/>
                      <a:pt x="31" y="124"/>
                    </a:cubicBezTo>
                    <a:cubicBezTo>
                      <a:pt x="18" y="137"/>
                      <a:pt x="18" y="137"/>
                      <a:pt x="18" y="137"/>
                    </a:cubicBezTo>
                    <a:cubicBezTo>
                      <a:pt x="26" y="147"/>
                      <a:pt x="36" y="156"/>
                      <a:pt x="48" y="161"/>
                    </a:cubicBezTo>
                    <a:cubicBezTo>
                      <a:pt x="57" y="146"/>
                      <a:pt x="57" y="146"/>
                      <a:pt x="57" y="146"/>
                    </a:cubicBezTo>
                    <a:cubicBezTo>
                      <a:pt x="63" y="148"/>
                      <a:pt x="69" y="150"/>
                      <a:pt x="74" y="151"/>
                    </a:cubicBezTo>
                    <a:cubicBezTo>
                      <a:pt x="74" y="169"/>
                      <a:pt x="74" y="169"/>
                      <a:pt x="74" y="169"/>
                    </a:cubicBezTo>
                    <a:cubicBezTo>
                      <a:pt x="80" y="170"/>
                      <a:pt x="87" y="170"/>
                      <a:pt x="94" y="169"/>
                    </a:cubicBezTo>
                    <a:cubicBezTo>
                      <a:pt x="100" y="168"/>
                      <a:pt x="107" y="167"/>
                      <a:pt x="113" y="165"/>
                    </a:cubicBezTo>
                    <a:cubicBezTo>
                      <a:pt x="108" y="147"/>
                      <a:pt x="108" y="147"/>
                      <a:pt x="108" y="147"/>
                    </a:cubicBezTo>
                    <a:cubicBezTo>
                      <a:pt x="114" y="145"/>
                      <a:pt x="119" y="142"/>
                      <a:pt x="124" y="139"/>
                    </a:cubicBezTo>
                    <a:cubicBezTo>
                      <a:pt x="136" y="152"/>
                      <a:pt x="136" y="152"/>
                      <a:pt x="136" y="152"/>
                    </a:cubicBezTo>
                    <a:cubicBezTo>
                      <a:pt x="147" y="144"/>
                      <a:pt x="155" y="133"/>
                      <a:pt x="161" y="121"/>
                    </a:cubicBezTo>
                    <a:cubicBezTo>
                      <a:pt x="146" y="112"/>
                      <a:pt x="146" y="112"/>
                      <a:pt x="146" y="112"/>
                    </a:cubicBezTo>
                    <a:cubicBezTo>
                      <a:pt x="148" y="107"/>
                      <a:pt x="150" y="101"/>
                      <a:pt x="151" y="95"/>
                    </a:cubicBezTo>
                    <a:lnTo>
                      <a:pt x="169" y="96"/>
                    </a:lnTo>
                    <a:close/>
                    <a:moveTo>
                      <a:pt x="89" y="126"/>
                    </a:moveTo>
                    <a:cubicBezTo>
                      <a:pt x="67" y="128"/>
                      <a:pt x="46" y="112"/>
                      <a:pt x="44" y="89"/>
                    </a:cubicBezTo>
                    <a:cubicBezTo>
                      <a:pt x="42" y="67"/>
                      <a:pt x="58" y="47"/>
                      <a:pt x="80" y="44"/>
                    </a:cubicBezTo>
                    <a:cubicBezTo>
                      <a:pt x="103" y="42"/>
                      <a:pt x="123" y="58"/>
                      <a:pt x="125" y="81"/>
                    </a:cubicBezTo>
                    <a:cubicBezTo>
                      <a:pt x="128" y="103"/>
                      <a:pt x="111" y="123"/>
                      <a:pt x="89" y="126"/>
                    </a:cubicBezTo>
                    <a:close/>
                    <a:moveTo>
                      <a:pt x="88" y="115"/>
                    </a:moveTo>
                    <a:cubicBezTo>
                      <a:pt x="71" y="116"/>
                      <a:pt x="57" y="105"/>
                      <a:pt x="55" y="88"/>
                    </a:cubicBezTo>
                    <a:cubicBezTo>
                      <a:pt x="53" y="72"/>
                      <a:pt x="65" y="57"/>
                      <a:pt x="81" y="55"/>
                    </a:cubicBezTo>
                    <a:cubicBezTo>
                      <a:pt x="98" y="53"/>
                      <a:pt x="113" y="65"/>
                      <a:pt x="114" y="82"/>
                    </a:cubicBezTo>
                    <a:cubicBezTo>
                      <a:pt x="116" y="98"/>
                      <a:pt x="104" y="113"/>
                      <a:pt x="88" y="115"/>
                    </a:cubicBezTo>
                    <a:close/>
                  </a:path>
                </a:pathLst>
              </a:custGeom>
              <a:solidFill>
                <a:srgbClr val="D9E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85" name="Rectangle 46"/>
              <p:cNvSpPr>
                <a:spLocks noChangeArrowheads="1"/>
              </p:cNvSpPr>
              <p:nvPr userDrawn="1"/>
            </p:nvSpPr>
            <p:spPr bwMode="auto">
              <a:xfrm>
                <a:off x="902358" y="2649868"/>
                <a:ext cx="9968" cy="63129"/>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86" name="Freeform 47"/>
              <p:cNvSpPr/>
              <p:nvPr userDrawn="1"/>
            </p:nvSpPr>
            <p:spPr bwMode="auto">
              <a:xfrm>
                <a:off x="902358" y="2649868"/>
                <a:ext cx="9968" cy="63129"/>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87" name="Rectangle 48"/>
              <p:cNvSpPr>
                <a:spLocks noChangeArrowheads="1"/>
              </p:cNvSpPr>
              <p:nvPr userDrawn="1"/>
            </p:nvSpPr>
            <p:spPr bwMode="auto">
              <a:xfrm>
                <a:off x="875777" y="2676449"/>
                <a:ext cx="61468"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88" name="Freeform 49"/>
              <p:cNvSpPr/>
              <p:nvPr userDrawn="1"/>
            </p:nvSpPr>
            <p:spPr bwMode="auto">
              <a:xfrm>
                <a:off x="875777" y="2676449"/>
                <a:ext cx="61468" cy="9968"/>
              </a:xfrm>
              <a:custGeom>
                <a:avLst/>
                <a:gdLst>
                  <a:gd name="T0" fmla="*/ 37 w 37"/>
                  <a:gd name="T1" fmla="*/ 0 h 6"/>
                  <a:gd name="T2" fmla="*/ 0 w 37"/>
                  <a:gd name="T3" fmla="*/ 0 h 6"/>
                  <a:gd name="T4" fmla="*/ 0 w 37"/>
                  <a:gd name="T5" fmla="*/ 6 h 6"/>
                  <a:gd name="T6" fmla="*/ 37 w 37"/>
                  <a:gd name="T7" fmla="*/ 6 h 6"/>
                </a:gdLst>
                <a:ahLst/>
                <a:cxnLst>
                  <a:cxn ang="0">
                    <a:pos x="T0" y="T1"/>
                  </a:cxn>
                  <a:cxn ang="0">
                    <a:pos x="T2" y="T3"/>
                  </a:cxn>
                  <a:cxn ang="0">
                    <a:pos x="T4" y="T5"/>
                  </a:cxn>
                  <a:cxn ang="0">
                    <a:pos x="T6" y="T7"/>
                  </a:cxn>
                </a:cxnLst>
                <a:rect l="0" t="0" r="r" b="b"/>
                <a:pathLst>
                  <a:path w="37" h="6">
                    <a:moveTo>
                      <a:pt x="37" y="0"/>
                    </a:moveTo>
                    <a:lnTo>
                      <a:pt x="0" y="0"/>
                    </a:lnTo>
                    <a:lnTo>
                      <a:pt x="0" y="6"/>
                    </a:lnTo>
                    <a:lnTo>
                      <a:pt x="37"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556" name="Rectangle 66"/>
            <p:cNvSpPr>
              <a:spLocks noChangeArrowheads="1"/>
            </p:cNvSpPr>
            <p:nvPr userDrawn="1"/>
          </p:nvSpPr>
          <p:spPr bwMode="auto">
            <a:xfrm>
              <a:off x="6882426" y="2535568"/>
              <a:ext cx="9968" cy="63129"/>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57" name="Freeform 67"/>
            <p:cNvSpPr/>
            <p:nvPr userDrawn="1"/>
          </p:nvSpPr>
          <p:spPr bwMode="auto">
            <a:xfrm>
              <a:off x="6882426" y="2535568"/>
              <a:ext cx="9968" cy="63129"/>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8" name="Rectangle 68"/>
            <p:cNvSpPr>
              <a:spLocks noChangeArrowheads="1"/>
            </p:cNvSpPr>
            <p:nvPr userDrawn="1"/>
          </p:nvSpPr>
          <p:spPr bwMode="auto">
            <a:xfrm>
              <a:off x="6855845" y="2562149"/>
              <a:ext cx="63129"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59" name="Freeform 69"/>
            <p:cNvSpPr/>
            <p:nvPr userDrawn="1"/>
          </p:nvSpPr>
          <p:spPr bwMode="auto">
            <a:xfrm>
              <a:off x="6855845" y="2562149"/>
              <a:ext cx="63129" cy="9968"/>
            </a:xfrm>
            <a:custGeom>
              <a:avLst/>
              <a:gdLst>
                <a:gd name="T0" fmla="*/ 38 w 38"/>
                <a:gd name="T1" fmla="*/ 0 h 6"/>
                <a:gd name="T2" fmla="*/ 0 w 38"/>
                <a:gd name="T3" fmla="*/ 0 h 6"/>
                <a:gd name="T4" fmla="*/ 0 w 38"/>
                <a:gd name="T5" fmla="*/ 6 h 6"/>
                <a:gd name="T6" fmla="*/ 38 w 38"/>
                <a:gd name="T7" fmla="*/ 6 h 6"/>
              </a:gdLst>
              <a:ahLst/>
              <a:cxnLst>
                <a:cxn ang="0">
                  <a:pos x="T0" y="T1"/>
                </a:cxn>
                <a:cxn ang="0">
                  <a:pos x="T2" y="T3"/>
                </a:cxn>
                <a:cxn ang="0">
                  <a:pos x="T4" y="T5"/>
                </a:cxn>
                <a:cxn ang="0">
                  <a:pos x="T6" y="T7"/>
                </a:cxn>
              </a:cxnLst>
              <a:rect l="0" t="0" r="r" b="b"/>
              <a:pathLst>
                <a:path w="38" h="6">
                  <a:moveTo>
                    <a:pt x="38" y="0"/>
                  </a:moveTo>
                  <a:lnTo>
                    <a:pt x="0" y="0"/>
                  </a:lnTo>
                  <a:lnTo>
                    <a:pt x="0" y="6"/>
                  </a:lnTo>
                  <a:lnTo>
                    <a:pt x="3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0" name="Freeform 73"/>
            <p:cNvSpPr>
              <a:spLocks noEditPoints="1"/>
            </p:cNvSpPr>
            <p:nvPr userDrawn="1"/>
          </p:nvSpPr>
          <p:spPr bwMode="auto">
            <a:xfrm>
              <a:off x="1117749" y="2628601"/>
              <a:ext cx="599726" cy="599726"/>
            </a:xfrm>
            <a:custGeom>
              <a:avLst/>
              <a:gdLst>
                <a:gd name="T0" fmla="*/ 224 w 231"/>
                <a:gd name="T1" fmla="*/ 77 h 231"/>
                <a:gd name="T2" fmla="*/ 212 w 231"/>
                <a:gd name="T3" fmla="*/ 53 h 231"/>
                <a:gd name="T4" fmla="*/ 195 w 231"/>
                <a:gd name="T5" fmla="*/ 32 h 231"/>
                <a:gd name="T6" fmla="*/ 176 w 231"/>
                <a:gd name="T7" fmla="*/ 49 h 231"/>
                <a:gd name="T8" fmla="*/ 157 w 231"/>
                <a:gd name="T9" fmla="*/ 35 h 231"/>
                <a:gd name="T10" fmla="*/ 165 w 231"/>
                <a:gd name="T11" fmla="*/ 12 h 231"/>
                <a:gd name="T12" fmla="*/ 113 w 231"/>
                <a:gd name="T13" fmla="*/ 1 h 231"/>
                <a:gd name="T14" fmla="*/ 111 w 231"/>
                <a:gd name="T15" fmla="*/ 25 h 231"/>
                <a:gd name="T16" fmla="*/ 87 w 231"/>
                <a:gd name="T17" fmla="*/ 29 h 231"/>
                <a:gd name="T18" fmla="*/ 77 w 231"/>
                <a:gd name="T19" fmla="*/ 7 h 231"/>
                <a:gd name="T20" fmla="*/ 53 w 231"/>
                <a:gd name="T21" fmla="*/ 19 h 231"/>
                <a:gd name="T22" fmla="*/ 32 w 231"/>
                <a:gd name="T23" fmla="*/ 36 h 231"/>
                <a:gd name="T24" fmla="*/ 48 w 231"/>
                <a:gd name="T25" fmla="*/ 54 h 231"/>
                <a:gd name="T26" fmla="*/ 35 w 231"/>
                <a:gd name="T27" fmla="*/ 74 h 231"/>
                <a:gd name="T28" fmla="*/ 12 w 231"/>
                <a:gd name="T29" fmla="*/ 66 h 231"/>
                <a:gd name="T30" fmla="*/ 0 w 231"/>
                <a:gd name="T31" fmla="*/ 118 h 231"/>
                <a:gd name="T32" fmla="*/ 25 w 231"/>
                <a:gd name="T33" fmla="*/ 120 h 231"/>
                <a:gd name="T34" fmla="*/ 29 w 231"/>
                <a:gd name="T35" fmla="*/ 144 h 231"/>
                <a:gd name="T36" fmla="*/ 7 w 231"/>
                <a:gd name="T37" fmla="*/ 154 h 231"/>
                <a:gd name="T38" fmla="*/ 19 w 231"/>
                <a:gd name="T39" fmla="*/ 178 h 231"/>
                <a:gd name="T40" fmla="*/ 36 w 231"/>
                <a:gd name="T41" fmla="*/ 199 h 231"/>
                <a:gd name="T42" fmla="*/ 54 w 231"/>
                <a:gd name="T43" fmla="*/ 183 h 231"/>
                <a:gd name="T44" fmla="*/ 74 w 231"/>
                <a:gd name="T45" fmla="*/ 196 h 231"/>
                <a:gd name="T46" fmla="*/ 66 w 231"/>
                <a:gd name="T47" fmla="*/ 219 h 231"/>
                <a:gd name="T48" fmla="*/ 118 w 231"/>
                <a:gd name="T49" fmla="*/ 231 h 231"/>
                <a:gd name="T50" fmla="*/ 120 w 231"/>
                <a:gd name="T51" fmla="*/ 206 h 231"/>
                <a:gd name="T52" fmla="*/ 143 w 231"/>
                <a:gd name="T53" fmla="*/ 202 h 231"/>
                <a:gd name="T54" fmla="*/ 154 w 231"/>
                <a:gd name="T55" fmla="*/ 224 h 231"/>
                <a:gd name="T56" fmla="*/ 178 w 231"/>
                <a:gd name="T57" fmla="*/ 212 h 231"/>
                <a:gd name="T58" fmla="*/ 199 w 231"/>
                <a:gd name="T59" fmla="*/ 195 h 231"/>
                <a:gd name="T60" fmla="*/ 182 w 231"/>
                <a:gd name="T61" fmla="*/ 177 h 231"/>
                <a:gd name="T62" fmla="*/ 196 w 231"/>
                <a:gd name="T63" fmla="*/ 157 h 231"/>
                <a:gd name="T64" fmla="*/ 219 w 231"/>
                <a:gd name="T65" fmla="*/ 165 h 231"/>
                <a:gd name="T66" fmla="*/ 230 w 231"/>
                <a:gd name="T67" fmla="*/ 113 h 231"/>
                <a:gd name="T68" fmla="*/ 206 w 231"/>
                <a:gd name="T69" fmla="*/ 111 h 231"/>
                <a:gd name="T70" fmla="*/ 202 w 231"/>
                <a:gd name="T71" fmla="*/ 88 h 231"/>
                <a:gd name="T72" fmla="*/ 224 w 231"/>
                <a:gd name="T73" fmla="*/ 77 h 231"/>
                <a:gd name="T74" fmla="*/ 145 w 231"/>
                <a:gd name="T75" fmla="*/ 162 h 231"/>
                <a:gd name="T76" fmla="*/ 69 w 231"/>
                <a:gd name="T77" fmla="*/ 146 h 231"/>
                <a:gd name="T78" fmla="*/ 85 w 231"/>
                <a:gd name="T79" fmla="*/ 69 h 231"/>
                <a:gd name="T80" fmla="*/ 162 w 231"/>
                <a:gd name="T81" fmla="*/ 86 h 231"/>
                <a:gd name="T82" fmla="*/ 145 w 231"/>
                <a:gd name="T83" fmla="*/ 162 h 231"/>
                <a:gd name="T84" fmla="*/ 137 w 231"/>
                <a:gd name="T85" fmla="*/ 150 h 231"/>
                <a:gd name="T86" fmla="*/ 81 w 231"/>
                <a:gd name="T87" fmla="*/ 138 h 231"/>
                <a:gd name="T88" fmla="*/ 93 w 231"/>
                <a:gd name="T89" fmla="*/ 81 h 231"/>
                <a:gd name="T90" fmla="*/ 150 w 231"/>
                <a:gd name="T91" fmla="*/ 94 h 231"/>
                <a:gd name="T92" fmla="*/ 137 w 231"/>
                <a:gd name="T93" fmla="*/ 15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1" h="231">
                  <a:moveTo>
                    <a:pt x="224" y="77"/>
                  </a:moveTo>
                  <a:cubicBezTo>
                    <a:pt x="221" y="69"/>
                    <a:pt x="217" y="61"/>
                    <a:pt x="212" y="53"/>
                  </a:cubicBezTo>
                  <a:cubicBezTo>
                    <a:pt x="207" y="45"/>
                    <a:pt x="201" y="39"/>
                    <a:pt x="195" y="32"/>
                  </a:cubicBezTo>
                  <a:cubicBezTo>
                    <a:pt x="176" y="49"/>
                    <a:pt x="176" y="49"/>
                    <a:pt x="176" y="49"/>
                  </a:cubicBezTo>
                  <a:cubicBezTo>
                    <a:pt x="170" y="43"/>
                    <a:pt x="164" y="38"/>
                    <a:pt x="157" y="35"/>
                  </a:cubicBezTo>
                  <a:cubicBezTo>
                    <a:pt x="165" y="12"/>
                    <a:pt x="165" y="12"/>
                    <a:pt x="165" y="12"/>
                  </a:cubicBezTo>
                  <a:cubicBezTo>
                    <a:pt x="149" y="4"/>
                    <a:pt x="131" y="0"/>
                    <a:pt x="113" y="1"/>
                  </a:cubicBezTo>
                  <a:cubicBezTo>
                    <a:pt x="111" y="25"/>
                    <a:pt x="111" y="25"/>
                    <a:pt x="111" y="25"/>
                  </a:cubicBezTo>
                  <a:cubicBezTo>
                    <a:pt x="103" y="25"/>
                    <a:pt x="95" y="27"/>
                    <a:pt x="87" y="29"/>
                  </a:cubicBezTo>
                  <a:cubicBezTo>
                    <a:pt x="77" y="7"/>
                    <a:pt x="77" y="7"/>
                    <a:pt x="77" y="7"/>
                  </a:cubicBezTo>
                  <a:cubicBezTo>
                    <a:pt x="69" y="10"/>
                    <a:pt x="61" y="14"/>
                    <a:pt x="53" y="19"/>
                  </a:cubicBezTo>
                  <a:cubicBezTo>
                    <a:pt x="45" y="24"/>
                    <a:pt x="38" y="30"/>
                    <a:pt x="32" y="36"/>
                  </a:cubicBezTo>
                  <a:cubicBezTo>
                    <a:pt x="48" y="54"/>
                    <a:pt x="48" y="54"/>
                    <a:pt x="48" y="54"/>
                  </a:cubicBezTo>
                  <a:cubicBezTo>
                    <a:pt x="43" y="61"/>
                    <a:pt x="38" y="67"/>
                    <a:pt x="35" y="74"/>
                  </a:cubicBezTo>
                  <a:cubicBezTo>
                    <a:pt x="12" y="66"/>
                    <a:pt x="12" y="66"/>
                    <a:pt x="12" y="66"/>
                  </a:cubicBezTo>
                  <a:cubicBezTo>
                    <a:pt x="4" y="82"/>
                    <a:pt x="0" y="100"/>
                    <a:pt x="0" y="118"/>
                  </a:cubicBezTo>
                  <a:cubicBezTo>
                    <a:pt x="25" y="120"/>
                    <a:pt x="25" y="120"/>
                    <a:pt x="25" y="120"/>
                  </a:cubicBezTo>
                  <a:cubicBezTo>
                    <a:pt x="25" y="128"/>
                    <a:pt x="27" y="136"/>
                    <a:pt x="29" y="144"/>
                  </a:cubicBezTo>
                  <a:cubicBezTo>
                    <a:pt x="7" y="154"/>
                    <a:pt x="7" y="154"/>
                    <a:pt x="7" y="154"/>
                  </a:cubicBezTo>
                  <a:cubicBezTo>
                    <a:pt x="10" y="162"/>
                    <a:pt x="14" y="170"/>
                    <a:pt x="19" y="178"/>
                  </a:cubicBezTo>
                  <a:cubicBezTo>
                    <a:pt x="24" y="186"/>
                    <a:pt x="30" y="193"/>
                    <a:pt x="36" y="199"/>
                  </a:cubicBezTo>
                  <a:cubicBezTo>
                    <a:pt x="54" y="183"/>
                    <a:pt x="54" y="183"/>
                    <a:pt x="54" y="183"/>
                  </a:cubicBezTo>
                  <a:cubicBezTo>
                    <a:pt x="60" y="188"/>
                    <a:pt x="67" y="193"/>
                    <a:pt x="74" y="196"/>
                  </a:cubicBezTo>
                  <a:cubicBezTo>
                    <a:pt x="66" y="219"/>
                    <a:pt x="66" y="219"/>
                    <a:pt x="66" y="219"/>
                  </a:cubicBezTo>
                  <a:cubicBezTo>
                    <a:pt x="82" y="227"/>
                    <a:pt x="100" y="231"/>
                    <a:pt x="118" y="231"/>
                  </a:cubicBezTo>
                  <a:cubicBezTo>
                    <a:pt x="120" y="206"/>
                    <a:pt x="120" y="206"/>
                    <a:pt x="120" y="206"/>
                  </a:cubicBezTo>
                  <a:cubicBezTo>
                    <a:pt x="128" y="206"/>
                    <a:pt x="136" y="204"/>
                    <a:pt x="143" y="202"/>
                  </a:cubicBezTo>
                  <a:cubicBezTo>
                    <a:pt x="154" y="224"/>
                    <a:pt x="154" y="224"/>
                    <a:pt x="154" y="224"/>
                  </a:cubicBezTo>
                  <a:cubicBezTo>
                    <a:pt x="162" y="221"/>
                    <a:pt x="170" y="217"/>
                    <a:pt x="178" y="212"/>
                  </a:cubicBezTo>
                  <a:cubicBezTo>
                    <a:pt x="185" y="207"/>
                    <a:pt x="192" y="201"/>
                    <a:pt x="199" y="195"/>
                  </a:cubicBezTo>
                  <a:cubicBezTo>
                    <a:pt x="182" y="177"/>
                    <a:pt x="182" y="177"/>
                    <a:pt x="182" y="177"/>
                  </a:cubicBezTo>
                  <a:cubicBezTo>
                    <a:pt x="188" y="171"/>
                    <a:pt x="193" y="164"/>
                    <a:pt x="196" y="157"/>
                  </a:cubicBezTo>
                  <a:cubicBezTo>
                    <a:pt x="219" y="165"/>
                    <a:pt x="219" y="165"/>
                    <a:pt x="219" y="165"/>
                  </a:cubicBezTo>
                  <a:cubicBezTo>
                    <a:pt x="227" y="149"/>
                    <a:pt x="231" y="131"/>
                    <a:pt x="230" y="113"/>
                  </a:cubicBezTo>
                  <a:cubicBezTo>
                    <a:pt x="206" y="111"/>
                    <a:pt x="206" y="111"/>
                    <a:pt x="206" y="111"/>
                  </a:cubicBezTo>
                  <a:cubicBezTo>
                    <a:pt x="206" y="103"/>
                    <a:pt x="204" y="95"/>
                    <a:pt x="202" y="88"/>
                  </a:cubicBezTo>
                  <a:lnTo>
                    <a:pt x="224" y="77"/>
                  </a:lnTo>
                  <a:close/>
                  <a:moveTo>
                    <a:pt x="145" y="162"/>
                  </a:moveTo>
                  <a:cubicBezTo>
                    <a:pt x="120" y="179"/>
                    <a:pt x="85" y="171"/>
                    <a:pt x="69" y="146"/>
                  </a:cubicBezTo>
                  <a:cubicBezTo>
                    <a:pt x="52" y="120"/>
                    <a:pt x="60" y="86"/>
                    <a:pt x="85" y="69"/>
                  </a:cubicBezTo>
                  <a:cubicBezTo>
                    <a:pt x="111" y="52"/>
                    <a:pt x="145" y="60"/>
                    <a:pt x="162" y="86"/>
                  </a:cubicBezTo>
                  <a:cubicBezTo>
                    <a:pt x="179" y="111"/>
                    <a:pt x="171" y="146"/>
                    <a:pt x="145" y="162"/>
                  </a:cubicBezTo>
                  <a:close/>
                  <a:moveTo>
                    <a:pt x="137" y="150"/>
                  </a:moveTo>
                  <a:cubicBezTo>
                    <a:pt x="119" y="162"/>
                    <a:pt x="93" y="156"/>
                    <a:pt x="81" y="138"/>
                  </a:cubicBezTo>
                  <a:cubicBezTo>
                    <a:pt x="69" y="119"/>
                    <a:pt x="75" y="94"/>
                    <a:pt x="93" y="81"/>
                  </a:cubicBezTo>
                  <a:cubicBezTo>
                    <a:pt x="112" y="69"/>
                    <a:pt x="137" y="75"/>
                    <a:pt x="150" y="94"/>
                  </a:cubicBezTo>
                  <a:cubicBezTo>
                    <a:pt x="162" y="112"/>
                    <a:pt x="156" y="138"/>
                    <a:pt x="137" y="150"/>
                  </a:cubicBezTo>
                  <a:close/>
                </a:path>
              </a:pathLst>
            </a:custGeom>
            <a:solidFill>
              <a:srgbClr val="D9E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1" name="Freeform 74"/>
            <p:cNvSpPr>
              <a:spLocks noEditPoints="1"/>
            </p:cNvSpPr>
            <p:nvPr userDrawn="1"/>
          </p:nvSpPr>
          <p:spPr bwMode="auto">
            <a:xfrm>
              <a:off x="4694507" y="5173697"/>
              <a:ext cx="466823" cy="468484"/>
            </a:xfrm>
            <a:custGeom>
              <a:avLst/>
              <a:gdLst>
                <a:gd name="T0" fmla="*/ 179 w 180"/>
                <a:gd name="T1" fmla="*/ 102 h 181"/>
                <a:gd name="T2" fmla="*/ 179 w 180"/>
                <a:gd name="T3" fmla="*/ 81 h 181"/>
                <a:gd name="T4" fmla="*/ 175 w 180"/>
                <a:gd name="T5" fmla="*/ 60 h 181"/>
                <a:gd name="T6" fmla="*/ 156 w 180"/>
                <a:gd name="T7" fmla="*/ 65 h 181"/>
                <a:gd name="T8" fmla="*/ 147 w 180"/>
                <a:gd name="T9" fmla="*/ 48 h 181"/>
                <a:gd name="T10" fmla="*/ 161 w 180"/>
                <a:gd name="T11" fmla="*/ 35 h 181"/>
                <a:gd name="T12" fmla="*/ 129 w 180"/>
                <a:gd name="T13" fmla="*/ 9 h 181"/>
                <a:gd name="T14" fmla="*/ 119 w 180"/>
                <a:gd name="T15" fmla="*/ 26 h 181"/>
                <a:gd name="T16" fmla="*/ 101 w 180"/>
                <a:gd name="T17" fmla="*/ 20 h 181"/>
                <a:gd name="T18" fmla="*/ 101 w 180"/>
                <a:gd name="T19" fmla="*/ 1 h 181"/>
                <a:gd name="T20" fmla="*/ 80 w 180"/>
                <a:gd name="T21" fmla="*/ 1 h 181"/>
                <a:gd name="T22" fmla="*/ 60 w 180"/>
                <a:gd name="T23" fmla="*/ 6 h 181"/>
                <a:gd name="T24" fmla="*/ 65 w 180"/>
                <a:gd name="T25" fmla="*/ 24 h 181"/>
                <a:gd name="T26" fmla="*/ 48 w 180"/>
                <a:gd name="T27" fmla="*/ 33 h 181"/>
                <a:gd name="T28" fmla="*/ 35 w 180"/>
                <a:gd name="T29" fmla="*/ 19 h 181"/>
                <a:gd name="T30" fmla="*/ 9 w 180"/>
                <a:gd name="T31" fmla="*/ 52 h 181"/>
                <a:gd name="T32" fmla="*/ 25 w 180"/>
                <a:gd name="T33" fmla="*/ 61 h 181"/>
                <a:gd name="T34" fmla="*/ 20 w 180"/>
                <a:gd name="T35" fmla="*/ 80 h 181"/>
                <a:gd name="T36" fmla="*/ 1 w 180"/>
                <a:gd name="T37" fmla="*/ 79 h 181"/>
                <a:gd name="T38" fmla="*/ 0 w 180"/>
                <a:gd name="T39" fmla="*/ 100 h 181"/>
                <a:gd name="T40" fmla="*/ 5 w 180"/>
                <a:gd name="T41" fmla="*/ 120 h 181"/>
                <a:gd name="T42" fmla="*/ 24 w 180"/>
                <a:gd name="T43" fmla="*/ 116 h 181"/>
                <a:gd name="T44" fmla="*/ 33 w 180"/>
                <a:gd name="T45" fmla="*/ 132 h 181"/>
                <a:gd name="T46" fmla="*/ 19 w 180"/>
                <a:gd name="T47" fmla="*/ 145 h 181"/>
                <a:gd name="T48" fmla="*/ 51 w 180"/>
                <a:gd name="T49" fmla="*/ 172 h 181"/>
                <a:gd name="T50" fmla="*/ 61 w 180"/>
                <a:gd name="T51" fmla="*/ 155 h 181"/>
                <a:gd name="T52" fmla="*/ 79 w 180"/>
                <a:gd name="T53" fmla="*/ 160 h 181"/>
                <a:gd name="T54" fmla="*/ 78 w 180"/>
                <a:gd name="T55" fmla="*/ 180 h 181"/>
                <a:gd name="T56" fmla="*/ 99 w 180"/>
                <a:gd name="T57" fmla="*/ 180 h 181"/>
                <a:gd name="T58" fmla="*/ 120 w 180"/>
                <a:gd name="T59" fmla="*/ 175 h 181"/>
                <a:gd name="T60" fmla="*/ 115 w 180"/>
                <a:gd name="T61" fmla="*/ 157 h 181"/>
                <a:gd name="T62" fmla="*/ 132 w 180"/>
                <a:gd name="T63" fmla="*/ 148 h 181"/>
                <a:gd name="T64" fmla="*/ 145 w 180"/>
                <a:gd name="T65" fmla="*/ 162 h 181"/>
                <a:gd name="T66" fmla="*/ 171 w 180"/>
                <a:gd name="T67" fmla="*/ 129 h 181"/>
                <a:gd name="T68" fmla="*/ 155 w 180"/>
                <a:gd name="T69" fmla="*/ 119 h 181"/>
                <a:gd name="T70" fmla="*/ 160 w 180"/>
                <a:gd name="T71" fmla="*/ 101 h 181"/>
                <a:gd name="T72" fmla="*/ 179 w 180"/>
                <a:gd name="T73" fmla="*/ 102 h 181"/>
                <a:gd name="T74" fmla="*/ 94 w 180"/>
                <a:gd name="T75" fmla="*/ 133 h 181"/>
                <a:gd name="T76" fmla="*/ 47 w 180"/>
                <a:gd name="T77" fmla="*/ 95 h 181"/>
                <a:gd name="T78" fmla="*/ 85 w 180"/>
                <a:gd name="T79" fmla="*/ 47 h 181"/>
                <a:gd name="T80" fmla="*/ 133 w 180"/>
                <a:gd name="T81" fmla="*/ 86 h 181"/>
                <a:gd name="T82" fmla="*/ 94 w 180"/>
                <a:gd name="T83" fmla="*/ 133 h 181"/>
                <a:gd name="T84" fmla="*/ 93 w 180"/>
                <a:gd name="T85" fmla="*/ 122 h 181"/>
                <a:gd name="T86" fmla="*/ 58 w 180"/>
                <a:gd name="T87" fmla="*/ 94 h 181"/>
                <a:gd name="T88" fmla="*/ 87 w 180"/>
                <a:gd name="T89" fmla="*/ 59 h 181"/>
                <a:gd name="T90" fmla="*/ 121 w 180"/>
                <a:gd name="T91" fmla="*/ 87 h 181"/>
                <a:gd name="T92" fmla="*/ 93 w 180"/>
                <a:gd name="T93" fmla="*/ 12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0" h="181">
                  <a:moveTo>
                    <a:pt x="179" y="102"/>
                  </a:moveTo>
                  <a:cubicBezTo>
                    <a:pt x="180" y="95"/>
                    <a:pt x="180" y="88"/>
                    <a:pt x="179" y="81"/>
                  </a:cubicBezTo>
                  <a:cubicBezTo>
                    <a:pt x="179" y="74"/>
                    <a:pt x="177" y="67"/>
                    <a:pt x="175" y="60"/>
                  </a:cubicBezTo>
                  <a:cubicBezTo>
                    <a:pt x="156" y="65"/>
                    <a:pt x="156" y="65"/>
                    <a:pt x="156" y="65"/>
                  </a:cubicBezTo>
                  <a:cubicBezTo>
                    <a:pt x="154" y="59"/>
                    <a:pt x="151" y="54"/>
                    <a:pt x="147" y="48"/>
                  </a:cubicBezTo>
                  <a:cubicBezTo>
                    <a:pt x="161" y="35"/>
                    <a:pt x="161" y="35"/>
                    <a:pt x="161" y="35"/>
                  </a:cubicBezTo>
                  <a:cubicBezTo>
                    <a:pt x="152" y="24"/>
                    <a:pt x="141" y="15"/>
                    <a:pt x="129" y="9"/>
                  </a:cubicBezTo>
                  <a:cubicBezTo>
                    <a:pt x="119" y="26"/>
                    <a:pt x="119" y="26"/>
                    <a:pt x="119" y="26"/>
                  </a:cubicBezTo>
                  <a:cubicBezTo>
                    <a:pt x="113" y="23"/>
                    <a:pt x="107" y="21"/>
                    <a:pt x="101" y="20"/>
                  </a:cubicBezTo>
                  <a:cubicBezTo>
                    <a:pt x="101" y="1"/>
                    <a:pt x="101" y="1"/>
                    <a:pt x="101" y="1"/>
                  </a:cubicBezTo>
                  <a:cubicBezTo>
                    <a:pt x="95" y="0"/>
                    <a:pt x="88" y="0"/>
                    <a:pt x="80" y="1"/>
                  </a:cubicBezTo>
                  <a:cubicBezTo>
                    <a:pt x="73" y="2"/>
                    <a:pt x="66" y="3"/>
                    <a:pt x="60" y="6"/>
                  </a:cubicBezTo>
                  <a:cubicBezTo>
                    <a:pt x="65" y="24"/>
                    <a:pt x="65" y="24"/>
                    <a:pt x="65" y="24"/>
                  </a:cubicBezTo>
                  <a:cubicBezTo>
                    <a:pt x="59" y="26"/>
                    <a:pt x="53" y="30"/>
                    <a:pt x="48" y="33"/>
                  </a:cubicBezTo>
                  <a:cubicBezTo>
                    <a:pt x="35" y="19"/>
                    <a:pt x="35" y="19"/>
                    <a:pt x="35" y="19"/>
                  </a:cubicBezTo>
                  <a:cubicBezTo>
                    <a:pt x="24" y="28"/>
                    <a:pt x="15" y="39"/>
                    <a:pt x="9" y="52"/>
                  </a:cubicBezTo>
                  <a:cubicBezTo>
                    <a:pt x="25" y="61"/>
                    <a:pt x="25" y="61"/>
                    <a:pt x="25" y="61"/>
                  </a:cubicBezTo>
                  <a:cubicBezTo>
                    <a:pt x="23" y="67"/>
                    <a:pt x="21" y="73"/>
                    <a:pt x="20" y="80"/>
                  </a:cubicBezTo>
                  <a:cubicBezTo>
                    <a:pt x="1" y="79"/>
                    <a:pt x="1" y="79"/>
                    <a:pt x="1" y="79"/>
                  </a:cubicBezTo>
                  <a:cubicBezTo>
                    <a:pt x="0" y="86"/>
                    <a:pt x="0" y="93"/>
                    <a:pt x="0" y="100"/>
                  </a:cubicBezTo>
                  <a:cubicBezTo>
                    <a:pt x="1" y="107"/>
                    <a:pt x="3" y="114"/>
                    <a:pt x="5" y="120"/>
                  </a:cubicBezTo>
                  <a:cubicBezTo>
                    <a:pt x="24" y="116"/>
                    <a:pt x="24" y="116"/>
                    <a:pt x="24" y="116"/>
                  </a:cubicBezTo>
                  <a:cubicBezTo>
                    <a:pt x="26" y="122"/>
                    <a:pt x="29" y="127"/>
                    <a:pt x="33" y="132"/>
                  </a:cubicBezTo>
                  <a:cubicBezTo>
                    <a:pt x="19" y="145"/>
                    <a:pt x="19" y="145"/>
                    <a:pt x="19" y="145"/>
                  </a:cubicBezTo>
                  <a:cubicBezTo>
                    <a:pt x="27" y="156"/>
                    <a:pt x="38" y="165"/>
                    <a:pt x="51" y="172"/>
                  </a:cubicBezTo>
                  <a:cubicBezTo>
                    <a:pt x="61" y="155"/>
                    <a:pt x="61" y="155"/>
                    <a:pt x="61" y="155"/>
                  </a:cubicBezTo>
                  <a:cubicBezTo>
                    <a:pt x="67" y="158"/>
                    <a:pt x="73" y="159"/>
                    <a:pt x="79" y="160"/>
                  </a:cubicBezTo>
                  <a:cubicBezTo>
                    <a:pt x="78" y="180"/>
                    <a:pt x="78" y="180"/>
                    <a:pt x="78" y="180"/>
                  </a:cubicBezTo>
                  <a:cubicBezTo>
                    <a:pt x="85" y="180"/>
                    <a:pt x="92" y="181"/>
                    <a:pt x="99" y="180"/>
                  </a:cubicBezTo>
                  <a:cubicBezTo>
                    <a:pt x="107" y="179"/>
                    <a:pt x="113" y="177"/>
                    <a:pt x="120" y="175"/>
                  </a:cubicBezTo>
                  <a:cubicBezTo>
                    <a:pt x="115" y="157"/>
                    <a:pt x="115" y="157"/>
                    <a:pt x="115" y="157"/>
                  </a:cubicBezTo>
                  <a:cubicBezTo>
                    <a:pt x="121" y="154"/>
                    <a:pt x="127" y="151"/>
                    <a:pt x="132" y="148"/>
                  </a:cubicBezTo>
                  <a:cubicBezTo>
                    <a:pt x="145" y="162"/>
                    <a:pt x="145" y="162"/>
                    <a:pt x="145" y="162"/>
                  </a:cubicBezTo>
                  <a:cubicBezTo>
                    <a:pt x="156" y="153"/>
                    <a:pt x="165" y="142"/>
                    <a:pt x="171" y="129"/>
                  </a:cubicBezTo>
                  <a:cubicBezTo>
                    <a:pt x="155" y="119"/>
                    <a:pt x="155" y="119"/>
                    <a:pt x="155" y="119"/>
                  </a:cubicBezTo>
                  <a:cubicBezTo>
                    <a:pt x="157" y="114"/>
                    <a:pt x="159" y="108"/>
                    <a:pt x="160" y="101"/>
                  </a:cubicBezTo>
                  <a:lnTo>
                    <a:pt x="179" y="102"/>
                  </a:lnTo>
                  <a:close/>
                  <a:moveTo>
                    <a:pt x="94" y="133"/>
                  </a:moveTo>
                  <a:cubicBezTo>
                    <a:pt x="71" y="136"/>
                    <a:pt x="49" y="119"/>
                    <a:pt x="47" y="95"/>
                  </a:cubicBezTo>
                  <a:cubicBezTo>
                    <a:pt x="44" y="71"/>
                    <a:pt x="62" y="50"/>
                    <a:pt x="85" y="47"/>
                  </a:cubicBezTo>
                  <a:cubicBezTo>
                    <a:pt x="109" y="45"/>
                    <a:pt x="130" y="62"/>
                    <a:pt x="133" y="86"/>
                  </a:cubicBezTo>
                  <a:cubicBezTo>
                    <a:pt x="136" y="110"/>
                    <a:pt x="118" y="131"/>
                    <a:pt x="94" y="133"/>
                  </a:cubicBezTo>
                  <a:close/>
                  <a:moveTo>
                    <a:pt x="93" y="122"/>
                  </a:moveTo>
                  <a:cubicBezTo>
                    <a:pt x="76" y="124"/>
                    <a:pt x="60" y="111"/>
                    <a:pt x="58" y="94"/>
                  </a:cubicBezTo>
                  <a:cubicBezTo>
                    <a:pt x="56" y="76"/>
                    <a:pt x="69" y="61"/>
                    <a:pt x="87" y="59"/>
                  </a:cubicBezTo>
                  <a:cubicBezTo>
                    <a:pt x="104" y="57"/>
                    <a:pt x="120" y="70"/>
                    <a:pt x="121" y="87"/>
                  </a:cubicBezTo>
                  <a:cubicBezTo>
                    <a:pt x="123" y="104"/>
                    <a:pt x="111" y="120"/>
                    <a:pt x="93" y="122"/>
                  </a:cubicBezTo>
                  <a:close/>
                </a:path>
              </a:pathLst>
            </a:custGeom>
            <a:solidFill>
              <a:srgbClr val="D9E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2" name="Freeform 75"/>
            <p:cNvSpPr/>
            <p:nvPr userDrawn="1"/>
          </p:nvSpPr>
          <p:spPr bwMode="auto">
            <a:xfrm>
              <a:off x="3149507" y="5079004"/>
              <a:ext cx="1503468" cy="727645"/>
            </a:xfrm>
            <a:custGeom>
              <a:avLst/>
              <a:gdLst>
                <a:gd name="T0" fmla="*/ 510 w 579"/>
                <a:gd name="T1" fmla="*/ 0 h 280"/>
                <a:gd name="T2" fmla="*/ 69 w 579"/>
                <a:gd name="T3" fmla="*/ 0 h 280"/>
                <a:gd name="T4" fmla="*/ 0 w 579"/>
                <a:gd name="T5" fmla="*/ 280 h 280"/>
                <a:gd name="T6" fmla="*/ 579 w 579"/>
                <a:gd name="T7" fmla="*/ 280 h 280"/>
                <a:gd name="T8" fmla="*/ 510 w 579"/>
                <a:gd name="T9" fmla="*/ 0 h 280"/>
              </a:gdLst>
              <a:ahLst/>
              <a:cxnLst>
                <a:cxn ang="0">
                  <a:pos x="T0" y="T1"/>
                </a:cxn>
                <a:cxn ang="0">
                  <a:pos x="T2" y="T3"/>
                </a:cxn>
                <a:cxn ang="0">
                  <a:pos x="T4" y="T5"/>
                </a:cxn>
                <a:cxn ang="0">
                  <a:pos x="T6" y="T7"/>
                </a:cxn>
                <a:cxn ang="0">
                  <a:pos x="T8" y="T9"/>
                </a:cxn>
              </a:cxnLst>
              <a:rect l="0" t="0" r="r" b="b"/>
              <a:pathLst>
                <a:path w="579" h="280">
                  <a:moveTo>
                    <a:pt x="510" y="0"/>
                  </a:moveTo>
                  <a:cubicBezTo>
                    <a:pt x="69" y="0"/>
                    <a:pt x="69" y="0"/>
                    <a:pt x="69" y="0"/>
                  </a:cubicBezTo>
                  <a:cubicBezTo>
                    <a:pt x="69" y="0"/>
                    <a:pt x="88" y="280"/>
                    <a:pt x="0" y="280"/>
                  </a:cubicBezTo>
                  <a:cubicBezTo>
                    <a:pt x="28" y="280"/>
                    <a:pt x="551" y="280"/>
                    <a:pt x="579" y="280"/>
                  </a:cubicBezTo>
                  <a:cubicBezTo>
                    <a:pt x="492" y="280"/>
                    <a:pt x="510" y="0"/>
                    <a:pt x="510" y="0"/>
                  </a:cubicBezTo>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3" name="Freeform 77"/>
            <p:cNvSpPr/>
            <p:nvPr userDrawn="1"/>
          </p:nvSpPr>
          <p:spPr bwMode="auto">
            <a:xfrm>
              <a:off x="3315636" y="5298294"/>
              <a:ext cx="1079839" cy="217630"/>
            </a:xfrm>
            <a:custGeom>
              <a:avLst/>
              <a:gdLst>
                <a:gd name="T0" fmla="*/ 416 w 416"/>
                <a:gd name="T1" fmla="*/ 0 h 84"/>
                <a:gd name="T2" fmla="*/ 7 w 416"/>
                <a:gd name="T3" fmla="*/ 0 h 84"/>
                <a:gd name="T4" fmla="*/ 0 w 416"/>
                <a:gd name="T5" fmla="*/ 84 h 84"/>
                <a:gd name="T6" fmla="*/ 416 w 416"/>
                <a:gd name="T7" fmla="*/ 0 h 84"/>
              </a:gdLst>
              <a:ahLst/>
              <a:cxnLst>
                <a:cxn ang="0">
                  <a:pos x="T0" y="T1"/>
                </a:cxn>
                <a:cxn ang="0">
                  <a:pos x="T2" y="T3"/>
                </a:cxn>
                <a:cxn ang="0">
                  <a:pos x="T4" y="T5"/>
                </a:cxn>
                <a:cxn ang="0">
                  <a:pos x="T6" y="T7"/>
                </a:cxn>
              </a:cxnLst>
              <a:rect l="0" t="0" r="r" b="b"/>
              <a:pathLst>
                <a:path w="416" h="84">
                  <a:moveTo>
                    <a:pt x="416" y="0"/>
                  </a:moveTo>
                  <a:cubicBezTo>
                    <a:pt x="7" y="0"/>
                    <a:pt x="7" y="0"/>
                    <a:pt x="7" y="0"/>
                  </a:cubicBezTo>
                  <a:cubicBezTo>
                    <a:pt x="6" y="27"/>
                    <a:pt x="4" y="56"/>
                    <a:pt x="0" y="84"/>
                  </a:cubicBezTo>
                  <a:cubicBezTo>
                    <a:pt x="416" y="0"/>
                    <a:pt x="416" y="0"/>
                    <a:pt x="416" y="0"/>
                  </a:cubicBezTo>
                </a:path>
              </a:pathLst>
            </a:custGeom>
            <a:solidFill>
              <a:srgbClr val="6DA3F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4" name="Freeform 78"/>
            <p:cNvSpPr/>
            <p:nvPr userDrawn="1"/>
          </p:nvSpPr>
          <p:spPr bwMode="auto">
            <a:xfrm>
              <a:off x="1606168" y="2286375"/>
              <a:ext cx="4590145" cy="3011919"/>
            </a:xfrm>
            <a:custGeom>
              <a:avLst/>
              <a:gdLst>
                <a:gd name="T0" fmla="*/ 1709 w 1769"/>
                <a:gd name="T1" fmla="*/ 1161 h 1161"/>
                <a:gd name="T2" fmla="*/ 60 w 1769"/>
                <a:gd name="T3" fmla="*/ 1161 h 1161"/>
                <a:gd name="T4" fmla="*/ 0 w 1769"/>
                <a:gd name="T5" fmla="*/ 1101 h 1161"/>
                <a:gd name="T6" fmla="*/ 0 w 1769"/>
                <a:gd name="T7" fmla="*/ 61 h 1161"/>
                <a:gd name="T8" fmla="*/ 60 w 1769"/>
                <a:gd name="T9" fmla="*/ 0 h 1161"/>
                <a:gd name="T10" fmla="*/ 1709 w 1769"/>
                <a:gd name="T11" fmla="*/ 0 h 1161"/>
                <a:gd name="T12" fmla="*/ 1769 w 1769"/>
                <a:gd name="T13" fmla="*/ 61 h 1161"/>
                <a:gd name="T14" fmla="*/ 1769 w 1769"/>
                <a:gd name="T15" fmla="*/ 1101 h 1161"/>
                <a:gd name="T16" fmla="*/ 1709 w 1769"/>
                <a:gd name="T17" fmla="*/ 1161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9" h="1161">
                  <a:moveTo>
                    <a:pt x="1709" y="1161"/>
                  </a:moveTo>
                  <a:cubicBezTo>
                    <a:pt x="60" y="1161"/>
                    <a:pt x="60" y="1161"/>
                    <a:pt x="60" y="1161"/>
                  </a:cubicBezTo>
                  <a:cubicBezTo>
                    <a:pt x="27" y="1161"/>
                    <a:pt x="0" y="1134"/>
                    <a:pt x="0" y="1101"/>
                  </a:cubicBezTo>
                  <a:cubicBezTo>
                    <a:pt x="0" y="61"/>
                    <a:pt x="0" y="61"/>
                    <a:pt x="0" y="61"/>
                  </a:cubicBezTo>
                  <a:cubicBezTo>
                    <a:pt x="0" y="27"/>
                    <a:pt x="27" y="0"/>
                    <a:pt x="60" y="0"/>
                  </a:cubicBezTo>
                  <a:cubicBezTo>
                    <a:pt x="1709" y="0"/>
                    <a:pt x="1709" y="0"/>
                    <a:pt x="1709" y="0"/>
                  </a:cubicBezTo>
                  <a:cubicBezTo>
                    <a:pt x="1742" y="0"/>
                    <a:pt x="1769" y="27"/>
                    <a:pt x="1769" y="61"/>
                  </a:cubicBezTo>
                  <a:cubicBezTo>
                    <a:pt x="1769" y="1101"/>
                    <a:pt x="1769" y="1101"/>
                    <a:pt x="1769" y="1101"/>
                  </a:cubicBezTo>
                  <a:cubicBezTo>
                    <a:pt x="1769" y="1134"/>
                    <a:pt x="1742" y="1161"/>
                    <a:pt x="1709" y="1161"/>
                  </a:cubicBezTo>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5" name="Freeform 79"/>
            <p:cNvSpPr/>
            <p:nvPr userDrawn="1"/>
          </p:nvSpPr>
          <p:spPr bwMode="auto">
            <a:xfrm>
              <a:off x="1735749" y="2396020"/>
              <a:ext cx="4334307" cy="2795952"/>
            </a:xfrm>
            <a:custGeom>
              <a:avLst/>
              <a:gdLst>
                <a:gd name="T0" fmla="*/ 1643 w 1670"/>
                <a:gd name="T1" fmla="*/ 1078 h 1078"/>
                <a:gd name="T2" fmla="*/ 27 w 1670"/>
                <a:gd name="T3" fmla="*/ 1078 h 1078"/>
                <a:gd name="T4" fmla="*/ 0 w 1670"/>
                <a:gd name="T5" fmla="*/ 1051 h 1078"/>
                <a:gd name="T6" fmla="*/ 0 w 1670"/>
                <a:gd name="T7" fmla="*/ 26 h 1078"/>
                <a:gd name="T8" fmla="*/ 27 w 1670"/>
                <a:gd name="T9" fmla="*/ 0 h 1078"/>
                <a:gd name="T10" fmla="*/ 1643 w 1670"/>
                <a:gd name="T11" fmla="*/ 0 h 1078"/>
                <a:gd name="T12" fmla="*/ 1670 w 1670"/>
                <a:gd name="T13" fmla="*/ 26 h 1078"/>
                <a:gd name="T14" fmla="*/ 1670 w 1670"/>
                <a:gd name="T15" fmla="*/ 1051 h 1078"/>
                <a:gd name="T16" fmla="*/ 1643 w 1670"/>
                <a:gd name="T17" fmla="*/ 1078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0" h="1078">
                  <a:moveTo>
                    <a:pt x="1643" y="1078"/>
                  </a:moveTo>
                  <a:cubicBezTo>
                    <a:pt x="27" y="1078"/>
                    <a:pt x="27" y="1078"/>
                    <a:pt x="27" y="1078"/>
                  </a:cubicBezTo>
                  <a:cubicBezTo>
                    <a:pt x="12" y="1078"/>
                    <a:pt x="0" y="1066"/>
                    <a:pt x="0" y="1051"/>
                  </a:cubicBezTo>
                  <a:cubicBezTo>
                    <a:pt x="0" y="26"/>
                    <a:pt x="0" y="26"/>
                    <a:pt x="0" y="26"/>
                  </a:cubicBezTo>
                  <a:cubicBezTo>
                    <a:pt x="0" y="11"/>
                    <a:pt x="12" y="0"/>
                    <a:pt x="27" y="0"/>
                  </a:cubicBezTo>
                  <a:cubicBezTo>
                    <a:pt x="1643" y="0"/>
                    <a:pt x="1643" y="0"/>
                    <a:pt x="1643" y="0"/>
                  </a:cubicBezTo>
                  <a:cubicBezTo>
                    <a:pt x="1658" y="0"/>
                    <a:pt x="1670" y="11"/>
                    <a:pt x="1670" y="26"/>
                  </a:cubicBezTo>
                  <a:cubicBezTo>
                    <a:pt x="1670" y="1051"/>
                    <a:pt x="1670" y="1051"/>
                    <a:pt x="1670" y="1051"/>
                  </a:cubicBezTo>
                  <a:cubicBezTo>
                    <a:pt x="1670" y="1066"/>
                    <a:pt x="1658" y="1078"/>
                    <a:pt x="1643" y="1078"/>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6" name="Freeform 80"/>
            <p:cNvSpPr/>
            <p:nvPr userDrawn="1"/>
          </p:nvSpPr>
          <p:spPr bwMode="auto">
            <a:xfrm>
              <a:off x="1730766" y="2391037"/>
              <a:ext cx="4344274" cy="2805919"/>
            </a:xfrm>
            <a:custGeom>
              <a:avLst/>
              <a:gdLst>
                <a:gd name="T0" fmla="*/ 1645 w 1674"/>
                <a:gd name="T1" fmla="*/ 1080 h 1082"/>
                <a:gd name="T2" fmla="*/ 1645 w 1674"/>
                <a:gd name="T3" fmla="*/ 1078 h 1082"/>
                <a:gd name="T4" fmla="*/ 29 w 1674"/>
                <a:gd name="T5" fmla="*/ 1078 h 1082"/>
                <a:gd name="T6" fmla="*/ 11 w 1674"/>
                <a:gd name="T7" fmla="*/ 1071 h 1082"/>
                <a:gd name="T8" fmla="*/ 4 w 1674"/>
                <a:gd name="T9" fmla="*/ 1053 h 1082"/>
                <a:gd name="T10" fmla="*/ 4 w 1674"/>
                <a:gd name="T11" fmla="*/ 28 h 1082"/>
                <a:gd name="T12" fmla="*/ 11 w 1674"/>
                <a:gd name="T13" fmla="*/ 11 h 1082"/>
                <a:gd name="T14" fmla="*/ 29 w 1674"/>
                <a:gd name="T15" fmla="*/ 4 h 1082"/>
                <a:gd name="T16" fmla="*/ 1645 w 1674"/>
                <a:gd name="T17" fmla="*/ 4 h 1082"/>
                <a:gd name="T18" fmla="*/ 1662 w 1674"/>
                <a:gd name="T19" fmla="*/ 11 h 1082"/>
                <a:gd name="T20" fmla="*/ 1670 w 1674"/>
                <a:gd name="T21" fmla="*/ 28 h 1082"/>
                <a:gd name="T22" fmla="*/ 1670 w 1674"/>
                <a:gd name="T23" fmla="*/ 1053 h 1082"/>
                <a:gd name="T24" fmla="*/ 1662 w 1674"/>
                <a:gd name="T25" fmla="*/ 1071 h 1082"/>
                <a:gd name="T26" fmla="*/ 1645 w 1674"/>
                <a:gd name="T27" fmla="*/ 1078 h 1082"/>
                <a:gd name="T28" fmla="*/ 1645 w 1674"/>
                <a:gd name="T29" fmla="*/ 1080 h 1082"/>
                <a:gd name="T30" fmla="*/ 1645 w 1674"/>
                <a:gd name="T31" fmla="*/ 1082 h 1082"/>
                <a:gd name="T32" fmla="*/ 1674 w 1674"/>
                <a:gd name="T33" fmla="*/ 1053 h 1082"/>
                <a:gd name="T34" fmla="*/ 1674 w 1674"/>
                <a:gd name="T35" fmla="*/ 28 h 1082"/>
                <a:gd name="T36" fmla="*/ 1645 w 1674"/>
                <a:gd name="T37" fmla="*/ 0 h 1082"/>
                <a:gd name="T38" fmla="*/ 29 w 1674"/>
                <a:gd name="T39" fmla="*/ 0 h 1082"/>
                <a:gd name="T40" fmla="*/ 0 w 1674"/>
                <a:gd name="T41" fmla="*/ 28 h 1082"/>
                <a:gd name="T42" fmla="*/ 0 w 1674"/>
                <a:gd name="T43" fmla="*/ 1053 h 1082"/>
                <a:gd name="T44" fmla="*/ 29 w 1674"/>
                <a:gd name="T45" fmla="*/ 1082 h 1082"/>
                <a:gd name="T46" fmla="*/ 1645 w 1674"/>
                <a:gd name="T47" fmla="*/ 1082 h 1082"/>
                <a:gd name="T48" fmla="*/ 1645 w 1674"/>
                <a:gd name="T49" fmla="*/ 1080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4" h="1082">
                  <a:moveTo>
                    <a:pt x="1645" y="1080"/>
                  </a:moveTo>
                  <a:cubicBezTo>
                    <a:pt x="1645" y="1078"/>
                    <a:pt x="1645" y="1078"/>
                    <a:pt x="1645" y="1078"/>
                  </a:cubicBezTo>
                  <a:cubicBezTo>
                    <a:pt x="29" y="1078"/>
                    <a:pt x="29" y="1078"/>
                    <a:pt x="29" y="1078"/>
                  </a:cubicBezTo>
                  <a:cubicBezTo>
                    <a:pt x="22" y="1078"/>
                    <a:pt x="16" y="1075"/>
                    <a:pt x="11" y="1071"/>
                  </a:cubicBezTo>
                  <a:cubicBezTo>
                    <a:pt x="7" y="1066"/>
                    <a:pt x="4" y="1060"/>
                    <a:pt x="4" y="1053"/>
                  </a:cubicBezTo>
                  <a:cubicBezTo>
                    <a:pt x="4" y="28"/>
                    <a:pt x="4" y="28"/>
                    <a:pt x="4" y="28"/>
                  </a:cubicBezTo>
                  <a:cubicBezTo>
                    <a:pt x="4" y="21"/>
                    <a:pt x="7" y="15"/>
                    <a:pt x="11" y="11"/>
                  </a:cubicBezTo>
                  <a:cubicBezTo>
                    <a:pt x="16" y="6"/>
                    <a:pt x="22" y="4"/>
                    <a:pt x="29" y="4"/>
                  </a:cubicBezTo>
                  <a:cubicBezTo>
                    <a:pt x="1645" y="4"/>
                    <a:pt x="1645" y="4"/>
                    <a:pt x="1645" y="4"/>
                  </a:cubicBezTo>
                  <a:cubicBezTo>
                    <a:pt x="1652" y="4"/>
                    <a:pt x="1658" y="6"/>
                    <a:pt x="1662" y="11"/>
                  </a:cubicBezTo>
                  <a:cubicBezTo>
                    <a:pt x="1667" y="15"/>
                    <a:pt x="1670" y="21"/>
                    <a:pt x="1670" y="28"/>
                  </a:cubicBezTo>
                  <a:cubicBezTo>
                    <a:pt x="1670" y="1053"/>
                    <a:pt x="1670" y="1053"/>
                    <a:pt x="1670" y="1053"/>
                  </a:cubicBezTo>
                  <a:cubicBezTo>
                    <a:pt x="1670" y="1060"/>
                    <a:pt x="1667" y="1066"/>
                    <a:pt x="1662" y="1071"/>
                  </a:cubicBezTo>
                  <a:cubicBezTo>
                    <a:pt x="1658" y="1075"/>
                    <a:pt x="1652" y="1078"/>
                    <a:pt x="1645" y="1078"/>
                  </a:cubicBezTo>
                  <a:cubicBezTo>
                    <a:pt x="1645" y="1080"/>
                    <a:pt x="1645" y="1080"/>
                    <a:pt x="1645" y="1080"/>
                  </a:cubicBezTo>
                  <a:cubicBezTo>
                    <a:pt x="1645" y="1082"/>
                    <a:pt x="1645" y="1082"/>
                    <a:pt x="1645" y="1082"/>
                  </a:cubicBezTo>
                  <a:cubicBezTo>
                    <a:pt x="1661" y="1082"/>
                    <a:pt x="1674" y="1069"/>
                    <a:pt x="1674" y="1053"/>
                  </a:cubicBezTo>
                  <a:cubicBezTo>
                    <a:pt x="1674" y="28"/>
                    <a:pt x="1674" y="28"/>
                    <a:pt x="1674" y="28"/>
                  </a:cubicBezTo>
                  <a:cubicBezTo>
                    <a:pt x="1674" y="12"/>
                    <a:pt x="1661" y="0"/>
                    <a:pt x="1645" y="0"/>
                  </a:cubicBezTo>
                  <a:cubicBezTo>
                    <a:pt x="29" y="0"/>
                    <a:pt x="29" y="0"/>
                    <a:pt x="29" y="0"/>
                  </a:cubicBezTo>
                  <a:cubicBezTo>
                    <a:pt x="13" y="0"/>
                    <a:pt x="0" y="12"/>
                    <a:pt x="0" y="28"/>
                  </a:cubicBezTo>
                  <a:cubicBezTo>
                    <a:pt x="0" y="1053"/>
                    <a:pt x="0" y="1053"/>
                    <a:pt x="0" y="1053"/>
                  </a:cubicBezTo>
                  <a:cubicBezTo>
                    <a:pt x="0" y="1069"/>
                    <a:pt x="13" y="1082"/>
                    <a:pt x="29" y="1082"/>
                  </a:cubicBezTo>
                  <a:cubicBezTo>
                    <a:pt x="1645" y="1082"/>
                    <a:pt x="1645" y="1082"/>
                    <a:pt x="1645" y="1082"/>
                  </a:cubicBezTo>
                  <a:cubicBezTo>
                    <a:pt x="1645" y="1080"/>
                    <a:pt x="1645" y="1080"/>
                    <a:pt x="1645" y="1080"/>
                  </a:cubicBezTo>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7" name="Freeform 81"/>
            <p:cNvSpPr>
              <a:spLocks noEditPoints="1"/>
            </p:cNvSpPr>
            <p:nvPr userDrawn="1"/>
          </p:nvSpPr>
          <p:spPr bwMode="auto">
            <a:xfrm>
              <a:off x="1984942" y="3088778"/>
              <a:ext cx="505032" cy="694419"/>
            </a:xfrm>
            <a:custGeom>
              <a:avLst/>
              <a:gdLst>
                <a:gd name="T0" fmla="*/ 195 w 195"/>
                <a:gd name="T1" fmla="*/ 264 h 268"/>
                <a:gd name="T2" fmla="*/ 37 w 195"/>
                <a:gd name="T3" fmla="*/ 264 h 268"/>
                <a:gd name="T4" fmla="*/ 37 w 195"/>
                <a:gd name="T5" fmla="*/ 268 h 268"/>
                <a:gd name="T6" fmla="*/ 195 w 195"/>
                <a:gd name="T7" fmla="*/ 268 h 268"/>
                <a:gd name="T8" fmla="*/ 195 w 195"/>
                <a:gd name="T9" fmla="*/ 264 h 268"/>
                <a:gd name="T10" fmla="*/ 195 w 195"/>
                <a:gd name="T11" fmla="*/ 0 h 268"/>
                <a:gd name="T12" fmla="*/ 27 w 195"/>
                <a:gd name="T13" fmla="*/ 0 h 268"/>
                <a:gd name="T14" fmla="*/ 0 w 195"/>
                <a:gd name="T15" fmla="*/ 27 h 268"/>
                <a:gd name="T16" fmla="*/ 0 w 195"/>
                <a:gd name="T17" fmla="*/ 241 h 268"/>
                <a:gd name="T18" fmla="*/ 2 w 195"/>
                <a:gd name="T19" fmla="*/ 252 h 268"/>
                <a:gd name="T20" fmla="*/ 6 w 195"/>
                <a:gd name="T21" fmla="*/ 251 h 268"/>
                <a:gd name="T22" fmla="*/ 4 w 195"/>
                <a:gd name="T23" fmla="*/ 241 h 268"/>
                <a:gd name="T24" fmla="*/ 4 w 195"/>
                <a:gd name="T25" fmla="*/ 27 h 268"/>
                <a:gd name="T26" fmla="*/ 11 w 195"/>
                <a:gd name="T27" fmla="*/ 11 h 268"/>
                <a:gd name="T28" fmla="*/ 27 w 195"/>
                <a:gd name="T29" fmla="*/ 4 h 268"/>
                <a:gd name="T30" fmla="*/ 195 w 195"/>
                <a:gd name="T31" fmla="*/ 4 h 268"/>
                <a:gd name="T32" fmla="*/ 195 w 195"/>
                <a:gd name="T3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268">
                  <a:moveTo>
                    <a:pt x="195" y="264"/>
                  </a:moveTo>
                  <a:cubicBezTo>
                    <a:pt x="37" y="264"/>
                    <a:pt x="37" y="264"/>
                    <a:pt x="37" y="264"/>
                  </a:cubicBezTo>
                  <a:cubicBezTo>
                    <a:pt x="37" y="266"/>
                    <a:pt x="37" y="267"/>
                    <a:pt x="37" y="268"/>
                  </a:cubicBezTo>
                  <a:cubicBezTo>
                    <a:pt x="195" y="268"/>
                    <a:pt x="195" y="268"/>
                    <a:pt x="195" y="268"/>
                  </a:cubicBezTo>
                  <a:cubicBezTo>
                    <a:pt x="195" y="264"/>
                    <a:pt x="195" y="264"/>
                    <a:pt x="195" y="264"/>
                  </a:cubicBezTo>
                  <a:moveTo>
                    <a:pt x="195" y="0"/>
                  </a:moveTo>
                  <a:cubicBezTo>
                    <a:pt x="27" y="0"/>
                    <a:pt x="27" y="0"/>
                    <a:pt x="27" y="0"/>
                  </a:cubicBezTo>
                  <a:cubicBezTo>
                    <a:pt x="12" y="0"/>
                    <a:pt x="0" y="12"/>
                    <a:pt x="0" y="27"/>
                  </a:cubicBezTo>
                  <a:cubicBezTo>
                    <a:pt x="0" y="241"/>
                    <a:pt x="0" y="241"/>
                    <a:pt x="0" y="241"/>
                  </a:cubicBezTo>
                  <a:cubicBezTo>
                    <a:pt x="0" y="245"/>
                    <a:pt x="1" y="249"/>
                    <a:pt x="2" y="252"/>
                  </a:cubicBezTo>
                  <a:cubicBezTo>
                    <a:pt x="6" y="251"/>
                    <a:pt x="6" y="251"/>
                    <a:pt x="6" y="251"/>
                  </a:cubicBezTo>
                  <a:cubicBezTo>
                    <a:pt x="5" y="248"/>
                    <a:pt x="4" y="245"/>
                    <a:pt x="4" y="241"/>
                  </a:cubicBezTo>
                  <a:cubicBezTo>
                    <a:pt x="4" y="27"/>
                    <a:pt x="4" y="27"/>
                    <a:pt x="4" y="27"/>
                  </a:cubicBezTo>
                  <a:cubicBezTo>
                    <a:pt x="4" y="21"/>
                    <a:pt x="6" y="15"/>
                    <a:pt x="11" y="11"/>
                  </a:cubicBezTo>
                  <a:cubicBezTo>
                    <a:pt x="15" y="7"/>
                    <a:pt x="21" y="4"/>
                    <a:pt x="27" y="4"/>
                  </a:cubicBezTo>
                  <a:cubicBezTo>
                    <a:pt x="195" y="4"/>
                    <a:pt x="195" y="4"/>
                    <a:pt x="195" y="4"/>
                  </a:cubicBezTo>
                  <a:cubicBezTo>
                    <a:pt x="195" y="0"/>
                    <a:pt x="195" y="0"/>
                    <a:pt x="195"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8" name="Freeform 82"/>
            <p:cNvSpPr>
              <a:spLocks noEditPoints="1"/>
            </p:cNvSpPr>
            <p:nvPr userDrawn="1"/>
          </p:nvSpPr>
          <p:spPr bwMode="auto">
            <a:xfrm>
              <a:off x="2101233" y="3284811"/>
              <a:ext cx="340565" cy="330597"/>
            </a:xfrm>
            <a:custGeom>
              <a:avLst/>
              <a:gdLst>
                <a:gd name="T0" fmla="*/ 5 w 131"/>
                <a:gd name="T1" fmla="*/ 123 h 127"/>
                <a:gd name="T2" fmla="*/ 65 w 131"/>
                <a:gd name="T3" fmla="*/ 6 h 127"/>
                <a:gd name="T4" fmla="*/ 126 w 131"/>
                <a:gd name="T5" fmla="*/ 123 h 127"/>
                <a:gd name="T6" fmla="*/ 5 w 131"/>
                <a:gd name="T7" fmla="*/ 123 h 127"/>
                <a:gd name="T8" fmla="*/ 64 w 131"/>
                <a:gd name="T9" fmla="*/ 3 h 127"/>
                <a:gd name="T10" fmla="*/ 65 w 131"/>
                <a:gd name="T11" fmla="*/ 2 h 127"/>
                <a:gd name="T12" fmla="*/ 64 w 131"/>
                <a:gd name="T13" fmla="*/ 3 h 127"/>
                <a:gd name="T14" fmla="*/ 65 w 131"/>
                <a:gd name="T15" fmla="*/ 0 h 127"/>
                <a:gd name="T16" fmla="*/ 64 w 131"/>
                <a:gd name="T17" fmla="*/ 1 h 127"/>
                <a:gd name="T18" fmla="*/ 64 w 131"/>
                <a:gd name="T19" fmla="*/ 1 h 127"/>
                <a:gd name="T20" fmla="*/ 0 w 131"/>
                <a:gd name="T21" fmla="*/ 124 h 127"/>
                <a:gd name="T22" fmla="*/ 0 w 131"/>
                <a:gd name="T23" fmla="*/ 126 h 127"/>
                <a:gd name="T24" fmla="*/ 2 w 131"/>
                <a:gd name="T25" fmla="*/ 127 h 127"/>
                <a:gd name="T26" fmla="*/ 129 w 131"/>
                <a:gd name="T27" fmla="*/ 127 h 127"/>
                <a:gd name="T28" fmla="*/ 131 w 131"/>
                <a:gd name="T29" fmla="*/ 126 h 127"/>
                <a:gd name="T30" fmla="*/ 131 w 131"/>
                <a:gd name="T31" fmla="*/ 124 h 127"/>
                <a:gd name="T32" fmla="*/ 67 w 131"/>
                <a:gd name="T33" fmla="*/ 1 h 127"/>
                <a:gd name="T34" fmla="*/ 65 w 131"/>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1" h="127">
                  <a:moveTo>
                    <a:pt x="5" y="123"/>
                  </a:moveTo>
                  <a:cubicBezTo>
                    <a:pt x="65" y="6"/>
                    <a:pt x="65" y="6"/>
                    <a:pt x="65" y="6"/>
                  </a:cubicBezTo>
                  <a:cubicBezTo>
                    <a:pt x="126" y="123"/>
                    <a:pt x="126" y="123"/>
                    <a:pt x="126" y="123"/>
                  </a:cubicBezTo>
                  <a:cubicBezTo>
                    <a:pt x="5" y="123"/>
                    <a:pt x="5" y="123"/>
                    <a:pt x="5" y="123"/>
                  </a:cubicBezTo>
                  <a:moveTo>
                    <a:pt x="64" y="3"/>
                  </a:moveTo>
                  <a:cubicBezTo>
                    <a:pt x="65" y="2"/>
                    <a:pt x="65" y="2"/>
                    <a:pt x="65" y="2"/>
                  </a:cubicBezTo>
                  <a:cubicBezTo>
                    <a:pt x="64" y="3"/>
                    <a:pt x="64" y="3"/>
                    <a:pt x="64" y="3"/>
                  </a:cubicBezTo>
                  <a:moveTo>
                    <a:pt x="65" y="0"/>
                  </a:moveTo>
                  <a:cubicBezTo>
                    <a:pt x="65" y="0"/>
                    <a:pt x="64" y="0"/>
                    <a:pt x="64" y="1"/>
                  </a:cubicBezTo>
                  <a:cubicBezTo>
                    <a:pt x="64" y="1"/>
                    <a:pt x="64" y="1"/>
                    <a:pt x="64" y="1"/>
                  </a:cubicBezTo>
                  <a:cubicBezTo>
                    <a:pt x="0" y="124"/>
                    <a:pt x="0" y="124"/>
                    <a:pt x="0" y="124"/>
                  </a:cubicBezTo>
                  <a:cubicBezTo>
                    <a:pt x="0" y="125"/>
                    <a:pt x="0" y="126"/>
                    <a:pt x="0" y="126"/>
                  </a:cubicBezTo>
                  <a:cubicBezTo>
                    <a:pt x="0" y="127"/>
                    <a:pt x="1" y="127"/>
                    <a:pt x="2" y="127"/>
                  </a:cubicBezTo>
                  <a:cubicBezTo>
                    <a:pt x="129" y="127"/>
                    <a:pt x="129" y="127"/>
                    <a:pt x="129" y="127"/>
                  </a:cubicBezTo>
                  <a:cubicBezTo>
                    <a:pt x="130" y="127"/>
                    <a:pt x="131" y="127"/>
                    <a:pt x="131" y="126"/>
                  </a:cubicBezTo>
                  <a:cubicBezTo>
                    <a:pt x="131" y="126"/>
                    <a:pt x="131" y="125"/>
                    <a:pt x="131" y="124"/>
                  </a:cubicBezTo>
                  <a:cubicBezTo>
                    <a:pt x="67" y="1"/>
                    <a:pt x="67" y="1"/>
                    <a:pt x="67" y="1"/>
                  </a:cubicBezTo>
                  <a:cubicBezTo>
                    <a:pt x="67" y="0"/>
                    <a:pt x="66" y="0"/>
                    <a:pt x="65"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9" name="Freeform 84"/>
            <p:cNvSpPr/>
            <p:nvPr userDrawn="1"/>
          </p:nvSpPr>
          <p:spPr bwMode="auto">
            <a:xfrm>
              <a:off x="2461733" y="3298101"/>
              <a:ext cx="28242" cy="74759"/>
            </a:xfrm>
            <a:custGeom>
              <a:avLst/>
              <a:gdLst>
                <a:gd name="T0" fmla="*/ 11 w 11"/>
                <a:gd name="T1" fmla="*/ 0 h 29"/>
                <a:gd name="T2" fmla="*/ 0 w 11"/>
                <a:gd name="T3" fmla="*/ 14 h 29"/>
                <a:gd name="T4" fmla="*/ 11 w 11"/>
                <a:gd name="T5" fmla="*/ 29 h 29"/>
                <a:gd name="T6" fmla="*/ 11 w 11"/>
                <a:gd name="T7" fmla="*/ 25 h 29"/>
                <a:gd name="T8" fmla="*/ 4 w 11"/>
                <a:gd name="T9" fmla="*/ 14 h 29"/>
                <a:gd name="T10" fmla="*/ 11 w 11"/>
                <a:gd name="T11" fmla="*/ 4 h 29"/>
                <a:gd name="T12" fmla="*/ 11 w 1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1" h="29">
                  <a:moveTo>
                    <a:pt x="11" y="0"/>
                  </a:moveTo>
                  <a:cubicBezTo>
                    <a:pt x="5" y="2"/>
                    <a:pt x="0" y="7"/>
                    <a:pt x="0" y="14"/>
                  </a:cubicBezTo>
                  <a:cubicBezTo>
                    <a:pt x="0" y="21"/>
                    <a:pt x="5" y="27"/>
                    <a:pt x="11" y="29"/>
                  </a:cubicBezTo>
                  <a:cubicBezTo>
                    <a:pt x="11" y="25"/>
                    <a:pt x="11" y="25"/>
                    <a:pt x="11" y="25"/>
                  </a:cubicBezTo>
                  <a:cubicBezTo>
                    <a:pt x="7" y="23"/>
                    <a:pt x="4" y="19"/>
                    <a:pt x="4" y="14"/>
                  </a:cubicBezTo>
                  <a:cubicBezTo>
                    <a:pt x="4" y="10"/>
                    <a:pt x="7" y="6"/>
                    <a:pt x="11" y="4"/>
                  </a:cubicBezTo>
                  <a:cubicBezTo>
                    <a:pt x="11" y="0"/>
                    <a:pt x="11" y="0"/>
                    <a:pt x="11"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0" name="Freeform 85"/>
            <p:cNvSpPr/>
            <p:nvPr userDrawn="1"/>
          </p:nvSpPr>
          <p:spPr bwMode="auto">
            <a:xfrm>
              <a:off x="5324136" y="3088778"/>
              <a:ext cx="506694" cy="694419"/>
            </a:xfrm>
            <a:custGeom>
              <a:avLst/>
              <a:gdLst>
                <a:gd name="T0" fmla="*/ 168 w 195"/>
                <a:gd name="T1" fmla="*/ 0 h 268"/>
                <a:gd name="T2" fmla="*/ 0 w 195"/>
                <a:gd name="T3" fmla="*/ 0 h 268"/>
                <a:gd name="T4" fmla="*/ 0 w 195"/>
                <a:gd name="T5" fmla="*/ 4 h 268"/>
                <a:gd name="T6" fmla="*/ 168 w 195"/>
                <a:gd name="T7" fmla="*/ 4 h 268"/>
                <a:gd name="T8" fmla="*/ 184 w 195"/>
                <a:gd name="T9" fmla="*/ 11 h 268"/>
                <a:gd name="T10" fmla="*/ 191 w 195"/>
                <a:gd name="T11" fmla="*/ 27 h 268"/>
                <a:gd name="T12" fmla="*/ 191 w 195"/>
                <a:gd name="T13" fmla="*/ 241 h 268"/>
                <a:gd name="T14" fmla="*/ 184 w 195"/>
                <a:gd name="T15" fmla="*/ 258 h 268"/>
                <a:gd name="T16" fmla="*/ 168 w 195"/>
                <a:gd name="T17" fmla="*/ 264 h 268"/>
                <a:gd name="T18" fmla="*/ 168 w 195"/>
                <a:gd name="T19" fmla="*/ 264 h 268"/>
                <a:gd name="T20" fmla="*/ 0 w 195"/>
                <a:gd name="T21" fmla="*/ 264 h 268"/>
                <a:gd name="T22" fmla="*/ 0 w 195"/>
                <a:gd name="T23" fmla="*/ 268 h 268"/>
                <a:gd name="T24" fmla="*/ 168 w 195"/>
                <a:gd name="T25" fmla="*/ 268 h 268"/>
                <a:gd name="T26" fmla="*/ 195 w 195"/>
                <a:gd name="T27" fmla="*/ 241 h 268"/>
                <a:gd name="T28" fmla="*/ 195 w 195"/>
                <a:gd name="T29" fmla="*/ 27 h 268"/>
                <a:gd name="T30" fmla="*/ 168 w 195"/>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5" h="268">
                  <a:moveTo>
                    <a:pt x="168" y="0"/>
                  </a:moveTo>
                  <a:cubicBezTo>
                    <a:pt x="0" y="0"/>
                    <a:pt x="0" y="0"/>
                    <a:pt x="0" y="0"/>
                  </a:cubicBezTo>
                  <a:cubicBezTo>
                    <a:pt x="0" y="4"/>
                    <a:pt x="0" y="4"/>
                    <a:pt x="0" y="4"/>
                  </a:cubicBezTo>
                  <a:cubicBezTo>
                    <a:pt x="168" y="4"/>
                    <a:pt x="168" y="4"/>
                    <a:pt x="168" y="4"/>
                  </a:cubicBezTo>
                  <a:cubicBezTo>
                    <a:pt x="174" y="4"/>
                    <a:pt x="180" y="7"/>
                    <a:pt x="184" y="11"/>
                  </a:cubicBezTo>
                  <a:cubicBezTo>
                    <a:pt x="189" y="15"/>
                    <a:pt x="191" y="21"/>
                    <a:pt x="191" y="27"/>
                  </a:cubicBezTo>
                  <a:cubicBezTo>
                    <a:pt x="191" y="241"/>
                    <a:pt x="191" y="241"/>
                    <a:pt x="191" y="241"/>
                  </a:cubicBezTo>
                  <a:cubicBezTo>
                    <a:pt x="191" y="248"/>
                    <a:pt x="189" y="254"/>
                    <a:pt x="184" y="258"/>
                  </a:cubicBezTo>
                  <a:cubicBezTo>
                    <a:pt x="180" y="262"/>
                    <a:pt x="174" y="264"/>
                    <a:pt x="168" y="264"/>
                  </a:cubicBezTo>
                  <a:cubicBezTo>
                    <a:pt x="168" y="264"/>
                    <a:pt x="168" y="264"/>
                    <a:pt x="168" y="264"/>
                  </a:cubicBezTo>
                  <a:cubicBezTo>
                    <a:pt x="0" y="264"/>
                    <a:pt x="0" y="264"/>
                    <a:pt x="0" y="264"/>
                  </a:cubicBezTo>
                  <a:cubicBezTo>
                    <a:pt x="0" y="268"/>
                    <a:pt x="0" y="268"/>
                    <a:pt x="0" y="268"/>
                  </a:cubicBezTo>
                  <a:cubicBezTo>
                    <a:pt x="168" y="268"/>
                    <a:pt x="168" y="268"/>
                    <a:pt x="168" y="268"/>
                  </a:cubicBezTo>
                  <a:cubicBezTo>
                    <a:pt x="183" y="268"/>
                    <a:pt x="195" y="256"/>
                    <a:pt x="195" y="241"/>
                  </a:cubicBezTo>
                  <a:cubicBezTo>
                    <a:pt x="195" y="27"/>
                    <a:pt x="195" y="27"/>
                    <a:pt x="195" y="27"/>
                  </a:cubicBezTo>
                  <a:cubicBezTo>
                    <a:pt x="195" y="12"/>
                    <a:pt x="183" y="0"/>
                    <a:pt x="168"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1" name="Freeform 86"/>
            <p:cNvSpPr>
              <a:spLocks noEditPoints="1"/>
            </p:cNvSpPr>
            <p:nvPr userDrawn="1"/>
          </p:nvSpPr>
          <p:spPr bwMode="auto">
            <a:xfrm>
              <a:off x="5324136" y="3284811"/>
              <a:ext cx="267468" cy="330597"/>
            </a:xfrm>
            <a:custGeom>
              <a:avLst/>
              <a:gdLst>
                <a:gd name="T0" fmla="*/ 36 w 103"/>
                <a:gd name="T1" fmla="*/ 3 h 127"/>
                <a:gd name="T2" fmla="*/ 37 w 103"/>
                <a:gd name="T3" fmla="*/ 2 h 127"/>
                <a:gd name="T4" fmla="*/ 36 w 103"/>
                <a:gd name="T5" fmla="*/ 3 h 127"/>
                <a:gd name="T6" fmla="*/ 37 w 103"/>
                <a:gd name="T7" fmla="*/ 0 h 127"/>
                <a:gd name="T8" fmla="*/ 36 w 103"/>
                <a:gd name="T9" fmla="*/ 1 h 127"/>
                <a:gd name="T10" fmla="*/ 36 w 103"/>
                <a:gd name="T11" fmla="*/ 1 h 127"/>
                <a:gd name="T12" fmla="*/ 0 w 103"/>
                <a:gd name="T13" fmla="*/ 69 h 127"/>
                <a:gd name="T14" fmla="*/ 0 w 103"/>
                <a:gd name="T15" fmla="*/ 78 h 127"/>
                <a:gd name="T16" fmla="*/ 37 w 103"/>
                <a:gd name="T17" fmla="*/ 6 h 127"/>
                <a:gd name="T18" fmla="*/ 98 w 103"/>
                <a:gd name="T19" fmla="*/ 123 h 127"/>
                <a:gd name="T20" fmla="*/ 0 w 103"/>
                <a:gd name="T21" fmla="*/ 123 h 127"/>
                <a:gd name="T22" fmla="*/ 0 w 103"/>
                <a:gd name="T23" fmla="*/ 127 h 127"/>
                <a:gd name="T24" fmla="*/ 101 w 103"/>
                <a:gd name="T25" fmla="*/ 127 h 127"/>
                <a:gd name="T26" fmla="*/ 103 w 103"/>
                <a:gd name="T27" fmla="*/ 126 h 127"/>
                <a:gd name="T28" fmla="*/ 103 w 103"/>
                <a:gd name="T29" fmla="*/ 124 h 127"/>
                <a:gd name="T30" fmla="*/ 39 w 103"/>
                <a:gd name="T31" fmla="*/ 1 h 127"/>
                <a:gd name="T32" fmla="*/ 37 w 103"/>
                <a:gd name="T33"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27">
                  <a:moveTo>
                    <a:pt x="36" y="3"/>
                  </a:moveTo>
                  <a:cubicBezTo>
                    <a:pt x="37" y="2"/>
                    <a:pt x="37" y="2"/>
                    <a:pt x="37" y="2"/>
                  </a:cubicBezTo>
                  <a:cubicBezTo>
                    <a:pt x="36" y="3"/>
                    <a:pt x="36" y="3"/>
                    <a:pt x="36" y="3"/>
                  </a:cubicBezTo>
                  <a:moveTo>
                    <a:pt x="37" y="0"/>
                  </a:moveTo>
                  <a:cubicBezTo>
                    <a:pt x="37" y="0"/>
                    <a:pt x="36" y="0"/>
                    <a:pt x="36" y="1"/>
                  </a:cubicBezTo>
                  <a:cubicBezTo>
                    <a:pt x="36" y="1"/>
                    <a:pt x="36" y="1"/>
                    <a:pt x="36" y="1"/>
                  </a:cubicBezTo>
                  <a:cubicBezTo>
                    <a:pt x="0" y="69"/>
                    <a:pt x="0" y="69"/>
                    <a:pt x="0" y="69"/>
                  </a:cubicBezTo>
                  <a:cubicBezTo>
                    <a:pt x="0" y="78"/>
                    <a:pt x="0" y="78"/>
                    <a:pt x="0" y="78"/>
                  </a:cubicBezTo>
                  <a:cubicBezTo>
                    <a:pt x="37" y="6"/>
                    <a:pt x="37" y="6"/>
                    <a:pt x="37" y="6"/>
                  </a:cubicBezTo>
                  <a:cubicBezTo>
                    <a:pt x="98" y="123"/>
                    <a:pt x="98" y="123"/>
                    <a:pt x="98" y="123"/>
                  </a:cubicBezTo>
                  <a:cubicBezTo>
                    <a:pt x="0" y="123"/>
                    <a:pt x="0" y="123"/>
                    <a:pt x="0" y="123"/>
                  </a:cubicBezTo>
                  <a:cubicBezTo>
                    <a:pt x="0" y="127"/>
                    <a:pt x="0" y="127"/>
                    <a:pt x="0" y="127"/>
                  </a:cubicBezTo>
                  <a:cubicBezTo>
                    <a:pt x="101" y="127"/>
                    <a:pt x="101" y="127"/>
                    <a:pt x="101" y="127"/>
                  </a:cubicBezTo>
                  <a:cubicBezTo>
                    <a:pt x="102" y="127"/>
                    <a:pt x="103" y="127"/>
                    <a:pt x="103" y="126"/>
                  </a:cubicBezTo>
                  <a:cubicBezTo>
                    <a:pt x="103" y="126"/>
                    <a:pt x="103" y="125"/>
                    <a:pt x="103" y="124"/>
                  </a:cubicBezTo>
                  <a:cubicBezTo>
                    <a:pt x="39" y="1"/>
                    <a:pt x="39" y="1"/>
                    <a:pt x="39" y="1"/>
                  </a:cubicBezTo>
                  <a:cubicBezTo>
                    <a:pt x="39" y="0"/>
                    <a:pt x="38" y="0"/>
                    <a:pt x="37"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2" name="Freeform 95"/>
            <p:cNvSpPr/>
            <p:nvPr userDrawn="1"/>
          </p:nvSpPr>
          <p:spPr bwMode="auto">
            <a:xfrm>
              <a:off x="2988362" y="4884632"/>
              <a:ext cx="1837387" cy="99677"/>
            </a:xfrm>
            <a:custGeom>
              <a:avLst/>
              <a:gdLst>
                <a:gd name="T0" fmla="*/ 19 w 708"/>
                <a:gd name="T1" fmla="*/ 38 h 38"/>
                <a:gd name="T2" fmla="*/ 0 w 708"/>
                <a:gd name="T3" fmla="*/ 19 h 38"/>
                <a:gd name="T4" fmla="*/ 19 w 708"/>
                <a:gd name="T5" fmla="*/ 0 h 38"/>
                <a:gd name="T6" fmla="*/ 689 w 708"/>
                <a:gd name="T7" fmla="*/ 0 h 38"/>
                <a:gd name="T8" fmla="*/ 708 w 708"/>
                <a:gd name="T9" fmla="*/ 19 h 38"/>
                <a:gd name="T10" fmla="*/ 689 w 708"/>
                <a:gd name="T11" fmla="*/ 38 h 38"/>
                <a:gd name="T12" fmla="*/ 19 w 708"/>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708" h="38">
                  <a:moveTo>
                    <a:pt x="19" y="38"/>
                  </a:moveTo>
                  <a:cubicBezTo>
                    <a:pt x="9" y="38"/>
                    <a:pt x="0" y="30"/>
                    <a:pt x="0" y="19"/>
                  </a:cubicBezTo>
                  <a:cubicBezTo>
                    <a:pt x="0" y="8"/>
                    <a:pt x="9" y="0"/>
                    <a:pt x="19" y="0"/>
                  </a:cubicBezTo>
                  <a:cubicBezTo>
                    <a:pt x="689" y="0"/>
                    <a:pt x="689" y="0"/>
                    <a:pt x="689" y="0"/>
                  </a:cubicBezTo>
                  <a:cubicBezTo>
                    <a:pt x="699" y="0"/>
                    <a:pt x="708" y="8"/>
                    <a:pt x="708" y="19"/>
                  </a:cubicBezTo>
                  <a:cubicBezTo>
                    <a:pt x="708" y="30"/>
                    <a:pt x="699" y="38"/>
                    <a:pt x="689" y="38"/>
                  </a:cubicBezTo>
                  <a:lnTo>
                    <a:pt x="19" y="3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3" name="Freeform 96"/>
            <p:cNvSpPr>
              <a:spLocks noEditPoints="1"/>
            </p:cNvSpPr>
            <p:nvPr userDrawn="1"/>
          </p:nvSpPr>
          <p:spPr bwMode="auto">
            <a:xfrm>
              <a:off x="2983378" y="4879649"/>
              <a:ext cx="1849017" cy="109645"/>
            </a:xfrm>
            <a:custGeom>
              <a:avLst/>
              <a:gdLst>
                <a:gd name="T0" fmla="*/ 691 w 712"/>
                <a:gd name="T1" fmla="*/ 4 h 42"/>
                <a:gd name="T2" fmla="*/ 708 w 712"/>
                <a:gd name="T3" fmla="*/ 21 h 42"/>
                <a:gd name="T4" fmla="*/ 691 w 712"/>
                <a:gd name="T5" fmla="*/ 38 h 42"/>
                <a:gd name="T6" fmla="*/ 21 w 712"/>
                <a:gd name="T7" fmla="*/ 38 h 42"/>
                <a:gd name="T8" fmla="*/ 4 w 712"/>
                <a:gd name="T9" fmla="*/ 21 h 42"/>
                <a:gd name="T10" fmla="*/ 21 w 712"/>
                <a:gd name="T11" fmla="*/ 4 h 42"/>
                <a:gd name="T12" fmla="*/ 691 w 712"/>
                <a:gd name="T13" fmla="*/ 4 h 42"/>
                <a:gd name="T14" fmla="*/ 691 w 712"/>
                <a:gd name="T15" fmla="*/ 0 h 42"/>
                <a:gd name="T16" fmla="*/ 21 w 712"/>
                <a:gd name="T17" fmla="*/ 0 h 42"/>
                <a:gd name="T18" fmla="*/ 0 w 712"/>
                <a:gd name="T19" fmla="*/ 21 h 42"/>
                <a:gd name="T20" fmla="*/ 21 w 712"/>
                <a:gd name="T21" fmla="*/ 42 h 42"/>
                <a:gd name="T22" fmla="*/ 691 w 712"/>
                <a:gd name="T23" fmla="*/ 42 h 42"/>
                <a:gd name="T24" fmla="*/ 712 w 712"/>
                <a:gd name="T25" fmla="*/ 21 h 42"/>
                <a:gd name="T26" fmla="*/ 691 w 712"/>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2" h="42">
                  <a:moveTo>
                    <a:pt x="691" y="4"/>
                  </a:moveTo>
                  <a:cubicBezTo>
                    <a:pt x="700" y="4"/>
                    <a:pt x="708" y="12"/>
                    <a:pt x="708" y="21"/>
                  </a:cubicBezTo>
                  <a:cubicBezTo>
                    <a:pt x="708" y="31"/>
                    <a:pt x="700" y="38"/>
                    <a:pt x="691" y="38"/>
                  </a:cubicBezTo>
                  <a:cubicBezTo>
                    <a:pt x="21" y="38"/>
                    <a:pt x="21" y="38"/>
                    <a:pt x="21" y="38"/>
                  </a:cubicBezTo>
                  <a:cubicBezTo>
                    <a:pt x="12" y="38"/>
                    <a:pt x="4" y="31"/>
                    <a:pt x="4" y="21"/>
                  </a:cubicBezTo>
                  <a:cubicBezTo>
                    <a:pt x="4" y="12"/>
                    <a:pt x="12" y="4"/>
                    <a:pt x="21" y="4"/>
                  </a:cubicBezTo>
                  <a:cubicBezTo>
                    <a:pt x="691" y="4"/>
                    <a:pt x="691" y="4"/>
                    <a:pt x="691" y="4"/>
                  </a:cubicBezTo>
                  <a:moveTo>
                    <a:pt x="691" y="0"/>
                  </a:moveTo>
                  <a:cubicBezTo>
                    <a:pt x="21" y="0"/>
                    <a:pt x="21" y="0"/>
                    <a:pt x="21" y="0"/>
                  </a:cubicBezTo>
                  <a:cubicBezTo>
                    <a:pt x="10" y="0"/>
                    <a:pt x="0" y="9"/>
                    <a:pt x="0" y="21"/>
                  </a:cubicBezTo>
                  <a:cubicBezTo>
                    <a:pt x="0" y="33"/>
                    <a:pt x="10" y="42"/>
                    <a:pt x="21" y="42"/>
                  </a:cubicBezTo>
                  <a:cubicBezTo>
                    <a:pt x="691" y="42"/>
                    <a:pt x="691" y="42"/>
                    <a:pt x="691" y="42"/>
                  </a:cubicBezTo>
                  <a:cubicBezTo>
                    <a:pt x="702" y="42"/>
                    <a:pt x="712" y="33"/>
                    <a:pt x="712" y="21"/>
                  </a:cubicBezTo>
                  <a:cubicBezTo>
                    <a:pt x="712" y="9"/>
                    <a:pt x="702" y="0"/>
                    <a:pt x="691" y="0"/>
                  </a:cubicBez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4" name="Freeform 97"/>
            <p:cNvSpPr/>
            <p:nvPr userDrawn="1"/>
          </p:nvSpPr>
          <p:spPr bwMode="auto">
            <a:xfrm>
              <a:off x="2993346" y="4889617"/>
              <a:ext cx="1267565" cy="89710"/>
            </a:xfrm>
            <a:custGeom>
              <a:avLst/>
              <a:gdLst>
                <a:gd name="T0" fmla="*/ 488 w 488"/>
                <a:gd name="T1" fmla="*/ 0 h 34"/>
                <a:gd name="T2" fmla="*/ 17 w 488"/>
                <a:gd name="T3" fmla="*/ 0 h 34"/>
                <a:gd name="T4" fmla="*/ 0 w 488"/>
                <a:gd name="T5" fmla="*/ 17 h 34"/>
                <a:gd name="T6" fmla="*/ 17 w 488"/>
                <a:gd name="T7" fmla="*/ 34 h 34"/>
                <a:gd name="T8" fmla="*/ 488 w 488"/>
                <a:gd name="T9" fmla="*/ 34 h 34"/>
                <a:gd name="T10" fmla="*/ 488 w 488"/>
                <a:gd name="T11" fmla="*/ 0 h 34"/>
              </a:gdLst>
              <a:ahLst/>
              <a:cxnLst>
                <a:cxn ang="0">
                  <a:pos x="T0" y="T1"/>
                </a:cxn>
                <a:cxn ang="0">
                  <a:pos x="T2" y="T3"/>
                </a:cxn>
                <a:cxn ang="0">
                  <a:pos x="T4" y="T5"/>
                </a:cxn>
                <a:cxn ang="0">
                  <a:pos x="T6" y="T7"/>
                </a:cxn>
                <a:cxn ang="0">
                  <a:pos x="T8" y="T9"/>
                </a:cxn>
                <a:cxn ang="0">
                  <a:pos x="T10" y="T11"/>
                </a:cxn>
              </a:cxnLst>
              <a:rect l="0" t="0" r="r" b="b"/>
              <a:pathLst>
                <a:path w="488" h="34">
                  <a:moveTo>
                    <a:pt x="488" y="0"/>
                  </a:moveTo>
                  <a:cubicBezTo>
                    <a:pt x="17" y="0"/>
                    <a:pt x="17" y="0"/>
                    <a:pt x="17" y="0"/>
                  </a:cubicBezTo>
                  <a:cubicBezTo>
                    <a:pt x="8" y="0"/>
                    <a:pt x="0" y="8"/>
                    <a:pt x="0" y="17"/>
                  </a:cubicBezTo>
                  <a:cubicBezTo>
                    <a:pt x="0" y="27"/>
                    <a:pt x="8" y="34"/>
                    <a:pt x="17" y="34"/>
                  </a:cubicBezTo>
                  <a:cubicBezTo>
                    <a:pt x="488" y="34"/>
                    <a:pt x="488" y="34"/>
                    <a:pt x="488" y="34"/>
                  </a:cubicBezTo>
                  <a:lnTo>
                    <a:pt x="488" y="0"/>
                  </a:lnTo>
                  <a:close/>
                </a:path>
              </a:pathLst>
            </a:custGeom>
            <a:solidFill>
              <a:srgbClr val="295CC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5" name="Rectangle 111"/>
            <p:cNvSpPr>
              <a:spLocks noChangeArrowheads="1"/>
            </p:cNvSpPr>
            <p:nvPr userDrawn="1"/>
          </p:nvSpPr>
          <p:spPr bwMode="auto">
            <a:xfrm>
              <a:off x="1735749" y="2733262"/>
              <a:ext cx="4334307" cy="9968"/>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76" name="Rectangle 112"/>
            <p:cNvSpPr>
              <a:spLocks noChangeArrowheads="1"/>
            </p:cNvSpPr>
            <p:nvPr userDrawn="1"/>
          </p:nvSpPr>
          <p:spPr bwMode="auto">
            <a:xfrm>
              <a:off x="1735749" y="2733262"/>
              <a:ext cx="4334307"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77" name="Rectangle 113"/>
            <p:cNvSpPr>
              <a:spLocks noChangeArrowheads="1"/>
            </p:cNvSpPr>
            <p:nvPr userDrawn="1"/>
          </p:nvSpPr>
          <p:spPr bwMode="auto">
            <a:xfrm>
              <a:off x="2488314" y="2489052"/>
              <a:ext cx="3134855" cy="147855"/>
            </a:xfrm>
            <a:prstGeom prst="rect">
              <a:avLst/>
            </a:prstGeom>
            <a:solidFill>
              <a:srgbClr val="CADE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78" name="Freeform 114"/>
            <p:cNvSpPr/>
            <p:nvPr userDrawn="1"/>
          </p:nvSpPr>
          <p:spPr bwMode="auto">
            <a:xfrm>
              <a:off x="1862007" y="2522278"/>
              <a:ext cx="91371" cy="88049"/>
            </a:xfrm>
            <a:custGeom>
              <a:avLst/>
              <a:gdLst>
                <a:gd name="T0" fmla="*/ 33 w 35"/>
                <a:gd name="T1" fmla="*/ 17 h 34"/>
                <a:gd name="T2" fmla="*/ 31 w 35"/>
                <a:gd name="T3" fmla="*/ 17 h 34"/>
                <a:gd name="T4" fmla="*/ 18 w 35"/>
                <a:gd name="T5" fmla="*/ 30 h 34"/>
                <a:gd name="T6" fmla="*/ 4 w 35"/>
                <a:gd name="T7" fmla="*/ 17 h 34"/>
                <a:gd name="T8" fmla="*/ 18 w 35"/>
                <a:gd name="T9" fmla="*/ 4 h 34"/>
                <a:gd name="T10" fmla="*/ 31 w 35"/>
                <a:gd name="T11" fmla="*/ 17 h 34"/>
                <a:gd name="T12" fmla="*/ 33 w 35"/>
                <a:gd name="T13" fmla="*/ 17 h 34"/>
                <a:gd name="T14" fmla="*/ 35 w 35"/>
                <a:gd name="T15" fmla="*/ 17 h 34"/>
                <a:gd name="T16" fmla="*/ 18 w 35"/>
                <a:gd name="T17" fmla="*/ 0 h 34"/>
                <a:gd name="T18" fmla="*/ 0 w 35"/>
                <a:gd name="T19" fmla="*/ 17 h 34"/>
                <a:gd name="T20" fmla="*/ 18 w 35"/>
                <a:gd name="T21" fmla="*/ 34 h 34"/>
                <a:gd name="T22" fmla="*/ 35 w 35"/>
                <a:gd name="T23" fmla="*/ 17 h 34"/>
                <a:gd name="T24" fmla="*/ 33 w 35"/>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4">
                  <a:moveTo>
                    <a:pt x="33" y="17"/>
                  </a:moveTo>
                  <a:cubicBezTo>
                    <a:pt x="31" y="17"/>
                    <a:pt x="31" y="17"/>
                    <a:pt x="31" y="17"/>
                  </a:cubicBezTo>
                  <a:cubicBezTo>
                    <a:pt x="31" y="24"/>
                    <a:pt x="25" y="30"/>
                    <a:pt x="18" y="30"/>
                  </a:cubicBezTo>
                  <a:cubicBezTo>
                    <a:pt x="10" y="30"/>
                    <a:pt x="4" y="24"/>
                    <a:pt x="4" y="17"/>
                  </a:cubicBezTo>
                  <a:cubicBezTo>
                    <a:pt x="4" y="10"/>
                    <a:pt x="10" y="4"/>
                    <a:pt x="18" y="4"/>
                  </a:cubicBezTo>
                  <a:cubicBezTo>
                    <a:pt x="25" y="4"/>
                    <a:pt x="31" y="10"/>
                    <a:pt x="31" y="17"/>
                  </a:cubicBezTo>
                  <a:cubicBezTo>
                    <a:pt x="33" y="17"/>
                    <a:pt x="33" y="17"/>
                    <a:pt x="33" y="17"/>
                  </a:cubicBezTo>
                  <a:cubicBezTo>
                    <a:pt x="35" y="17"/>
                    <a:pt x="35" y="17"/>
                    <a:pt x="35" y="17"/>
                  </a:cubicBezTo>
                  <a:cubicBezTo>
                    <a:pt x="35" y="8"/>
                    <a:pt x="27" y="0"/>
                    <a:pt x="18" y="0"/>
                  </a:cubicBezTo>
                  <a:cubicBezTo>
                    <a:pt x="8" y="0"/>
                    <a:pt x="0" y="8"/>
                    <a:pt x="0" y="17"/>
                  </a:cubicBezTo>
                  <a:cubicBezTo>
                    <a:pt x="0" y="27"/>
                    <a:pt x="8" y="34"/>
                    <a:pt x="18" y="34"/>
                  </a:cubicBezTo>
                  <a:cubicBezTo>
                    <a:pt x="27" y="34"/>
                    <a:pt x="35" y="27"/>
                    <a:pt x="35" y="17"/>
                  </a:cubicBezTo>
                  <a:lnTo>
                    <a:pt x="33" y="17"/>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9" name="Freeform 115"/>
            <p:cNvSpPr/>
            <p:nvPr userDrawn="1"/>
          </p:nvSpPr>
          <p:spPr bwMode="auto">
            <a:xfrm>
              <a:off x="2049733" y="2522278"/>
              <a:ext cx="88049" cy="88049"/>
            </a:xfrm>
            <a:custGeom>
              <a:avLst/>
              <a:gdLst>
                <a:gd name="T0" fmla="*/ 32 w 34"/>
                <a:gd name="T1" fmla="*/ 17 h 34"/>
                <a:gd name="T2" fmla="*/ 30 w 34"/>
                <a:gd name="T3" fmla="*/ 17 h 34"/>
                <a:gd name="T4" fmla="*/ 17 w 34"/>
                <a:gd name="T5" fmla="*/ 30 h 34"/>
                <a:gd name="T6" fmla="*/ 4 w 34"/>
                <a:gd name="T7" fmla="*/ 17 h 34"/>
                <a:gd name="T8" fmla="*/ 17 w 34"/>
                <a:gd name="T9" fmla="*/ 4 h 34"/>
                <a:gd name="T10" fmla="*/ 30 w 34"/>
                <a:gd name="T11" fmla="*/ 17 h 34"/>
                <a:gd name="T12" fmla="*/ 32 w 34"/>
                <a:gd name="T13" fmla="*/ 17 h 34"/>
                <a:gd name="T14" fmla="*/ 34 w 34"/>
                <a:gd name="T15" fmla="*/ 17 h 34"/>
                <a:gd name="T16" fmla="*/ 17 w 34"/>
                <a:gd name="T17" fmla="*/ 0 h 34"/>
                <a:gd name="T18" fmla="*/ 0 w 34"/>
                <a:gd name="T19" fmla="*/ 17 h 34"/>
                <a:gd name="T20" fmla="*/ 17 w 34"/>
                <a:gd name="T21" fmla="*/ 34 h 34"/>
                <a:gd name="T22" fmla="*/ 34 w 34"/>
                <a:gd name="T23" fmla="*/ 17 h 34"/>
                <a:gd name="T24" fmla="*/ 32 w 34"/>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4">
                  <a:moveTo>
                    <a:pt x="32" y="17"/>
                  </a:moveTo>
                  <a:cubicBezTo>
                    <a:pt x="30" y="17"/>
                    <a:pt x="30" y="17"/>
                    <a:pt x="30" y="17"/>
                  </a:cubicBezTo>
                  <a:cubicBezTo>
                    <a:pt x="30" y="24"/>
                    <a:pt x="24" y="30"/>
                    <a:pt x="17" y="30"/>
                  </a:cubicBezTo>
                  <a:cubicBezTo>
                    <a:pt x="9" y="30"/>
                    <a:pt x="4" y="24"/>
                    <a:pt x="4" y="17"/>
                  </a:cubicBezTo>
                  <a:cubicBezTo>
                    <a:pt x="4" y="10"/>
                    <a:pt x="9" y="4"/>
                    <a:pt x="17" y="4"/>
                  </a:cubicBezTo>
                  <a:cubicBezTo>
                    <a:pt x="24" y="4"/>
                    <a:pt x="30" y="10"/>
                    <a:pt x="30" y="17"/>
                  </a:cubicBezTo>
                  <a:cubicBezTo>
                    <a:pt x="32" y="17"/>
                    <a:pt x="32" y="17"/>
                    <a:pt x="32" y="17"/>
                  </a:cubicBezTo>
                  <a:cubicBezTo>
                    <a:pt x="34" y="17"/>
                    <a:pt x="34" y="17"/>
                    <a:pt x="34" y="17"/>
                  </a:cubicBezTo>
                  <a:cubicBezTo>
                    <a:pt x="34" y="8"/>
                    <a:pt x="26" y="0"/>
                    <a:pt x="17" y="0"/>
                  </a:cubicBezTo>
                  <a:cubicBezTo>
                    <a:pt x="7" y="0"/>
                    <a:pt x="0" y="8"/>
                    <a:pt x="0" y="17"/>
                  </a:cubicBezTo>
                  <a:cubicBezTo>
                    <a:pt x="0" y="27"/>
                    <a:pt x="7" y="34"/>
                    <a:pt x="17" y="34"/>
                  </a:cubicBezTo>
                  <a:cubicBezTo>
                    <a:pt x="26" y="34"/>
                    <a:pt x="34" y="27"/>
                    <a:pt x="34" y="17"/>
                  </a:cubicBezTo>
                  <a:lnTo>
                    <a:pt x="32" y="17"/>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0" name="Freeform 116"/>
            <p:cNvSpPr/>
            <p:nvPr userDrawn="1"/>
          </p:nvSpPr>
          <p:spPr bwMode="auto">
            <a:xfrm>
              <a:off x="2234136" y="2522278"/>
              <a:ext cx="88049" cy="88049"/>
            </a:xfrm>
            <a:custGeom>
              <a:avLst/>
              <a:gdLst>
                <a:gd name="T0" fmla="*/ 32 w 34"/>
                <a:gd name="T1" fmla="*/ 17 h 34"/>
                <a:gd name="T2" fmla="*/ 30 w 34"/>
                <a:gd name="T3" fmla="*/ 17 h 34"/>
                <a:gd name="T4" fmla="*/ 17 w 34"/>
                <a:gd name="T5" fmla="*/ 30 h 34"/>
                <a:gd name="T6" fmla="*/ 4 w 34"/>
                <a:gd name="T7" fmla="*/ 17 h 34"/>
                <a:gd name="T8" fmla="*/ 17 w 34"/>
                <a:gd name="T9" fmla="*/ 4 h 34"/>
                <a:gd name="T10" fmla="*/ 30 w 34"/>
                <a:gd name="T11" fmla="*/ 17 h 34"/>
                <a:gd name="T12" fmla="*/ 32 w 34"/>
                <a:gd name="T13" fmla="*/ 17 h 34"/>
                <a:gd name="T14" fmla="*/ 34 w 34"/>
                <a:gd name="T15" fmla="*/ 17 h 34"/>
                <a:gd name="T16" fmla="*/ 17 w 34"/>
                <a:gd name="T17" fmla="*/ 0 h 34"/>
                <a:gd name="T18" fmla="*/ 0 w 34"/>
                <a:gd name="T19" fmla="*/ 17 h 34"/>
                <a:gd name="T20" fmla="*/ 17 w 34"/>
                <a:gd name="T21" fmla="*/ 34 h 34"/>
                <a:gd name="T22" fmla="*/ 34 w 34"/>
                <a:gd name="T23" fmla="*/ 17 h 34"/>
                <a:gd name="T24" fmla="*/ 32 w 34"/>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4">
                  <a:moveTo>
                    <a:pt x="32" y="17"/>
                  </a:moveTo>
                  <a:cubicBezTo>
                    <a:pt x="30" y="17"/>
                    <a:pt x="30" y="17"/>
                    <a:pt x="30" y="17"/>
                  </a:cubicBezTo>
                  <a:cubicBezTo>
                    <a:pt x="30" y="24"/>
                    <a:pt x="24" y="30"/>
                    <a:pt x="17" y="30"/>
                  </a:cubicBezTo>
                  <a:cubicBezTo>
                    <a:pt x="10" y="30"/>
                    <a:pt x="4" y="24"/>
                    <a:pt x="4" y="17"/>
                  </a:cubicBezTo>
                  <a:cubicBezTo>
                    <a:pt x="4" y="10"/>
                    <a:pt x="10" y="4"/>
                    <a:pt x="17" y="4"/>
                  </a:cubicBezTo>
                  <a:cubicBezTo>
                    <a:pt x="24" y="4"/>
                    <a:pt x="30" y="10"/>
                    <a:pt x="30" y="17"/>
                  </a:cubicBezTo>
                  <a:cubicBezTo>
                    <a:pt x="32" y="17"/>
                    <a:pt x="32" y="17"/>
                    <a:pt x="32" y="17"/>
                  </a:cubicBezTo>
                  <a:cubicBezTo>
                    <a:pt x="34" y="17"/>
                    <a:pt x="34" y="17"/>
                    <a:pt x="34" y="17"/>
                  </a:cubicBezTo>
                  <a:cubicBezTo>
                    <a:pt x="34" y="8"/>
                    <a:pt x="26" y="0"/>
                    <a:pt x="17" y="0"/>
                  </a:cubicBezTo>
                  <a:cubicBezTo>
                    <a:pt x="7" y="0"/>
                    <a:pt x="0" y="8"/>
                    <a:pt x="0" y="17"/>
                  </a:cubicBezTo>
                  <a:cubicBezTo>
                    <a:pt x="0" y="27"/>
                    <a:pt x="7" y="34"/>
                    <a:pt x="17" y="34"/>
                  </a:cubicBezTo>
                  <a:cubicBezTo>
                    <a:pt x="26" y="34"/>
                    <a:pt x="34" y="27"/>
                    <a:pt x="34" y="17"/>
                  </a:cubicBezTo>
                  <a:lnTo>
                    <a:pt x="32" y="17"/>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1" name="Rectangle 117"/>
            <p:cNvSpPr>
              <a:spLocks noChangeArrowheads="1"/>
            </p:cNvSpPr>
            <p:nvPr userDrawn="1"/>
          </p:nvSpPr>
          <p:spPr bwMode="auto">
            <a:xfrm>
              <a:off x="2946830" y="5785052"/>
              <a:ext cx="1910484" cy="106323"/>
            </a:xfrm>
            <a:prstGeom prst="rect">
              <a:avLst/>
            </a:prstGeom>
            <a:solidFill>
              <a:srgbClr val="B3E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82" name="Rectangle 118"/>
            <p:cNvSpPr>
              <a:spLocks noChangeArrowheads="1"/>
            </p:cNvSpPr>
            <p:nvPr userDrawn="1"/>
          </p:nvSpPr>
          <p:spPr bwMode="auto">
            <a:xfrm>
              <a:off x="5324136" y="2876133"/>
              <a:ext cx="71436" cy="9968"/>
            </a:xfrm>
            <a:prstGeom prst="rect">
              <a:avLst/>
            </a:prstGeom>
            <a:solidFill>
              <a:srgbClr val="E8F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83" name="Rectangle 119"/>
            <p:cNvSpPr>
              <a:spLocks noChangeArrowheads="1"/>
            </p:cNvSpPr>
            <p:nvPr userDrawn="1"/>
          </p:nvSpPr>
          <p:spPr bwMode="auto">
            <a:xfrm>
              <a:off x="5324136" y="2876133"/>
              <a:ext cx="71436"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84" name="Rectangle 120"/>
            <p:cNvSpPr>
              <a:spLocks noChangeArrowheads="1"/>
            </p:cNvSpPr>
            <p:nvPr userDrawn="1"/>
          </p:nvSpPr>
          <p:spPr bwMode="auto">
            <a:xfrm>
              <a:off x="5480297" y="2876133"/>
              <a:ext cx="174436" cy="9968"/>
            </a:xfrm>
            <a:prstGeom prst="rect">
              <a:avLst/>
            </a:prstGeom>
            <a:solidFill>
              <a:srgbClr val="E8F0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85" name="Rectangle 121"/>
            <p:cNvSpPr>
              <a:spLocks noChangeArrowheads="1"/>
            </p:cNvSpPr>
            <p:nvPr userDrawn="1"/>
          </p:nvSpPr>
          <p:spPr bwMode="auto">
            <a:xfrm>
              <a:off x="5480297" y="2876133"/>
              <a:ext cx="174436"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86" name="Rectangle 122"/>
            <p:cNvSpPr>
              <a:spLocks noChangeArrowheads="1"/>
            </p:cNvSpPr>
            <p:nvPr userDrawn="1"/>
          </p:nvSpPr>
          <p:spPr bwMode="auto">
            <a:xfrm>
              <a:off x="5719523" y="2834600"/>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87" name="Rectangle 123"/>
            <p:cNvSpPr>
              <a:spLocks noChangeArrowheads="1"/>
            </p:cNvSpPr>
            <p:nvPr userDrawn="1"/>
          </p:nvSpPr>
          <p:spPr bwMode="auto">
            <a:xfrm>
              <a:off x="5719523" y="2834600"/>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88" name="Rectangle 124"/>
            <p:cNvSpPr>
              <a:spLocks noChangeArrowheads="1"/>
            </p:cNvSpPr>
            <p:nvPr userDrawn="1"/>
          </p:nvSpPr>
          <p:spPr bwMode="auto">
            <a:xfrm>
              <a:off x="5751088" y="2834600"/>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89" name="Rectangle 125"/>
            <p:cNvSpPr>
              <a:spLocks noChangeArrowheads="1"/>
            </p:cNvSpPr>
            <p:nvPr userDrawn="1"/>
          </p:nvSpPr>
          <p:spPr bwMode="auto">
            <a:xfrm>
              <a:off x="5751088" y="2834600"/>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0" name="Rectangle 126"/>
            <p:cNvSpPr>
              <a:spLocks noChangeArrowheads="1"/>
            </p:cNvSpPr>
            <p:nvPr userDrawn="1"/>
          </p:nvSpPr>
          <p:spPr bwMode="auto">
            <a:xfrm>
              <a:off x="5784314" y="2834600"/>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1" name="Rectangle 127"/>
            <p:cNvSpPr>
              <a:spLocks noChangeArrowheads="1"/>
            </p:cNvSpPr>
            <p:nvPr userDrawn="1"/>
          </p:nvSpPr>
          <p:spPr bwMode="auto">
            <a:xfrm>
              <a:off x="5784314" y="2834600"/>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2" name="Rectangle 128"/>
            <p:cNvSpPr>
              <a:spLocks noChangeArrowheads="1"/>
            </p:cNvSpPr>
            <p:nvPr userDrawn="1"/>
          </p:nvSpPr>
          <p:spPr bwMode="auto">
            <a:xfrm>
              <a:off x="5719523" y="2871149"/>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3" name="Rectangle 129"/>
            <p:cNvSpPr>
              <a:spLocks noChangeArrowheads="1"/>
            </p:cNvSpPr>
            <p:nvPr userDrawn="1"/>
          </p:nvSpPr>
          <p:spPr bwMode="auto">
            <a:xfrm>
              <a:off x="5719523" y="2871149"/>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4" name="Rectangle 130"/>
            <p:cNvSpPr>
              <a:spLocks noChangeArrowheads="1"/>
            </p:cNvSpPr>
            <p:nvPr userDrawn="1"/>
          </p:nvSpPr>
          <p:spPr bwMode="auto">
            <a:xfrm>
              <a:off x="5751088" y="2871149"/>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5" name="Rectangle 131"/>
            <p:cNvSpPr>
              <a:spLocks noChangeArrowheads="1"/>
            </p:cNvSpPr>
            <p:nvPr userDrawn="1"/>
          </p:nvSpPr>
          <p:spPr bwMode="auto">
            <a:xfrm>
              <a:off x="5751088" y="2871149"/>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6" name="Rectangle 132"/>
            <p:cNvSpPr>
              <a:spLocks noChangeArrowheads="1"/>
            </p:cNvSpPr>
            <p:nvPr userDrawn="1"/>
          </p:nvSpPr>
          <p:spPr bwMode="auto">
            <a:xfrm>
              <a:off x="5784314" y="2871149"/>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7" name="Rectangle 133"/>
            <p:cNvSpPr>
              <a:spLocks noChangeArrowheads="1"/>
            </p:cNvSpPr>
            <p:nvPr userDrawn="1"/>
          </p:nvSpPr>
          <p:spPr bwMode="auto">
            <a:xfrm>
              <a:off x="5784314" y="2871149"/>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8" name="Rectangle 134"/>
            <p:cNvSpPr>
              <a:spLocks noChangeArrowheads="1"/>
            </p:cNvSpPr>
            <p:nvPr userDrawn="1"/>
          </p:nvSpPr>
          <p:spPr bwMode="auto">
            <a:xfrm>
              <a:off x="5719523" y="2904375"/>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599" name="Rectangle 135"/>
            <p:cNvSpPr>
              <a:spLocks noChangeArrowheads="1"/>
            </p:cNvSpPr>
            <p:nvPr userDrawn="1"/>
          </p:nvSpPr>
          <p:spPr bwMode="auto">
            <a:xfrm>
              <a:off x="5719523" y="2904375"/>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00" name="Rectangle 136"/>
            <p:cNvSpPr>
              <a:spLocks noChangeArrowheads="1"/>
            </p:cNvSpPr>
            <p:nvPr userDrawn="1"/>
          </p:nvSpPr>
          <p:spPr bwMode="auto">
            <a:xfrm>
              <a:off x="5751088" y="2904375"/>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01" name="Rectangle 137"/>
            <p:cNvSpPr>
              <a:spLocks noChangeArrowheads="1"/>
            </p:cNvSpPr>
            <p:nvPr userDrawn="1"/>
          </p:nvSpPr>
          <p:spPr bwMode="auto">
            <a:xfrm>
              <a:off x="5751088" y="2904375"/>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02" name="Rectangle 138"/>
            <p:cNvSpPr>
              <a:spLocks noChangeArrowheads="1"/>
            </p:cNvSpPr>
            <p:nvPr userDrawn="1"/>
          </p:nvSpPr>
          <p:spPr bwMode="auto">
            <a:xfrm>
              <a:off x="5784314" y="2904375"/>
              <a:ext cx="23258" cy="23258"/>
            </a:xfrm>
            <a:prstGeom prst="rect">
              <a:avLst/>
            </a:prstGeom>
            <a:solidFill>
              <a:srgbClr val="D7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03" name="Rectangle 139"/>
            <p:cNvSpPr>
              <a:spLocks noChangeArrowheads="1"/>
            </p:cNvSpPr>
            <p:nvPr userDrawn="1"/>
          </p:nvSpPr>
          <p:spPr bwMode="auto">
            <a:xfrm>
              <a:off x="5784314" y="2904375"/>
              <a:ext cx="23258" cy="2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04" name="Oval 140"/>
            <p:cNvSpPr>
              <a:spLocks noChangeArrowheads="1"/>
            </p:cNvSpPr>
            <p:nvPr userDrawn="1"/>
          </p:nvSpPr>
          <p:spPr bwMode="auto">
            <a:xfrm>
              <a:off x="5845781" y="2821310"/>
              <a:ext cx="119613" cy="119613"/>
            </a:xfrm>
            <a:prstGeom prst="ellipse">
              <a:avLst/>
            </a:prstGeom>
            <a:solidFill>
              <a:srgbClr val="CADE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5" name="Oval 141"/>
            <p:cNvSpPr>
              <a:spLocks noChangeArrowheads="1"/>
            </p:cNvSpPr>
            <p:nvPr userDrawn="1"/>
          </p:nvSpPr>
          <p:spPr bwMode="auto">
            <a:xfrm>
              <a:off x="5932168" y="2474101"/>
              <a:ext cx="31565" cy="29903"/>
            </a:xfrm>
            <a:prstGeom prst="ellipse">
              <a:avLst/>
            </a:pr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6" name="Oval 142"/>
            <p:cNvSpPr>
              <a:spLocks noChangeArrowheads="1"/>
            </p:cNvSpPr>
            <p:nvPr userDrawn="1"/>
          </p:nvSpPr>
          <p:spPr bwMode="auto">
            <a:xfrm>
              <a:off x="5932168" y="2548859"/>
              <a:ext cx="31565" cy="31565"/>
            </a:xfrm>
            <a:prstGeom prst="ellipse">
              <a:avLst/>
            </a:pr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7" name="Oval 143"/>
            <p:cNvSpPr>
              <a:spLocks noChangeArrowheads="1"/>
            </p:cNvSpPr>
            <p:nvPr userDrawn="1"/>
          </p:nvSpPr>
          <p:spPr bwMode="auto">
            <a:xfrm>
              <a:off x="5932168" y="2621955"/>
              <a:ext cx="31565" cy="29903"/>
            </a:xfrm>
            <a:prstGeom prst="ellipse">
              <a:avLst/>
            </a:pr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8" name="Rectangle 144"/>
            <p:cNvSpPr>
              <a:spLocks noChangeArrowheads="1"/>
            </p:cNvSpPr>
            <p:nvPr userDrawn="1"/>
          </p:nvSpPr>
          <p:spPr bwMode="auto">
            <a:xfrm>
              <a:off x="3622975" y="5785052"/>
              <a:ext cx="976839" cy="9968"/>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09" name="Freeform 145"/>
            <p:cNvSpPr/>
            <p:nvPr userDrawn="1"/>
          </p:nvSpPr>
          <p:spPr bwMode="auto">
            <a:xfrm>
              <a:off x="3622975" y="5785052"/>
              <a:ext cx="976839" cy="9968"/>
            </a:xfrm>
            <a:custGeom>
              <a:avLst/>
              <a:gdLst>
                <a:gd name="T0" fmla="*/ 588 w 588"/>
                <a:gd name="T1" fmla="*/ 0 h 6"/>
                <a:gd name="T2" fmla="*/ 0 w 588"/>
                <a:gd name="T3" fmla="*/ 0 h 6"/>
                <a:gd name="T4" fmla="*/ 0 w 588"/>
                <a:gd name="T5" fmla="*/ 6 h 6"/>
                <a:gd name="T6" fmla="*/ 588 w 588"/>
                <a:gd name="T7" fmla="*/ 6 h 6"/>
              </a:gdLst>
              <a:ahLst/>
              <a:cxnLst>
                <a:cxn ang="0">
                  <a:pos x="T0" y="T1"/>
                </a:cxn>
                <a:cxn ang="0">
                  <a:pos x="T2" y="T3"/>
                </a:cxn>
                <a:cxn ang="0">
                  <a:pos x="T4" y="T5"/>
                </a:cxn>
                <a:cxn ang="0">
                  <a:pos x="T6" y="T7"/>
                </a:cxn>
              </a:cxnLst>
              <a:rect l="0" t="0" r="r" b="b"/>
              <a:pathLst>
                <a:path w="588" h="6">
                  <a:moveTo>
                    <a:pt x="588" y="0"/>
                  </a:moveTo>
                  <a:lnTo>
                    <a:pt x="0" y="0"/>
                  </a:lnTo>
                  <a:lnTo>
                    <a:pt x="0" y="6"/>
                  </a:lnTo>
                  <a:lnTo>
                    <a:pt x="58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0" name="Rectangle 146"/>
            <p:cNvSpPr>
              <a:spLocks noChangeArrowheads="1"/>
            </p:cNvSpPr>
            <p:nvPr userDrawn="1"/>
          </p:nvSpPr>
          <p:spPr bwMode="auto">
            <a:xfrm>
              <a:off x="3194362" y="5785052"/>
              <a:ext cx="318968" cy="9968"/>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11" name="Freeform 147"/>
            <p:cNvSpPr/>
            <p:nvPr userDrawn="1"/>
          </p:nvSpPr>
          <p:spPr bwMode="auto">
            <a:xfrm>
              <a:off x="3194362" y="5785052"/>
              <a:ext cx="318968" cy="9968"/>
            </a:xfrm>
            <a:custGeom>
              <a:avLst/>
              <a:gdLst>
                <a:gd name="T0" fmla="*/ 192 w 192"/>
                <a:gd name="T1" fmla="*/ 0 h 6"/>
                <a:gd name="T2" fmla="*/ 0 w 192"/>
                <a:gd name="T3" fmla="*/ 0 h 6"/>
                <a:gd name="T4" fmla="*/ 0 w 192"/>
                <a:gd name="T5" fmla="*/ 6 h 6"/>
                <a:gd name="T6" fmla="*/ 192 w 192"/>
                <a:gd name="T7" fmla="*/ 6 h 6"/>
              </a:gdLst>
              <a:ahLst/>
              <a:cxnLst>
                <a:cxn ang="0">
                  <a:pos x="T0" y="T1"/>
                </a:cxn>
                <a:cxn ang="0">
                  <a:pos x="T2" y="T3"/>
                </a:cxn>
                <a:cxn ang="0">
                  <a:pos x="T4" y="T5"/>
                </a:cxn>
                <a:cxn ang="0">
                  <a:pos x="T6" y="T7"/>
                </a:cxn>
              </a:cxnLst>
              <a:rect l="0" t="0" r="r" b="b"/>
              <a:pathLst>
                <a:path w="192" h="6">
                  <a:moveTo>
                    <a:pt x="192" y="0"/>
                  </a:moveTo>
                  <a:lnTo>
                    <a:pt x="0" y="0"/>
                  </a:lnTo>
                  <a:lnTo>
                    <a:pt x="0" y="6"/>
                  </a:lnTo>
                  <a:lnTo>
                    <a:pt x="19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2" name="Freeform 151"/>
            <p:cNvSpPr/>
            <p:nvPr userDrawn="1"/>
          </p:nvSpPr>
          <p:spPr bwMode="auto">
            <a:xfrm>
              <a:off x="5262669" y="3673552"/>
              <a:ext cx="820677" cy="573146"/>
            </a:xfrm>
            <a:custGeom>
              <a:avLst/>
              <a:gdLst>
                <a:gd name="T0" fmla="*/ 313 w 316"/>
                <a:gd name="T1" fmla="*/ 0 h 221"/>
                <a:gd name="T2" fmla="*/ 176 w 316"/>
                <a:gd name="T3" fmla="*/ 81 h 221"/>
                <a:gd name="T4" fmla="*/ 0 w 316"/>
                <a:gd name="T5" fmla="*/ 135 h 221"/>
                <a:gd name="T6" fmla="*/ 11 w 316"/>
                <a:gd name="T7" fmla="*/ 221 h 221"/>
                <a:gd name="T8" fmla="*/ 316 w 316"/>
                <a:gd name="T9" fmla="*/ 99 h 221"/>
                <a:gd name="T10" fmla="*/ 313 w 316"/>
                <a:gd name="T11" fmla="*/ 0 h 221"/>
              </a:gdLst>
              <a:ahLst/>
              <a:cxnLst>
                <a:cxn ang="0">
                  <a:pos x="T0" y="T1"/>
                </a:cxn>
                <a:cxn ang="0">
                  <a:pos x="T2" y="T3"/>
                </a:cxn>
                <a:cxn ang="0">
                  <a:pos x="T4" y="T5"/>
                </a:cxn>
                <a:cxn ang="0">
                  <a:pos x="T6" y="T7"/>
                </a:cxn>
                <a:cxn ang="0">
                  <a:pos x="T8" y="T9"/>
                </a:cxn>
                <a:cxn ang="0">
                  <a:pos x="T10" y="T11"/>
                </a:cxn>
              </a:cxnLst>
              <a:rect l="0" t="0" r="r" b="b"/>
              <a:pathLst>
                <a:path w="316" h="221">
                  <a:moveTo>
                    <a:pt x="313" y="0"/>
                  </a:moveTo>
                  <a:cubicBezTo>
                    <a:pt x="260" y="0"/>
                    <a:pt x="190" y="74"/>
                    <a:pt x="176" y="81"/>
                  </a:cubicBezTo>
                  <a:cubicBezTo>
                    <a:pt x="146" y="95"/>
                    <a:pt x="90" y="125"/>
                    <a:pt x="0" y="135"/>
                  </a:cubicBezTo>
                  <a:cubicBezTo>
                    <a:pt x="11" y="221"/>
                    <a:pt x="11" y="221"/>
                    <a:pt x="11" y="221"/>
                  </a:cubicBezTo>
                  <a:cubicBezTo>
                    <a:pt x="11" y="221"/>
                    <a:pt x="223" y="209"/>
                    <a:pt x="316" y="99"/>
                  </a:cubicBezTo>
                  <a:cubicBezTo>
                    <a:pt x="313" y="0"/>
                    <a:pt x="313" y="0"/>
                    <a:pt x="313" y="0"/>
                  </a:cubicBezTo>
                </a:path>
              </a:pathLst>
            </a:cu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3" name="Freeform 152"/>
            <p:cNvSpPr/>
            <p:nvPr userDrawn="1"/>
          </p:nvSpPr>
          <p:spPr bwMode="auto">
            <a:xfrm>
              <a:off x="2489975" y="2239859"/>
              <a:ext cx="2834161" cy="46516"/>
            </a:xfrm>
            <a:custGeom>
              <a:avLst/>
              <a:gdLst>
                <a:gd name="T0" fmla="*/ 1092 w 1092"/>
                <a:gd name="T1" fmla="*/ 0 h 18"/>
                <a:gd name="T2" fmla="*/ 152 w 1092"/>
                <a:gd name="T3" fmla="*/ 0 h 18"/>
                <a:gd name="T4" fmla="*/ 151 w 1092"/>
                <a:gd name="T5" fmla="*/ 3 h 18"/>
                <a:gd name="T6" fmla="*/ 147 w 1092"/>
                <a:gd name="T7" fmla="*/ 2 h 18"/>
                <a:gd name="T8" fmla="*/ 148 w 1092"/>
                <a:gd name="T9" fmla="*/ 0 h 18"/>
                <a:gd name="T10" fmla="*/ 0 w 1092"/>
                <a:gd name="T11" fmla="*/ 0 h 18"/>
                <a:gd name="T12" fmla="*/ 0 w 1092"/>
                <a:gd name="T13" fmla="*/ 18 h 18"/>
                <a:gd name="T14" fmla="*/ 144 w 1092"/>
                <a:gd name="T15" fmla="*/ 18 h 18"/>
                <a:gd name="T16" fmla="*/ 146 w 1092"/>
                <a:gd name="T17" fmla="*/ 10 h 18"/>
                <a:gd name="T18" fmla="*/ 149 w 1092"/>
                <a:gd name="T19" fmla="*/ 11 h 18"/>
                <a:gd name="T20" fmla="*/ 148 w 1092"/>
                <a:gd name="T21" fmla="*/ 18 h 18"/>
                <a:gd name="T22" fmla="*/ 1092 w 1092"/>
                <a:gd name="T23" fmla="*/ 18 h 18"/>
                <a:gd name="T24" fmla="*/ 1092 w 1092"/>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2" h="18">
                  <a:moveTo>
                    <a:pt x="1092" y="0"/>
                  </a:moveTo>
                  <a:cubicBezTo>
                    <a:pt x="152" y="0"/>
                    <a:pt x="152" y="0"/>
                    <a:pt x="152" y="0"/>
                  </a:cubicBezTo>
                  <a:cubicBezTo>
                    <a:pt x="152" y="1"/>
                    <a:pt x="151" y="2"/>
                    <a:pt x="151" y="3"/>
                  </a:cubicBezTo>
                  <a:cubicBezTo>
                    <a:pt x="147" y="2"/>
                    <a:pt x="147" y="2"/>
                    <a:pt x="147" y="2"/>
                  </a:cubicBezTo>
                  <a:cubicBezTo>
                    <a:pt x="147" y="2"/>
                    <a:pt x="148" y="1"/>
                    <a:pt x="148" y="0"/>
                  </a:cubicBezTo>
                  <a:cubicBezTo>
                    <a:pt x="0" y="0"/>
                    <a:pt x="0" y="0"/>
                    <a:pt x="0" y="0"/>
                  </a:cubicBezTo>
                  <a:cubicBezTo>
                    <a:pt x="0" y="18"/>
                    <a:pt x="0" y="18"/>
                    <a:pt x="0" y="18"/>
                  </a:cubicBezTo>
                  <a:cubicBezTo>
                    <a:pt x="144" y="18"/>
                    <a:pt x="144" y="18"/>
                    <a:pt x="144" y="18"/>
                  </a:cubicBezTo>
                  <a:cubicBezTo>
                    <a:pt x="145" y="16"/>
                    <a:pt x="145" y="13"/>
                    <a:pt x="146" y="10"/>
                  </a:cubicBezTo>
                  <a:cubicBezTo>
                    <a:pt x="149" y="11"/>
                    <a:pt x="149" y="11"/>
                    <a:pt x="149" y="11"/>
                  </a:cubicBezTo>
                  <a:cubicBezTo>
                    <a:pt x="149" y="14"/>
                    <a:pt x="149" y="16"/>
                    <a:pt x="148" y="18"/>
                  </a:cubicBezTo>
                  <a:cubicBezTo>
                    <a:pt x="1092" y="18"/>
                    <a:pt x="1092" y="18"/>
                    <a:pt x="1092" y="18"/>
                  </a:cubicBezTo>
                  <a:cubicBezTo>
                    <a:pt x="1092" y="0"/>
                    <a:pt x="1092" y="0"/>
                    <a:pt x="1092" y="0"/>
                  </a:cubicBezTo>
                </a:path>
              </a:pathLst>
            </a:custGeom>
            <a:solidFill>
              <a:srgbClr val="BED6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4" name="Freeform 154"/>
            <p:cNvSpPr/>
            <p:nvPr userDrawn="1"/>
          </p:nvSpPr>
          <p:spPr bwMode="auto">
            <a:xfrm>
              <a:off x="2489975" y="2286375"/>
              <a:ext cx="2834161" cy="104662"/>
            </a:xfrm>
            <a:custGeom>
              <a:avLst/>
              <a:gdLst>
                <a:gd name="T0" fmla="*/ 1706 w 1706"/>
                <a:gd name="T1" fmla="*/ 0 h 63"/>
                <a:gd name="T2" fmla="*/ 232 w 1706"/>
                <a:gd name="T3" fmla="*/ 0 h 63"/>
                <a:gd name="T4" fmla="*/ 225 w 1706"/>
                <a:gd name="T5" fmla="*/ 0 h 63"/>
                <a:gd name="T6" fmla="*/ 0 w 1706"/>
                <a:gd name="T7" fmla="*/ 0 h 63"/>
                <a:gd name="T8" fmla="*/ 0 w 1706"/>
                <a:gd name="T9" fmla="*/ 63 h 63"/>
                <a:gd name="T10" fmla="*/ 1706 w 1706"/>
                <a:gd name="T11" fmla="*/ 63 h 63"/>
                <a:gd name="T12" fmla="*/ 1706 w 1706"/>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06" h="63">
                  <a:moveTo>
                    <a:pt x="1706" y="0"/>
                  </a:moveTo>
                  <a:lnTo>
                    <a:pt x="232" y="0"/>
                  </a:lnTo>
                  <a:lnTo>
                    <a:pt x="225" y="0"/>
                  </a:lnTo>
                  <a:lnTo>
                    <a:pt x="0" y="0"/>
                  </a:lnTo>
                  <a:lnTo>
                    <a:pt x="0" y="63"/>
                  </a:lnTo>
                  <a:lnTo>
                    <a:pt x="1706" y="63"/>
                  </a:lnTo>
                  <a:lnTo>
                    <a:pt x="1706" y="0"/>
                  </a:lnTo>
                  <a:close/>
                </a:path>
              </a:pathLst>
            </a:custGeom>
            <a:solidFill>
              <a:srgbClr val="85B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5" name="Freeform 155"/>
            <p:cNvSpPr/>
            <p:nvPr userDrawn="1"/>
          </p:nvSpPr>
          <p:spPr bwMode="auto">
            <a:xfrm>
              <a:off x="2489975" y="2286375"/>
              <a:ext cx="2834161" cy="104662"/>
            </a:xfrm>
            <a:custGeom>
              <a:avLst/>
              <a:gdLst>
                <a:gd name="T0" fmla="*/ 1706 w 1706"/>
                <a:gd name="T1" fmla="*/ 0 h 63"/>
                <a:gd name="T2" fmla="*/ 232 w 1706"/>
                <a:gd name="T3" fmla="*/ 0 h 63"/>
                <a:gd name="T4" fmla="*/ 225 w 1706"/>
                <a:gd name="T5" fmla="*/ 0 h 63"/>
                <a:gd name="T6" fmla="*/ 0 w 1706"/>
                <a:gd name="T7" fmla="*/ 0 h 63"/>
                <a:gd name="T8" fmla="*/ 0 w 1706"/>
                <a:gd name="T9" fmla="*/ 63 h 63"/>
                <a:gd name="T10" fmla="*/ 1706 w 1706"/>
                <a:gd name="T11" fmla="*/ 63 h 63"/>
                <a:gd name="T12" fmla="*/ 1706 w 1706"/>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1706" h="63">
                  <a:moveTo>
                    <a:pt x="1706" y="0"/>
                  </a:moveTo>
                  <a:lnTo>
                    <a:pt x="232" y="0"/>
                  </a:lnTo>
                  <a:lnTo>
                    <a:pt x="225" y="0"/>
                  </a:lnTo>
                  <a:lnTo>
                    <a:pt x="0" y="0"/>
                  </a:lnTo>
                  <a:lnTo>
                    <a:pt x="0" y="63"/>
                  </a:lnTo>
                  <a:lnTo>
                    <a:pt x="1706" y="63"/>
                  </a:lnTo>
                  <a:lnTo>
                    <a:pt x="17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6" name="Freeform 156"/>
            <p:cNvSpPr/>
            <p:nvPr userDrawn="1"/>
          </p:nvSpPr>
          <p:spPr bwMode="auto">
            <a:xfrm>
              <a:off x="2489975" y="2401004"/>
              <a:ext cx="2834161" cy="147855"/>
            </a:xfrm>
            <a:custGeom>
              <a:avLst/>
              <a:gdLst>
                <a:gd name="T0" fmla="*/ 1092 w 1092"/>
                <a:gd name="T1" fmla="*/ 0 h 57"/>
                <a:gd name="T2" fmla="*/ 0 w 1092"/>
                <a:gd name="T3" fmla="*/ 0 h 57"/>
                <a:gd name="T4" fmla="*/ 0 w 1092"/>
                <a:gd name="T5" fmla="*/ 57 h 57"/>
                <a:gd name="T6" fmla="*/ 28 w 1092"/>
                <a:gd name="T7" fmla="*/ 34 h 57"/>
                <a:gd name="T8" fmla="*/ 1092 w 1092"/>
                <a:gd name="T9" fmla="*/ 34 h 57"/>
                <a:gd name="T10" fmla="*/ 1092 w 1092"/>
                <a:gd name="T11" fmla="*/ 0 h 57"/>
              </a:gdLst>
              <a:ahLst/>
              <a:cxnLst>
                <a:cxn ang="0">
                  <a:pos x="T0" y="T1"/>
                </a:cxn>
                <a:cxn ang="0">
                  <a:pos x="T2" y="T3"/>
                </a:cxn>
                <a:cxn ang="0">
                  <a:pos x="T4" y="T5"/>
                </a:cxn>
                <a:cxn ang="0">
                  <a:pos x="T6" y="T7"/>
                </a:cxn>
                <a:cxn ang="0">
                  <a:pos x="T8" y="T9"/>
                </a:cxn>
                <a:cxn ang="0">
                  <a:pos x="T10" y="T11"/>
                </a:cxn>
              </a:cxnLst>
              <a:rect l="0" t="0" r="r" b="b"/>
              <a:pathLst>
                <a:path w="1092" h="57">
                  <a:moveTo>
                    <a:pt x="1092" y="0"/>
                  </a:moveTo>
                  <a:cubicBezTo>
                    <a:pt x="0" y="0"/>
                    <a:pt x="0" y="0"/>
                    <a:pt x="0" y="0"/>
                  </a:cubicBezTo>
                  <a:cubicBezTo>
                    <a:pt x="0" y="57"/>
                    <a:pt x="0" y="57"/>
                    <a:pt x="0" y="57"/>
                  </a:cubicBezTo>
                  <a:cubicBezTo>
                    <a:pt x="3" y="44"/>
                    <a:pt x="14" y="34"/>
                    <a:pt x="28" y="34"/>
                  </a:cubicBezTo>
                  <a:cubicBezTo>
                    <a:pt x="1092" y="34"/>
                    <a:pt x="1092" y="34"/>
                    <a:pt x="1092" y="34"/>
                  </a:cubicBezTo>
                  <a:cubicBezTo>
                    <a:pt x="1092" y="0"/>
                    <a:pt x="1092" y="0"/>
                    <a:pt x="1092" y="0"/>
                  </a:cubicBezTo>
                </a:path>
              </a:pathLst>
            </a:custGeom>
            <a:solidFill>
              <a:srgbClr val="BED6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7" name="Rectangle 157"/>
            <p:cNvSpPr>
              <a:spLocks noChangeArrowheads="1"/>
            </p:cNvSpPr>
            <p:nvPr userDrawn="1"/>
          </p:nvSpPr>
          <p:spPr bwMode="auto">
            <a:xfrm>
              <a:off x="2489975" y="2391037"/>
              <a:ext cx="2834161" cy="9968"/>
            </a:xfrm>
            <a:prstGeom prst="rect">
              <a:avLst/>
            </a:prstGeom>
            <a:solidFill>
              <a:srgbClr val="3677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18" name="Rectangle 158"/>
            <p:cNvSpPr>
              <a:spLocks noChangeArrowheads="1"/>
            </p:cNvSpPr>
            <p:nvPr userDrawn="1"/>
          </p:nvSpPr>
          <p:spPr bwMode="auto">
            <a:xfrm>
              <a:off x="2489975" y="2391037"/>
              <a:ext cx="2834161"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19" name="Freeform 160"/>
            <p:cNvSpPr/>
            <p:nvPr userDrawn="1"/>
          </p:nvSpPr>
          <p:spPr bwMode="auto">
            <a:xfrm>
              <a:off x="2489975" y="3088778"/>
              <a:ext cx="189387" cy="694419"/>
            </a:xfrm>
            <a:custGeom>
              <a:avLst/>
              <a:gdLst>
                <a:gd name="T0" fmla="*/ 46 w 73"/>
                <a:gd name="T1" fmla="*/ 0 h 268"/>
                <a:gd name="T2" fmla="*/ 0 w 73"/>
                <a:gd name="T3" fmla="*/ 0 h 268"/>
                <a:gd name="T4" fmla="*/ 0 w 73"/>
                <a:gd name="T5" fmla="*/ 4 h 268"/>
                <a:gd name="T6" fmla="*/ 46 w 73"/>
                <a:gd name="T7" fmla="*/ 4 h 268"/>
                <a:gd name="T8" fmla="*/ 63 w 73"/>
                <a:gd name="T9" fmla="*/ 11 h 268"/>
                <a:gd name="T10" fmla="*/ 69 w 73"/>
                <a:gd name="T11" fmla="*/ 27 h 268"/>
                <a:gd name="T12" fmla="*/ 69 w 73"/>
                <a:gd name="T13" fmla="*/ 241 h 268"/>
                <a:gd name="T14" fmla="*/ 63 w 73"/>
                <a:gd name="T15" fmla="*/ 258 h 268"/>
                <a:gd name="T16" fmla="*/ 46 w 73"/>
                <a:gd name="T17" fmla="*/ 264 h 268"/>
                <a:gd name="T18" fmla="*/ 46 w 73"/>
                <a:gd name="T19" fmla="*/ 264 h 268"/>
                <a:gd name="T20" fmla="*/ 0 w 73"/>
                <a:gd name="T21" fmla="*/ 264 h 268"/>
                <a:gd name="T22" fmla="*/ 0 w 73"/>
                <a:gd name="T23" fmla="*/ 268 h 268"/>
                <a:gd name="T24" fmla="*/ 46 w 73"/>
                <a:gd name="T25" fmla="*/ 268 h 268"/>
                <a:gd name="T26" fmla="*/ 73 w 73"/>
                <a:gd name="T27" fmla="*/ 241 h 268"/>
                <a:gd name="T28" fmla="*/ 73 w 73"/>
                <a:gd name="T29" fmla="*/ 27 h 268"/>
                <a:gd name="T30" fmla="*/ 46 w 73"/>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268">
                  <a:moveTo>
                    <a:pt x="46" y="0"/>
                  </a:moveTo>
                  <a:cubicBezTo>
                    <a:pt x="0" y="0"/>
                    <a:pt x="0" y="0"/>
                    <a:pt x="0" y="0"/>
                  </a:cubicBezTo>
                  <a:cubicBezTo>
                    <a:pt x="0" y="4"/>
                    <a:pt x="0" y="4"/>
                    <a:pt x="0" y="4"/>
                  </a:cubicBezTo>
                  <a:cubicBezTo>
                    <a:pt x="46" y="4"/>
                    <a:pt x="46" y="4"/>
                    <a:pt x="46" y="4"/>
                  </a:cubicBezTo>
                  <a:cubicBezTo>
                    <a:pt x="53" y="4"/>
                    <a:pt x="58" y="7"/>
                    <a:pt x="63" y="11"/>
                  </a:cubicBezTo>
                  <a:cubicBezTo>
                    <a:pt x="67" y="15"/>
                    <a:pt x="69" y="21"/>
                    <a:pt x="69" y="27"/>
                  </a:cubicBezTo>
                  <a:cubicBezTo>
                    <a:pt x="69" y="241"/>
                    <a:pt x="69" y="241"/>
                    <a:pt x="69" y="241"/>
                  </a:cubicBezTo>
                  <a:cubicBezTo>
                    <a:pt x="69" y="248"/>
                    <a:pt x="67" y="254"/>
                    <a:pt x="63" y="258"/>
                  </a:cubicBezTo>
                  <a:cubicBezTo>
                    <a:pt x="58" y="262"/>
                    <a:pt x="53" y="264"/>
                    <a:pt x="46" y="264"/>
                  </a:cubicBezTo>
                  <a:cubicBezTo>
                    <a:pt x="46" y="264"/>
                    <a:pt x="46" y="264"/>
                    <a:pt x="46" y="264"/>
                  </a:cubicBezTo>
                  <a:cubicBezTo>
                    <a:pt x="0" y="264"/>
                    <a:pt x="0" y="264"/>
                    <a:pt x="0" y="264"/>
                  </a:cubicBezTo>
                  <a:cubicBezTo>
                    <a:pt x="0" y="268"/>
                    <a:pt x="0" y="268"/>
                    <a:pt x="0" y="268"/>
                  </a:cubicBezTo>
                  <a:cubicBezTo>
                    <a:pt x="46" y="268"/>
                    <a:pt x="46" y="268"/>
                    <a:pt x="46" y="268"/>
                  </a:cubicBezTo>
                  <a:cubicBezTo>
                    <a:pt x="61" y="268"/>
                    <a:pt x="73" y="256"/>
                    <a:pt x="73" y="241"/>
                  </a:cubicBezTo>
                  <a:cubicBezTo>
                    <a:pt x="73" y="27"/>
                    <a:pt x="73" y="27"/>
                    <a:pt x="73" y="27"/>
                  </a:cubicBezTo>
                  <a:cubicBezTo>
                    <a:pt x="73" y="12"/>
                    <a:pt x="61" y="0"/>
                    <a:pt x="46"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0" name="Freeform 162"/>
            <p:cNvSpPr>
              <a:spLocks noEditPoints="1"/>
            </p:cNvSpPr>
            <p:nvPr userDrawn="1"/>
          </p:nvSpPr>
          <p:spPr bwMode="auto">
            <a:xfrm>
              <a:off x="2489975" y="3296439"/>
              <a:ext cx="53161" cy="79742"/>
            </a:xfrm>
            <a:custGeom>
              <a:avLst/>
              <a:gdLst>
                <a:gd name="T0" fmla="*/ 20 w 20"/>
                <a:gd name="T1" fmla="*/ 15 h 31"/>
                <a:gd name="T2" fmla="*/ 18 w 20"/>
                <a:gd name="T3" fmla="*/ 15 h 31"/>
                <a:gd name="T4" fmla="*/ 16 w 20"/>
                <a:gd name="T5" fmla="*/ 15 h 31"/>
                <a:gd name="T6" fmla="*/ 5 w 20"/>
                <a:gd name="T7" fmla="*/ 27 h 31"/>
                <a:gd name="T8" fmla="*/ 0 w 20"/>
                <a:gd name="T9" fmla="*/ 26 h 31"/>
                <a:gd name="T10" fmla="*/ 0 w 20"/>
                <a:gd name="T11" fmla="*/ 30 h 31"/>
                <a:gd name="T12" fmla="*/ 5 w 20"/>
                <a:gd name="T13" fmla="*/ 31 h 31"/>
                <a:gd name="T14" fmla="*/ 20 w 20"/>
                <a:gd name="T15" fmla="*/ 15 h 31"/>
                <a:gd name="T16" fmla="*/ 20 w 20"/>
                <a:gd name="T17" fmla="*/ 15 h 31"/>
                <a:gd name="T18" fmla="*/ 20 w 20"/>
                <a:gd name="T19" fmla="*/ 15 h 31"/>
                <a:gd name="T20" fmla="*/ 20 w 20"/>
                <a:gd name="T21" fmla="*/ 15 h 31"/>
                <a:gd name="T22" fmla="*/ 5 w 20"/>
                <a:gd name="T23" fmla="*/ 0 h 31"/>
                <a:gd name="T24" fmla="*/ 0 w 20"/>
                <a:gd name="T25" fmla="*/ 1 h 31"/>
                <a:gd name="T26" fmla="*/ 0 w 20"/>
                <a:gd name="T27" fmla="*/ 5 h 31"/>
                <a:gd name="T28" fmla="*/ 5 w 20"/>
                <a:gd name="T29" fmla="*/ 4 h 31"/>
                <a:gd name="T30" fmla="*/ 16 w 20"/>
                <a:gd name="T31" fmla="*/ 15 h 31"/>
                <a:gd name="T32" fmla="*/ 18 w 20"/>
                <a:gd name="T33" fmla="*/ 15 h 31"/>
                <a:gd name="T34" fmla="*/ 20 w 20"/>
                <a:gd name="T35" fmla="*/ 15 h 31"/>
                <a:gd name="T36" fmla="*/ 20 w 20"/>
                <a:gd name="T37" fmla="*/ 15 h 31"/>
                <a:gd name="T38" fmla="*/ 5 w 20"/>
                <a:gd name="T3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31">
                  <a:moveTo>
                    <a:pt x="20" y="15"/>
                  </a:moveTo>
                  <a:cubicBezTo>
                    <a:pt x="18" y="15"/>
                    <a:pt x="18" y="15"/>
                    <a:pt x="18" y="15"/>
                  </a:cubicBezTo>
                  <a:cubicBezTo>
                    <a:pt x="16" y="15"/>
                    <a:pt x="16" y="15"/>
                    <a:pt x="16" y="15"/>
                  </a:cubicBezTo>
                  <a:cubicBezTo>
                    <a:pt x="16" y="22"/>
                    <a:pt x="11" y="27"/>
                    <a:pt x="5" y="27"/>
                  </a:cubicBezTo>
                  <a:cubicBezTo>
                    <a:pt x="3" y="27"/>
                    <a:pt x="1" y="26"/>
                    <a:pt x="0" y="26"/>
                  </a:cubicBezTo>
                  <a:cubicBezTo>
                    <a:pt x="0" y="30"/>
                    <a:pt x="0" y="30"/>
                    <a:pt x="0" y="30"/>
                  </a:cubicBezTo>
                  <a:cubicBezTo>
                    <a:pt x="1" y="30"/>
                    <a:pt x="3" y="31"/>
                    <a:pt x="5" y="31"/>
                  </a:cubicBezTo>
                  <a:cubicBezTo>
                    <a:pt x="13" y="31"/>
                    <a:pt x="20" y="24"/>
                    <a:pt x="20" y="15"/>
                  </a:cubicBezTo>
                  <a:moveTo>
                    <a:pt x="20" y="15"/>
                  </a:moveTo>
                  <a:cubicBezTo>
                    <a:pt x="20" y="15"/>
                    <a:pt x="20" y="15"/>
                    <a:pt x="20" y="15"/>
                  </a:cubicBezTo>
                  <a:cubicBezTo>
                    <a:pt x="20" y="15"/>
                    <a:pt x="20" y="15"/>
                    <a:pt x="20" y="15"/>
                  </a:cubicBezTo>
                  <a:moveTo>
                    <a:pt x="5" y="0"/>
                  </a:moveTo>
                  <a:cubicBezTo>
                    <a:pt x="3" y="0"/>
                    <a:pt x="1" y="0"/>
                    <a:pt x="0" y="1"/>
                  </a:cubicBezTo>
                  <a:cubicBezTo>
                    <a:pt x="0" y="5"/>
                    <a:pt x="0" y="5"/>
                    <a:pt x="0" y="5"/>
                  </a:cubicBezTo>
                  <a:cubicBezTo>
                    <a:pt x="1" y="4"/>
                    <a:pt x="3" y="4"/>
                    <a:pt x="5" y="4"/>
                  </a:cubicBezTo>
                  <a:cubicBezTo>
                    <a:pt x="11" y="4"/>
                    <a:pt x="16" y="9"/>
                    <a:pt x="16" y="15"/>
                  </a:cubicBezTo>
                  <a:cubicBezTo>
                    <a:pt x="18" y="15"/>
                    <a:pt x="18" y="15"/>
                    <a:pt x="18" y="15"/>
                  </a:cubicBezTo>
                  <a:cubicBezTo>
                    <a:pt x="20" y="15"/>
                    <a:pt x="20" y="15"/>
                    <a:pt x="20" y="15"/>
                  </a:cubicBezTo>
                  <a:cubicBezTo>
                    <a:pt x="20" y="15"/>
                    <a:pt x="20" y="15"/>
                    <a:pt x="20" y="15"/>
                  </a:cubicBezTo>
                  <a:cubicBezTo>
                    <a:pt x="20" y="7"/>
                    <a:pt x="13" y="0"/>
                    <a:pt x="5"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1" name="Freeform 171"/>
            <p:cNvSpPr/>
            <p:nvPr userDrawn="1"/>
          </p:nvSpPr>
          <p:spPr bwMode="auto">
            <a:xfrm>
              <a:off x="5134749" y="3088778"/>
              <a:ext cx="189387" cy="694419"/>
            </a:xfrm>
            <a:custGeom>
              <a:avLst/>
              <a:gdLst>
                <a:gd name="T0" fmla="*/ 73 w 73"/>
                <a:gd name="T1" fmla="*/ 0 h 268"/>
                <a:gd name="T2" fmla="*/ 27 w 73"/>
                <a:gd name="T3" fmla="*/ 0 h 268"/>
                <a:gd name="T4" fmla="*/ 0 w 73"/>
                <a:gd name="T5" fmla="*/ 27 h 268"/>
                <a:gd name="T6" fmla="*/ 0 w 73"/>
                <a:gd name="T7" fmla="*/ 241 h 268"/>
                <a:gd name="T8" fmla="*/ 27 w 73"/>
                <a:gd name="T9" fmla="*/ 268 h 268"/>
                <a:gd name="T10" fmla="*/ 73 w 73"/>
                <a:gd name="T11" fmla="*/ 268 h 268"/>
                <a:gd name="T12" fmla="*/ 73 w 73"/>
                <a:gd name="T13" fmla="*/ 264 h 268"/>
                <a:gd name="T14" fmla="*/ 27 w 73"/>
                <a:gd name="T15" fmla="*/ 264 h 268"/>
                <a:gd name="T16" fmla="*/ 10 w 73"/>
                <a:gd name="T17" fmla="*/ 258 h 268"/>
                <a:gd name="T18" fmla="*/ 4 w 73"/>
                <a:gd name="T19" fmla="*/ 241 h 268"/>
                <a:gd name="T20" fmla="*/ 4 w 73"/>
                <a:gd name="T21" fmla="*/ 27 h 268"/>
                <a:gd name="T22" fmla="*/ 10 w 73"/>
                <a:gd name="T23" fmla="*/ 11 h 268"/>
                <a:gd name="T24" fmla="*/ 27 w 73"/>
                <a:gd name="T25" fmla="*/ 4 h 268"/>
                <a:gd name="T26" fmla="*/ 73 w 73"/>
                <a:gd name="T27" fmla="*/ 4 h 268"/>
                <a:gd name="T28" fmla="*/ 73 w 73"/>
                <a:gd name="T2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268">
                  <a:moveTo>
                    <a:pt x="73" y="0"/>
                  </a:moveTo>
                  <a:cubicBezTo>
                    <a:pt x="27" y="0"/>
                    <a:pt x="27" y="0"/>
                    <a:pt x="27" y="0"/>
                  </a:cubicBezTo>
                  <a:cubicBezTo>
                    <a:pt x="12" y="0"/>
                    <a:pt x="0" y="12"/>
                    <a:pt x="0" y="27"/>
                  </a:cubicBezTo>
                  <a:cubicBezTo>
                    <a:pt x="0" y="241"/>
                    <a:pt x="0" y="241"/>
                    <a:pt x="0" y="241"/>
                  </a:cubicBezTo>
                  <a:cubicBezTo>
                    <a:pt x="0" y="256"/>
                    <a:pt x="12" y="268"/>
                    <a:pt x="27" y="268"/>
                  </a:cubicBezTo>
                  <a:cubicBezTo>
                    <a:pt x="73" y="268"/>
                    <a:pt x="73" y="268"/>
                    <a:pt x="73" y="268"/>
                  </a:cubicBezTo>
                  <a:cubicBezTo>
                    <a:pt x="73" y="264"/>
                    <a:pt x="73" y="264"/>
                    <a:pt x="73" y="264"/>
                  </a:cubicBezTo>
                  <a:cubicBezTo>
                    <a:pt x="27" y="264"/>
                    <a:pt x="27" y="264"/>
                    <a:pt x="27" y="264"/>
                  </a:cubicBezTo>
                  <a:cubicBezTo>
                    <a:pt x="20" y="264"/>
                    <a:pt x="15" y="262"/>
                    <a:pt x="10" y="258"/>
                  </a:cubicBezTo>
                  <a:cubicBezTo>
                    <a:pt x="6" y="254"/>
                    <a:pt x="4" y="248"/>
                    <a:pt x="4" y="241"/>
                  </a:cubicBezTo>
                  <a:cubicBezTo>
                    <a:pt x="4" y="27"/>
                    <a:pt x="4" y="27"/>
                    <a:pt x="4" y="27"/>
                  </a:cubicBezTo>
                  <a:cubicBezTo>
                    <a:pt x="4" y="21"/>
                    <a:pt x="6" y="15"/>
                    <a:pt x="10" y="11"/>
                  </a:cubicBezTo>
                  <a:cubicBezTo>
                    <a:pt x="15" y="7"/>
                    <a:pt x="20" y="4"/>
                    <a:pt x="27" y="4"/>
                  </a:cubicBezTo>
                  <a:cubicBezTo>
                    <a:pt x="73" y="4"/>
                    <a:pt x="73" y="4"/>
                    <a:pt x="73" y="4"/>
                  </a:cubicBezTo>
                  <a:cubicBezTo>
                    <a:pt x="73" y="0"/>
                    <a:pt x="73" y="0"/>
                    <a:pt x="73"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2" name="Freeform 172"/>
            <p:cNvSpPr/>
            <p:nvPr userDrawn="1"/>
          </p:nvSpPr>
          <p:spPr bwMode="auto">
            <a:xfrm>
              <a:off x="5249378" y="3464230"/>
              <a:ext cx="74759" cy="151178"/>
            </a:xfrm>
            <a:custGeom>
              <a:avLst/>
              <a:gdLst>
                <a:gd name="T0" fmla="*/ 29 w 29"/>
                <a:gd name="T1" fmla="*/ 0 h 58"/>
                <a:gd name="T2" fmla="*/ 1 w 29"/>
                <a:gd name="T3" fmla="*/ 55 h 58"/>
                <a:gd name="T4" fmla="*/ 1 w 29"/>
                <a:gd name="T5" fmla="*/ 57 h 58"/>
                <a:gd name="T6" fmla="*/ 2 w 29"/>
                <a:gd name="T7" fmla="*/ 58 h 58"/>
                <a:gd name="T8" fmla="*/ 29 w 29"/>
                <a:gd name="T9" fmla="*/ 58 h 58"/>
                <a:gd name="T10" fmla="*/ 29 w 29"/>
                <a:gd name="T11" fmla="*/ 54 h 58"/>
                <a:gd name="T12" fmla="*/ 6 w 29"/>
                <a:gd name="T13" fmla="*/ 54 h 58"/>
                <a:gd name="T14" fmla="*/ 29 w 29"/>
                <a:gd name="T15" fmla="*/ 9 h 58"/>
                <a:gd name="T16" fmla="*/ 29 w 2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8">
                  <a:moveTo>
                    <a:pt x="29" y="0"/>
                  </a:moveTo>
                  <a:cubicBezTo>
                    <a:pt x="1" y="55"/>
                    <a:pt x="1" y="55"/>
                    <a:pt x="1" y="55"/>
                  </a:cubicBezTo>
                  <a:cubicBezTo>
                    <a:pt x="0" y="56"/>
                    <a:pt x="0" y="57"/>
                    <a:pt x="1" y="57"/>
                  </a:cubicBezTo>
                  <a:cubicBezTo>
                    <a:pt x="1" y="58"/>
                    <a:pt x="2" y="58"/>
                    <a:pt x="2" y="58"/>
                  </a:cubicBezTo>
                  <a:cubicBezTo>
                    <a:pt x="29" y="58"/>
                    <a:pt x="29" y="58"/>
                    <a:pt x="29" y="58"/>
                  </a:cubicBezTo>
                  <a:cubicBezTo>
                    <a:pt x="29" y="54"/>
                    <a:pt x="29" y="54"/>
                    <a:pt x="29" y="54"/>
                  </a:cubicBezTo>
                  <a:cubicBezTo>
                    <a:pt x="6" y="54"/>
                    <a:pt x="6" y="54"/>
                    <a:pt x="6" y="54"/>
                  </a:cubicBezTo>
                  <a:cubicBezTo>
                    <a:pt x="29" y="9"/>
                    <a:pt x="29" y="9"/>
                    <a:pt x="29" y="9"/>
                  </a:cubicBezTo>
                  <a:cubicBezTo>
                    <a:pt x="29" y="0"/>
                    <a:pt x="29" y="0"/>
                    <a:pt x="29"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3" name="Freeform 176"/>
            <p:cNvSpPr>
              <a:spLocks noEditPoints="1"/>
            </p:cNvSpPr>
            <p:nvPr userDrawn="1"/>
          </p:nvSpPr>
          <p:spPr bwMode="auto">
            <a:xfrm>
              <a:off x="3033217" y="3974245"/>
              <a:ext cx="697742" cy="696081"/>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3"/>
                    <a:pt x="4" y="248"/>
                    <a:pt x="4" y="241"/>
                  </a:cubicBezTo>
                  <a:cubicBezTo>
                    <a:pt x="4" y="27"/>
                    <a:pt x="4" y="27"/>
                    <a:pt x="4" y="27"/>
                  </a:cubicBezTo>
                  <a:cubicBezTo>
                    <a:pt x="4" y="21"/>
                    <a:pt x="7" y="15"/>
                    <a:pt x="11" y="11"/>
                  </a:cubicBezTo>
                  <a:cubicBezTo>
                    <a:pt x="15" y="6"/>
                    <a:pt x="21" y="4"/>
                    <a:pt x="27" y="4"/>
                  </a:cubicBezTo>
                  <a:cubicBezTo>
                    <a:pt x="242" y="4"/>
                    <a:pt x="242" y="4"/>
                    <a:pt x="242" y="4"/>
                  </a:cubicBezTo>
                  <a:cubicBezTo>
                    <a:pt x="248" y="4"/>
                    <a:pt x="254" y="6"/>
                    <a:pt x="258" y="11"/>
                  </a:cubicBezTo>
                  <a:cubicBezTo>
                    <a:pt x="262" y="15"/>
                    <a:pt x="265" y="21"/>
                    <a:pt x="265" y="27"/>
                  </a:cubicBezTo>
                  <a:cubicBezTo>
                    <a:pt x="265" y="241"/>
                    <a:pt x="265" y="241"/>
                    <a:pt x="265" y="241"/>
                  </a:cubicBezTo>
                  <a:cubicBezTo>
                    <a:pt x="265" y="248"/>
                    <a:pt x="262" y="253"/>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3" y="0"/>
                    <a:pt x="0" y="12"/>
                    <a:pt x="0" y="27"/>
                  </a:cubicBezTo>
                  <a:cubicBezTo>
                    <a:pt x="0" y="241"/>
                    <a:pt x="0" y="241"/>
                    <a:pt x="0" y="241"/>
                  </a:cubicBezTo>
                  <a:cubicBezTo>
                    <a:pt x="0" y="256"/>
                    <a:pt x="13" y="268"/>
                    <a:pt x="27" y="268"/>
                  </a:cubicBezTo>
                  <a:cubicBezTo>
                    <a:pt x="242" y="268"/>
                    <a:pt x="242" y="268"/>
                    <a:pt x="242" y="268"/>
                  </a:cubicBezTo>
                  <a:cubicBezTo>
                    <a:pt x="257" y="268"/>
                    <a:pt x="269" y="256"/>
                    <a:pt x="269" y="241"/>
                  </a:cubicBezTo>
                  <a:cubicBezTo>
                    <a:pt x="269" y="27"/>
                    <a:pt x="269" y="27"/>
                    <a:pt x="269" y="27"/>
                  </a:cubicBezTo>
                  <a:cubicBezTo>
                    <a:pt x="269" y="12"/>
                    <a:pt x="257"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4" name="Freeform 177"/>
            <p:cNvSpPr>
              <a:spLocks noEditPoints="1"/>
            </p:cNvSpPr>
            <p:nvPr userDrawn="1"/>
          </p:nvSpPr>
          <p:spPr bwMode="auto">
            <a:xfrm>
              <a:off x="3149507" y="4171940"/>
              <a:ext cx="342226" cy="328935"/>
            </a:xfrm>
            <a:custGeom>
              <a:avLst/>
              <a:gdLst>
                <a:gd name="T0" fmla="*/ 6 w 132"/>
                <a:gd name="T1" fmla="*/ 123 h 127"/>
                <a:gd name="T2" fmla="*/ 66 w 132"/>
                <a:gd name="T3" fmla="*/ 6 h 127"/>
                <a:gd name="T4" fmla="*/ 127 w 132"/>
                <a:gd name="T5" fmla="*/ 123 h 127"/>
                <a:gd name="T6" fmla="*/ 6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1 w 132"/>
                <a:gd name="T23" fmla="*/ 126 h 127"/>
                <a:gd name="T24" fmla="*/ 2 w 132"/>
                <a:gd name="T25" fmla="*/ 127 h 127"/>
                <a:gd name="T26" fmla="*/ 130 w 132"/>
                <a:gd name="T27" fmla="*/ 127 h 127"/>
                <a:gd name="T28" fmla="*/ 132 w 132"/>
                <a:gd name="T29" fmla="*/ 126 h 127"/>
                <a:gd name="T30" fmla="*/ 132 w 132"/>
                <a:gd name="T31" fmla="*/ 124 h 127"/>
                <a:gd name="T32" fmla="*/ 68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6" y="123"/>
                  </a:moveTo>
                  <a:cubicBezTo>
                    <a:pt x="66" y="6"/>
                    <a:pt x="66" y="6"/>
                    <a:pt x="66" y="6"/>
                  </a:cubicBezTo>
                  <a:cubicBezTo>
                    <a:pt x="127" y="123"/>
                    <a:pt x="127" y="123"/>
                    <a:pt x="127" y="123"/>
                  </a:cubicBezTo>
                  <a:cubicBezTo>
                    <a:pt x="6" y="123"/>
                    <a:pt x="6" y="123"/>
                    <a:pt x="6" y="123"/>
                  </a:cubicBezTo>
                  <a:moveTo>
                    <a:pt x="64" y="3"/>
                  </a:moveTo>
                  <a:cubicBezTo>
                    <a:pt x="66" y="2"/>
                    <a:pt x="66" y="2"/>
                    <a:pt x="66" y="2"/>
                  </a:cubicBezTo>
                  <a:cubicBezTo>
                    <a:pt x="64" y="3"/>
                    <a:pt x="64" y="3"/>
                    <a:pt x="64" y="3"/>
                  </a:cubicBezTo>
                  <a:moveTo>
                    <a:pt x="66" y="0"/>
                  </a:moveTo>
                  <a:cubicBezTo>
                    <a:pt x="65" y="0"/>
                    <a:pt x="65" y="0"/>
                    <a:pt x="64" y="1"/>
                  </a:cubicBezTo>
                  <a:cubicBezTo>
                    <a:pt x="64" y="1"/>
                    <a:pt x="64" y="1"/>
                    <a:pt x="64" y="1"/>
                  </a:cubicBezTo>
                  <a:cubicBezTo>
                    <a:pt x="0" y="124"/>
                    <a:pt x="0" y="124"/>
                    <a:pt x="0" y="124"/>
                  </a:cubicBezTo>
                  <a:cubicBezTo>
                    <a:pt x="0" y="125"/>
                    <a:pt x="0" y="126"/>
                    <a:pt x="1" y="126"/>
                  </a:cubicBezTo>
                  <a:cubicBezTo>
                    <a:pt x="1" y="127"/>
                    <a:pt x="2" y="127"/>
                    <a:pt x="2" y="127"/>
                  </a:cubicBezTo>
                  <a:cubicBezTo>
                    <a:pt x="130" y="127"/>
                    <a:pt x="130" y="127"/>
                    <a:pt x="130" y="127"/>
                  </a:cubicBezTo>
                  <a:cubicBezTo>
                    <a:pt x="131" y="127"/>
                    <a:pt x="131" y="127"/>
                    <a:pt x="132" y="126"/>
                  </a:cubicBezTo>
                  <a:cubicBezTo>
                    <a:pt x="132" y="126"/>
                    <a:pt x="132" y="125"/>
                    <a:pt x="132" y="124"/>
                  </a:cubicBezTo>
                  <a:cubicBezTo>
                    <a:pt x="68" y="1"/>
                    <a:pt x="68" y="1"/>
                    <a:pt x="68" y="1"/>
                  </a:cubicBezTo>
                  <a:cubicBezTo>
                    <a:pt x="68" y="0"/>
                    <a:pt x="67"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5" name="Freeform 178"/>
            <p:cNvSpPr>
              <a:spLocks noEditPoints="1"/>
            </p:cNvSpPr>
            <p:nvPr userDrawn="1"/>
          </p:nvSpPr>
          <p:spPr bwMode="auto">
            <a:xfrm>
              <a:off x="3453523" y="4276600"/>
              <a:ext cx="161146" cy="224275"/>
            </a:xfrm>
            <a:custGeom>
              <a:avLst/>
              <a:gdLst>
                <a:gd name="T0" fmla="*/ 31 w 62"/>
                <a:gd name="T1" fmla="*/ 83 h 87"/>
                <a:gd name="T2" fmla="*/ 4 w 62"/>
                <a:gd name="T3" fmla="*/ 32 h 87"/>
                <a:gd name="T4" fmla="*/ 17 w 62"/>
                <a:gd name="T5" fmla="*/ 7 h 87"/>
                <a:gd name="T6" fmla="*/ 57 w 62"/>
                <a:gd name="T7" fmla="*/ 83 h 87"/>
                <a:gd name="T8" fmla="*/ 31 w 62"/>
                <a:gd name="T9" fmla="*/ 83 h 87"/>
                <a:gd name="T10" fmla="*/ 16 w 62"/>
                <a:gd name="T11" fmla="*/ 3 h 87"/>
                <a:gd name="T12" fmla="*/ 17 w 62"/>
                <a:gd name="T13" fmla="*/ 2 h 87"/>
                <a:gd name="T14" fmla="*/ 16 w 62"/>
                <a:gd name="T15" fmla="*/ 3 h 87"/>
                <a:gd name="T16" fmla="*/ 17 w 62"/>
                <a:gd name="T17" fmla="*/ 0 h 87"/>
                <a:gd name="T18" fmla="*/ 16 w 62"/>
                <a:gd name="T19" fmla="*/ 1 h 87"/>
                <a:gd name="T20" fmla="*/ 16 w 62"/>
                <a:gd name="T21" fmla="*/ 1 h 87"/>
                <a:gd name="T22" fmla="*/ 0 w 62"/>
                <a:gd name="T23" fmla="*/ 31 h 87"/>
                <a:gd name="T24" fmla="*/ 0 w 62"/>
                <a:gd name="T25" fmla="*/ 33 h 87"/>
                <a:gd name="T26" fmla="*/ 28 w 62"/>
                <a:gd name="T27" fmla="*/ 86 h 87"/>
                <a:gd name="T28" fmla="*/ 29 w 62"/>
                <a:gd name="T29" fmla="*/ 87 h 87"/>
                <a:gd name="T30" fmla="*/ 60 w 62"/>
                <a:gd name="T31" fmla="*/ 87 h 87"/>
                <a:gd name="T32" fmla="*/ 62 w 62"/>
                <a:gd name="T33" fmla="*/ 86 h 87"/>
                <a:gd name="T34" fmla="*/ 62 w 62"/>
                <a:gd name="T35" fmla="*/ 84 h 87"/>
                <a:gd name="T36" fmla="*/ 19 w 62"/>
                <a:gd name="T37" fmla="*/ 1 h 87"/>
                <a:gd name="T38" fmla="*/ 17 w 62"/>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87">
                  <a:moveTo>
                    <a:pt x="31" y="83"/>
                  </a:moveTo>
                  <a:cubicBezTo>
                    <a:pt x="4" y="32"/>
                    <a:pt x="4" y="32"/>
                    <a:pt x="4" y="32"/>
                  </a:cubicBezTo>
                  <a:cubicBezTo>
                    <a:pt x="17" y="7"/>
                    <a:pt x="17" y="7"/>
                    <a:pt x="17" y="7"/>
                  </a:cubicBezTo>
                  <a:cubicBezTo>
                    <a:pt x="57" y="83"/>
                    <a:pt x="57" y="83"/>
                    <a:pt x="57" y="83"/>
                  </a:cubicBezTo>
                  <a:cubicBezTo>
                    <a:pt x="31" y="83"/>
                    <a:pt x="31" y="83"/>
                    <a:pt x="31" y="83"/>
                  </a:cubicBezTo>
                  <a:moveTo>
                    <a:pt x="16" y="3"/>
                  </a:moveTo>
                  <a:cubicBezTo>
                    <a:pt x="17" y="2"/>
                    <a:pt x="17" y="2"/>
                    <a:pt x="17" y="2"/>
                  </a:cubicBezTo>
                  <a:cubicBezTo>
                    <a:pt x="16" y="3"/>
                    <a:pt x="16" y="3"/>
                    <a:pt x="16" y="3"/>
                  </a:cubicBezTo>
                  <a:moveTo>
                    <a:pt x="17" y="0"/>
                  </a:move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29" y="87"/>
                  </a:cubicBezTo>
                  <a:cubicBezTo>
                    <a:pt x="60" y="87"/>
                    <a:pt x="60" y="87"/>
                    <a:pt x="60" y="87"/>
                  </a:cubicBezTo>
                  <a:cubicBezTo>
                    <a:pt x="61" y="87"/>
                    <a:pt x="62" y="87"/>
                    <a:pt x="62" y="86"/>
                  </a:cubicBezTo>
                  <a:cubicBezTo>
                    <a:pt x="62" y="86"/>
                    <a:pt x="62" y="85"/>
                    <a:pt x="62" y="84"/>
                  </a:cubicBezTo>
                  <a:cubicBezTo>
                    <a:pt x="19" y="1"/>
                    <a:pt x="19" y="1"/>
                    <a:pt x="19" y="1"/>
                  </a:cubicBezTo>
                  <a:cubicBezTo>
                    <a:pt x="19" y="1"/>
                    <a:pt x="18" y="0"/>
                    <a:pt x="1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6" name="Freeform 180"/>
            <p:cNvSpPr>
              <a:spLocks noEditPoints="1"/>
            </p:cNvSpPr>
            <p:nvPr userDrawn="1"/>
          </p:nvSpPr>
          <p:spPr bwMode="auto">
            <a:xfrm>
              <a:off x="4084813" y="3974245"/>
              <a:ext cx="697742" cy="696081"/>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3"/>
                    <a:pt x="4" y="248"/>
                    <a:pt x="4" y="241"/>
                  </a:cubicBezTo>
                  <a:cubicBezTo>
                    <a:pt x="4" y="27"/>
                    <a:pt x="4" y="27"/>
                    <a:pt x="4" y="27"/>
                  </a:cubicBezTo>
                  <a:cubicBezTo>
                    <a:pt x="4" y="21"/>
                    <a:pt x="7" y="15"/>
                    <a:pt x="11" y="11"/>
                  </a:cubicBezTo>
                  <a:cubicBezTo>
                    <a:pt x="15" y="6"/>
                    <a:pt x="21" y="4"/>
                    <a:pt x="27" y="4"/>
                  </a:cubicBezTo>
                  <a:cubicBezTo>
                    <a:pt x="242" y="4"/>
                    <a:pt x="242" y="4"/>
                    <a:pt x="242" y="4"/>
                  </a:cubicBezTo>
                  <a:cubicBezTo>
                    <a:pt x="248" y="4"/>
                    <a:pt x="254" y="6"/>
                    <a:pt x="258" y="11"/>
                  </a:cubicBezTo>
                  <a:cubicBezTo>
                    <a:pt x="262" y="15"/>
                    <a:pt x="265" y="21"/>
                    <a:pt x="265" y="27"/>
                  </a:cubicBezTo>
                  <a:cubicBezTo>
                    <a:pt x="265" y="241"/>
                    <a:pt x="265" y="241"/>
                    <a:pt x="265" y="241"/>
                  </a:cubicBezTo>
                  <a:cubicBezTo>
                    <a:pt x="265" y="248"/>
                    <a:pt x="262" y="253"/>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2" y="0"/>
                    <a:pt x="0" y="12"/>
                    <a:pt x="0" y="27"/>
                  </a:cubicBezTo>
                  <a:cubicBezTo>
                    <a:pt x="0" y="241"/>
                    <a:pt x="0" y="241"/>
                    <a:pt x="0" y="241"/>
                  </a:cubicBezTo>
                  <a:cubicBezTo>
                    <a:pt x="0" y="256"/>
                    <a:pt x="12" y="268"/>
                    <a:pt x="27" y="268"/>
                  </a:cubicBezTo>
                  <a:cubicBezTo>
                    <a:pt x="242" y="268"/>
                    <a:pt x="242" y="268"/>
                    <a:pt x="242" y="268"/>
                  </a:cubicBezTo>
                  <a:cubicBezTo>
                    <a:pt x="256" y="268"/>
                    <a:pt x="269" y="256"/>
                    <a:pt x="269" y="241"/>
                  </a:cubicBezTo>
                  <a:cubicBezTo>
                    <a:pt x="269" y="27"/>
                    <a:pt x="269" y="27"/>
                    <a:pt x="269" y="27"/>
                  </a:cubicBezTo>
                  <a:cubicBezTo>
                    <a:pt x="269" y="12"/>
                    <a:pt x="256"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7" name="Freeform 181"/>
            <p:cNvSpPr>
              <a:spLocks noEditPoints="1"/>
            </p:cNvSpPr>
            <p:nvPr userDrawn="1"/>
          </p:nvSpPr>
          <p:spPr bwMode="auto">
            <a:xfrm>
              <a:off x="4201104" y="4171940"/>
              <a:ext cx="342226" cy="328935"/>
            </a:xfrm>
            <a:custGeom>
              <a:avLst/>
              <a:gdLst>
                <a:gd name="T0" fmla="*/ 5 w 132"/>
                <a:gd name="T1" fmla="*/ 123 h 127"/>
                <a:gd name="T2" fmla="*/ 66 w 132"/>
                <a:gd name="T3" fmla="*/ 6 h 127"/>
                <a:gd name="T4" fmla="*/ 126 w 132"/>
                <a:gd name="T5" fmla="*/ 123 h 127"/>
                <a:gd name="T6" fmla="*/ 5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0 w 132"/>
                <a:gd name="T23" fmla="*/ 126 h 127"/>
                <a:gd name="T24" fmla="*/ 2 w 132"/>
                <a:gd name="T25" fmla="*/ 127 h 127"/>
                <a:gd name="T26" fmla="*/ 130 w 132"/>
                <a:gd name="T27" fmla="*/ 127 h 127"/>
                <a:gd name="T28" fmla="*/ 131 w 132"/>
                <a:gd name="T29" fmla="*/ 126 h 127"/>
                <a:gd name="T30" fmla="*/ 131 w 132"/>
                <a:gd name="T31" fmla="*/ 124 h 127"/>
                <a:gd name="T32" fmla="*/ 67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5" y="123"/>
                  </a:moveTo>
                  <a:cubicBezTo>
                    <a:pt x="66" y="6"/>
                    <a:pt x="66" y="6"/>
                    <a:pt x="66" y="6"/>
                  </a:cubicBezTo>
                  <a:cubicBezTo>
                    <a:pt x="126" y="123"/>
                    <a:pt x="126" y="123"/>
                    <a:pt x="126" y="123"/>
                  </a:cubicBezTo>
                  <a:cubicBezTo>
                    <a:pt x="5" y="123"/>
                    <a:pt x="5" y="123"/>
                    <a:pt x="5" y="123"/>
                  </a:cubicBezTo>
                  <a:moveTo>
                    <a:pt x="64" y="3"/>
                  </a:moveTo>
                  <a:cubicBezTo>
                    <a:pt x="66" y="2"/>
                    <a:pt x="66" y="2"/>
                    <a:pt x="66" y="2"/>
                  </a:cubicBezTo>
                  <a:cubicBezTo>
                    <a:pt x="64" y="3"/>
                    <a:pt x="64" y="3"/>
                    <a:pt x="64" y="3"/>
                  </a:cubicBezTo>
                  <a:moveTo>
                    <a:pt x="66" y="0"/>
                  </a:moveTo>
                  <a:cubicBezTo>
                    <a:pt x="65" y="0"/>
                    <a:pt x="64" y="0"/>
                    <a:pt x="64" y="1"/>
                  </a:cubicBezTo>
                  <a:cubicBezTo>
                    <a:pt x="64" y="1"/>
                    <a:pt x="64" y="1"/>
                    <a:pt x="64" y="1"/>
                  </a:cubicBezTo>
                  <a:cubicBezTo>
                    <a:pt x="0" y="124"/>
                    <a:pt x="0" y="124"/>
                    <a:pt x="0" y="124"/>
                  </a:cubicBezTo>
                  <a:cubicBezTo>
                    <a:pt x="0" y="125"/>
                    <a:pt x="0" y="126"/>
                    <a:pt x="0" y="126"/>
                  </a:cubicBezTo>
                  <a:cubicBezTo>
                    <a:pt x="0" y="127"/>
                    <a:pt x="1" y="127"/>
                    <a:pt x="2" y="127"/>
                  </a:cubicBezTo>
                  <a:cubicBezTo>
                    <a:pt x="130" y="127"/>
                    <a:pt x="130" y="127"/>
                    <a:pt x="130" y="127"/>
                  </a:cubicBezTo>
                  <a:cubicBezTo>
                    <a:pt x="130" y="127"/>
                    <a:pt x="131" y="127"/>
                    <a:pt x="131" y="126"/>
                  </a:cubicBezTo>
                  <a:cubicBezTo>
                    <a:pt x="132" y="126"/>
                    <a:pt x="132" y="125"/>
                    <a:pt x="131" y="124"/>
                  </a:cubicBezTo>
                  <a:cubicBezTo>
                    <a:pt x="67" y="1"/>
                    <a:pt x="67" y="1"/>
                    <a:pt x="67" y="1"/>
                  </a:cubicBezTo>
                  <a:cubicBezTo>
                    <a:pt x="67" y="0"/>
                    <a:pt x="66"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8" name="Freeform 182"/>
            <p:cNvSpPr>
              <a:spLocks noEditPoints="1"/>
            </p:cNvSpPr>
            <p:nvPr userDrawn="1"/>
          </p:nvSpPr>
          <p:spPr bwMode="auto">
            <a:xfrm>
              <a:off x="4501798" y="4276600"/>
              <a:ext cx="164468" cy="224275"/>
            </a:xfrm>
            <a:custGeom>
              <a:avLst/>
              <a:gdLst>
                <a:gd name="T0" fmla="*/ 31 w 63"/>
                <a:gd name="T1" fmla="*/ 83 h 87"/>
                <a:gd name="T2" fmla="*/ 5 w 63"/>
                <a:gd name="T3" fmla="*/ 32 h 87"/>
                <a:gd name="T4" fmla="*/ 18 w 63"/>
                <a:gd name="T5" fmla="*/ 7 h 87"/>
                <a:gd name="T6" fmla="*/ 57 w 63"/>
                <a:gd name="T7" fmla="*/ 83 h 87"/>
                <a:gd name="T8" fmla="*/ 31 w 63"/>
                <a:gd name="T9" fmla="*/ 83 h 87"/>
                <a:gd name="T10" fmla="*/ 16 w 63"/>
                <a:gd name="T11" fmla="*/ 3 h 87"/>
                <a:gd name="T12" fmla="*/ 18 w 63"/>
                <a:gd name="T13" fmla="*/ 2 h 87"/>
                <a:gd name="T14" fmla="*/ 16 w 63"/>
                <a:gd name="T15" fmla="*/ 3 h 87"/>
                <a:gd name="T16" fmla="*/ 18 w 63"/>
                <a:gd name="T17" fmla="*/ 0 h 87"/>
                <a:gd name="T18" fmla="*/ 16 w 63"/>
                <a:gd name="T19" fmla="*/ 1 h 87"/>
                <a:gd name="T20" fmla="*/ 16 w 63"/>
                <a:gd name="T21" fmla="*/ 1 h 87"/>
                <a:gd name="T22" fmla="*/ 1 w 63"/>
                <a:gd name="T23" fmla="*/ 31 h 87"/>
                <a:gd name="T24" fmla="*/ 1 w 63"/>
                <a:gd name="T25" fmla="*/ 33 h 87"/>
                <a:gd name="T26" fmla="*/ 28 w 63"/>
                <a:gd name="T27" fmla="*/ 86 h 87"/>
                <a:gd name="T28" fmla="*/ 30 w 63"/>
                <a:gd name="T29" fmla="*/ 87 h 87"/>
                <a:gd name="T30" fmla="*/ 61 w 63"/>
                <a:gd name="T31" fmla="*/ 87 h 87"/>
                <a:gd name="T32" fmla="*/ 62 w 63"/>
                <a:gd name="T33" fmla="*/ 86 h 87"/>
                <a:gd name="T34" fmla="*/ 63 w 63"/>
                <a:gd name="T35" fmla="*/ 84 h 87"/>
                <a:gd name="T36" fmla="*/ 20 w 63"/>
                <a:gd name="T37" fmla="*/ 1 h 87"/>
                <a:gd name="T38" fmla="*/ 18 w 63"/>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87">
                  <a:moveTo>
                    <a:pt x="31" y="83"/>
                  </a:moveTo>
                  <a:cubicBezTo>
                    <a:pt x="5" y="32"/>
                    <a:pt x="5" y="32"/>
                    <a:pt x="5" y="32"/>
                  </a:cubicBezTo>
                  <a:cubicBezTo>
                    <a:pt x="18" y="7"/>
                    <a:pt x="18" y="7"/>
                    <a:pt x="18" y="7"/>
                  </a:cubicBezTo>
                  <a:cubicBezTo>
                    <a:pt x="57" y="83"/>
                    <a:pt x="57" y="83"/>
                    <a:pt x="57" y="83"/>
                  </a:cubicBezTo>
                  <a:cubicBezTo>
                    <a:pt x="31" y="83"/>
                    <a:pt x="31" y="83"/>
                    <a:pt x="31" y="83"/>
                  </a:cubicBezTo>
                  <a:moveTo>
                    <a:pt x="16" y="3"/>
                  </a:moveTo>
                  <a:cubicBezTo>
                    <a:pt x="18" y="2"/>
                    <a:pt x="18" y="2"/>
                    <a:pt x="18" y="2"/>
                  </a:cubicBezTo>
                  <a:cubicBezTo>
                    <a:pt x="16" y="3"/>
                    <a:pt x="16" y="3"/>
                    <a:pt x="16" y="3"/>
                  </a:cubicBezTo>
                  <a:moveTo>
                    <a:pt x="18" y="0"/>
                  </a:moveTo>
                  <a:cubicBezTo>
                    <a:pt x="17" y="0"/>
                    <a:pt x="16" y="1"/>
                    <a:pt x="16" y="1"/>
                  </a:cubicBezTo>
                  <a:cubicBezTo>
                    <a:pt x="16" y="1"/>
                    <a:pt x="16" y="1"/>
                    <a:pt x="16" y="1"/>
                  </a:cubicBezTo>
                  <a:cubicBezTo>
                    <a:pt x="1" y="31"/>
                    <a:pt x="1" y="31"/>
                    <a:pt x="1" y="31"/>
                  </a:cubicBezTo>
                  <a:cubicBezTo>
                    <a:pt x="0" y="32"/>
                    <a:pt x="0" y="32"/>
                    <a:pt x="1" y="33"/>
                  </a:cubicBezTo>
                  <a:cubicBezTo>
                    <a:pt x="28" y="86"/>
                    <a:pt x="28" y="86"/>
                    <a:pt x="28" y="86"/>
                  </a:cubicBezTo>
                  <a:cubicBezTo>
                    <a:pt x="29" y="87"/>
                    <a:pt x="29" y="87"/>
                    <a:pt x="30" y="87"/>
                  </a:cubicBezTo>
                  <a:cubicBezTo>
                    <a:pt x="61" y="87"/>
                    <a:pt x="61" y="87"/>
                    <a:pt x="61" y="87"/>
                  </a:cubicBezTo>
                  <a:cubicBezTo>
                    <a:pt x="61" y="87"/>
                    <a:pt x="62" y="87"/>
                    <a:pt x="62" y="86"/>
                  </a:cubicBezTo>
                  <a:cubicBezTo>
                    <a:pt x="63" y="86"/>
                    <a:pt x="63" y="85"/>
                    <a:pt x="63" y="84"/>
                  </a:cubicBezTo>
                  <a:cubicBezTo>
                    <a:pt x="20" y="1"/>
                    <a:pt x="20" y="1"/>
                    <a:pt x="20" y="1"/>
                  </a:cubicBezTo>
                  <a:cubicBezTo>
                    <a:pt x="19" y="1"/>
                    <a:pt x="19" y="0"/>
                    <a:pt x="18"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9" name="Rectangle 187"/>
            <p:cNvSpPr>
              <a:spLocks noChangeArrowheads="1"/>
            </p:cNvSpPr>
            <p:nvPr userDrawn="1"/>
          </p:nvSpPr>
          <p:spPr bwMode="auto">
            <a:xfrm>
              <a:off x="2489975" y="2733262"/>
              <a:ext cx="2834161" cy="9968"/>
            </a:xfrm>
            <a:prstGeom prst="rect">
              <a:avLst/>
            </a:prstGeom>
            <a:solidFill>
              <a:srgbClr val="3677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30" name="Rectangle 188"/>
            <p:cNvSpPr>
              <a:spLocks noChangeArrowheads="1"/>
            </p:cNvSpPr>
            <p:nvPr userDrawn="1"/>
          </p:nvSpPr>
          <p:spPr bwMode="auto">
            <a:xfrm>
              <a:off x="2489975" y="2733262"/>
              <a:ext cx="2834161"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31" name="Freeform 189"/>
            <p:cNvSpPr/>
            <p:nvPr userDrawn="1"/>
          </p:nvSpPr>
          <p:spPr bwMode="auto">
            <a:xfrm>
              <a:off x="2489975" y="2489052"/>
              <a:ext cx="2834161" cy="147855"/>
            </a:xfrm>
            <a:custGeom>
              <a:avLst/>
              <a:gdLst>
                <a:gd name="T0" fmla="*/ 1092 w 1092"/>
                <a:gd name="T1" fmla="*/ 0 h 57"/>
                <a:gd name="T2" fmla="*/ 28 w 1092"/>
                <a:gd name="T3" fmla="*/ 0 h 57"/>
                <a:gd name="T4" fmla="*/ 0 w 1092"/>
                <a:gd name="T5" fmla="*/ 23 h 57"/>
                <a:gd name="T6" fmla="*/ 0 w 1092"/>
                <a:gd name="T7" fmla="*/ 34 h 57"/>
                <a:gd name="T8" fmla="*/ 28 w 1092"/>
                <a:gd name="T9" fmla="*/ 57 h 57"/>
                <a:gd name="T10" fmla="*/ 1092 w 1092"/>
                <a:gd name="T11" fmla="*/ 57 h 57"/>
                <a:gd name="T12" fmla="*/ 1092 w 1092"/>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092" h="57">
                  <a:moveTo>
                    <a:pt x="1092" y="0"/>
                  </a:moveTo>
                  <a:cubicBezTo>
                    <a:pt x="28" y="0"/>
                    <a:pt x="28" y="0"/>
                    <a:pt x="28" y="0"/>
                  </a:cubicBezTo>
                  <a:cubicBezTo>
                    <a:pt x="14" y="0"/>
                    <a:pt x="3" y="10"/>
                    <a:pt x="0" y="23"/>
                  </a:cubicBezTo>
                  <a:cubicBezTo>
                    <a:pt x="0" y="34"/>
                    <a:pt x="0" y="34"/>
                    <a:pt x="0" y="34"/>
                  </a:cubicBezTo>
                  <a:cubicBezTo>
                    <a:pt x="3" y="47"/>
                    <a:pt x="14" y="57"/>
                    <a:pt x="28" y="57"/>
                  </a:cubicBezTo>
                  <a:cubicBezTo>
                    <a:pt x="1092" y="57"/>
                    <a:pt x="1092" y="57"/>
                    <a:pt x="1092" y="57"/>
                  </a:cubicBezTo>
                  <a:cubicBezTo>
                    <a:pt x="1092" y="0"/>
                    <a:pt x="1092" y="0"/>
                    <a:pt x="1092" y="0"/>
                  </a:cubicBezTo>
                </a:path>
              </a:pathLst>
            </a:custGeom>
            <a:solidFill>
              <a:srgbClr val="97BB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2" name="Rectangle 190"/>
            <p:cNvSpPr>
              <a:spLocks noChangeArrowheads="1"/>
            </p:cNvSpPr>
            <p:nvPr userDrawn="1"/>
          </p:nvSpPr>
          <p:spPr bwMode="auto">
            <a:xfrm>
              <a:off x="5221136" y="2876133"/>
              <a:ext cx="103000" cy="9968"/>
            </a:xfrm>
            <a:prstGeom prst="rect">
              <a:avLst/>
            </a:prstGeom>
            <a:solidFill>
              <a:srgbClr val="ADCA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33" name="Rectangle 191"/>
            <p:cNvSpPr>
              <a:spLocks noChangeArrowheads="1"/>
            </p:cNvSpPr>
            <p:nvPr userDrawn="1"/>
          </p:nvSpPr>
          <p:spPr bwMode="auto">
            <a:xfrm>
              <a:off x="5221136" y="2876133"/>
              <a:ext cx="103000" cy="9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34" name="Freeform 197"/>
            <p:cNvSpPr/>
            <p:nvPr userDrawn="1"/>
          </p:nvSpPr>
          <p:spPr bwMode="auto">
            <a:xfrm>
              <a:off x="2484991" y="2146826"/>
              <a:ext cx="2844129" cy="2531806"/>
            </a:xfrm>
            <a:custGeom>
              <a:avLst/>
              <a:gdLst>
                <a:gd name="T0" fmla="*/ 2 w 1096"/>
                <a:gd name="T1" fmla="*/ 974 h 976"/>
                <a:gd name="T2" fmla="*/ 4 w 1096"/>
                <a:gd name="T3" fmla="*/ 974 h 976"/>
                <a:gd name="T4" fmla="*/ 4 w 1096"/>
                <a:gd name="T5" fmla="*/ 4 h 976"/>
                <a:gd name="T6" fmla="*/ 1092 w 1096"/>
                <a:gd name="T7" fmla="*/ 4 h 976"/>
                <a:gd name="T8" fmla="*/ 1092 w 1096"/>
                <a:gd name="T9" fmla="*/ 972 h 976"/>
                <a:gd name="T10" fmla="*/ 2 w 1096"/>
                <a:gd name="T11" fmla="*/ 972 h 976"/>
                <a:gd name="T12" fmla="*/ 2 w 1096"/>
                <a:gd name="T13" fmla="*/ 974 h 976"/>
                <a:gd name="T14" fmla="*/ 4 w 1096"/>
                <a:gd name="T15" fmla="*/ 974 h 976"/>
                <a:gd name="T16" fmla="*/ 2 w 1096"/>
                <a:gd name="T17" fmla="*/ 974 h 976"/>
                <a:gd name="T18" fmla="*/ 2 w 1096"/>
                <a:gd name="T19" fmla="*/ 976 h 976"/>
                <a:gd name="T20" fmla="*/ 1094 w 1096"/>
                <a:gd name="T21" fmla="*/ 976 h 976"/>
                <a:gd name="T22" fmla="*/ 1096 w 1096"/>
                <a:gd name="T23" fmla="*/ 976 h 976"/>
                <a:gd name="T24" fmla="*/ 1096 w 1096"/>
                <a:gd name="T25" fmla="*/ 974 h 976"/>
                <a:gd name="T26" fmla="*/ 1096 w 1096"/>
                <a:gd name="T27" fmla="*/ 2 h 976"/>
                <a:gd name="T28" fmla="*/ 1096 w 1096"/>
                <a:gd name="T29" fmla="*/ 1 h 976"/>
                <a:gd name="T30" fmla="*/ 1094 w 1096"/>
                <a:gd name="T31" fmla="*/ 0 h 976"/>
                <a:gd name="T32" fmla="*/ 2 w 1096"/>
                <a:gd name="T33" fmla="*/ 0 h 976"/>
                <a:gd name="T34" fmla="*/ 0 w 1096"/>
                <a:gd name="T35" fmla="*/ 1 h 976"/>
                <a:gd name="T36" fmla="*/ 0 w 1096"/>
                <a:gd name="T37" fmla="*/ 2 h 976"/>
                <a:gd name="T38" fmla="*/ 0 w 1096"/>
                <a:gd name="T39" fmla="*/ 974 h 976"/>
                <a:gd name="T40" fmla="*/ 0 w 1096"/>
                <a:gd name="T41" fmla="*/ 976 h 976"/>
                <a:gd name="T42" fmla="*/ 2 w 1096"/>
                <a:gd name="T43" fmla="*/ 976 h 976"/>
                <a:gd name="T44" fmla="*/ 2 w 1096"/>
                <a:gd name="T45" fmla="*/ 974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6" h="976">
                  <a:moveTo>
                    <a:pt x="2" y="974"/>
                  </a:moveTo>
                  <a:cubicBezTo>
                    <a:pt x="4" y="974"/>
                    <a:pt x="4" y="974"/>
                    <a:pt x="4" y="974"/>
                  </a:cubicBezTo>
                  <a:cubicBezTo>
                    <a:pt x="4" y="4"/>
                    <a:pt x="4" y="4"/>
                    <a:pt x="4" y="4"/>
                  </a:cubicBezTo>
                  <a:cubicBezTo>
                    <a:pt x="1092" y="4"/>
                    <a:pt x="1092" y="4"/>
                    <a:pt x="1092" y="4"/>
                  </a:cubicBezTo>
                  <a:cubicBezTo>
                    <a:pt x="1092" y="972"/>
                    <a:pt x="1092" y="972"/>
                    <a:pt x="1092" y="972"/>
                  </a:cubicBezTo>
                  <a:cubicBezTo>
                    <a:pt x="2" y="972"/>
                    <a:pt x="2" y="972"/>
                    <a:pt x="2" y="972"/>
                  </a:cubicBezTo>
                  <a:cubicBezTo>
                    <a:pt x="2" y="974"/>
                    <a:pt x="2" y="974"/>
                    <a:pt x="2" y="974"/>
                  </a:cubicBezTo>
                  <a:cubicBezTo>
                    <a:pt x="4" y="974"/>
                    <a:pt x="4" y="974"/>
                    <a:pt x="4" y="974"/>
                  </a:cubicBezTo>
                  <a:cubicBezTo>
                    <a:pt x="2" y="974"/>
                    <a:pt x="2" y="974"/>
                    <a:pt x="2" y="974"/>
                  </a:cubicBezTo>
                  <a:cubicBezTo>
                    <a:pt x="2" y="976"/>
                    <a:pt x="2" y="976"/>
                    <a:pt x="2" y="976"/>
                  </a:cubicBezTo>
                  <a:cubicBezTo>
                    <a:pt x="1094" y="976"/>
                    <a:pt x="1094" y="976"/>
                    <a:pt x="1094" y="976"/>
                  </a:cubicBezTo>
                  <a:cubicBezTo>
                    <a:pt x="1095" y="976"/>
                    <a:pt x="1095" y="976"/>
                    <a:pt x="1096" y="976"/>
                  </a:cubicBezTo>
                  <a:cubicBezTo>
                    <a:pt x="1096" y="975"/>
                    <a:pt x="1096" y="975"/>
                    <a:pt x="1096" y="974"/>
                  </a:cubicBezTo>
                  <a:cubicBezTo>
                    <a:pt x="1096" y="2"/>
                    <a:pt x="1096" y="2"/>
                    <a:pt x="1096" y="2"/>
                  </a:cubicBezTo>
                  <a:cubicBezTo>
                    <a:pt x="1096" y="2"/>
                    <a:pt x="1096" y="1"/>
                    <a:pt x="1096" y="1"/>
                  </a:cubicBezTo>
                  <a:cubicBezTo>
                    <a:pt x="1095" y="1"/>
                    <a:pt x="1095" y="0"/>
                    <a:pt x="1094" y="0"/>
                  </a:cubicBezTo>
                  <a:cubicBezTo>
                    <a:pt x="2" y="0"/>
                    <a:pt x="2" y="0"/>
                    <a:pt x="2" y="0"/>
                  </a:cubicBezTo>
                  <a:cubicBezTo>
                    <a:pt x="1" y="0"/>
                    <a:pt x="1" y="1"/>
                    <a:pt x="0" y="1"/>
                  </a:cubicBezTo>
                  <a:cubicBezTo>
                    <a:pt x="0" y="1"/>
                    <a:pt x="0" y="2"/>
                    <a:pt x="0" y="2"/>
                  </a:cubicBezTo>
                  <a:cubicBezTo>
                    <a:pt x="0" y="974"/>
                    <a:pt x="0" y="974"/>
                    <a:pt x="0" y="974"/>
                  </a:cubicBezTo>
                  <a:cubicBezTo>
                    <a:pt x="0" y="975"/>
                    <a:pt x="0" y="975"/>
                    <a:pt x="0" y="976"/>
                  </a:cubicBezTo>
                  <a:cubicBezTo>
                    <a:pt x="1" y="976"/>
                    <a:pt x="1" y="976"/>
                    <a:pt x="2" y="976"/>
                  </a:cubicBezTo>
                  <a:lnTo>
                    <a:pt x="2" y="974"/>
                  </a:lnTo>
                  <a:close/>
                </a:path>
              </a:pathLst>
            </a:custGeom>
            <a:solidFill>
              <a:srgbClr val="498EF2"/>
            </a:solidFill>
            <a:ln w="9525">
              <a:solidFill>
                <a:schemeClr val="accent1"/>
              </a:solidFill>
              <a:round/>
            </a:ln>
          </p:spPr>
          <p:txBody>
            <a:bodyPr vert="horz" wrap="square" lIns="91440" tIns="45720" rIns="91440" bIns="45720" numCol="1" anchor="t" anchorCtr="0" compatLnSpc="1"/>
            <a:lstStyle/>
            <a:p>
              <a:endParaRPr lang="zh-CN" altLang="en-US"/>
            </a:p>
          </p:txBody>
        </p:sp>
        <p:sp>
          <p:nvSpPr>
            <p:cNvPr id="635" name="Freeform 199"/>
            <p:cNvSpPr>
              <a:spLocks noEditPoints="1"/>
            </p:cNvSpPr>
            <p:nvPr userDrawn="1"/>
          </p:nvSpPr>
          <p:spPr bwMode="auto">
            <a:xfrm>
              <a:off x="2614572" y="2276407"/>
              <a:ext cx="2584968" cy="2270984"/>
            </a:xfrm>
            <a:custGeom>
              <a:avLst/>
              <a:gdLst>
                <a:gd name="T0" fmla="*/ 992 w 996"/>
                <a:gd name="T1" fmla="*/ 4 h 876"/>
                <a:gd name="T2" fmla="*/ 992 w 996"/>
                <a:gd name="T3" fmla="*/ 872 h 876"/>
                <a:gd name="T4" fmla="*/ 4 w 996"/>
                <a:gd name="T5" fmla="*/ 872 h 876"/>
                <a:gd name="T6" fmla="*/ 4 w 996"/>
                <a:gd name="T7" fmla="*/ 4 h 876"/>
                <a:gd name="T8" fmla="*/ 992 w 996"/>
                <a:gd name="T9" fmla="*/ 4 h 876"/>
                <a:gd name="T10" fmla="*/ 992 w 996"/>
                <a:gd name="T11" fmla="*/ 0 h 876"/>
                <a:gd name="T12" fmla="*/ 4 w 996"/>
                <a:gd name="T13" fmla="*/ 0 h 876"/>
                <a:gd name="T14" fmla="*/ 0 w 996"/>
                <a:gd name="T15" fmla="*/ 4 h 876"/>
                <a:gd name="T16" fmla="*/ 0 w 996"/>
                <a:gd name="T17" fmla="*/ 872 h 876"/>
                <a:gd name="T18" fmla="*/ 4 w 996"/>
                <a:gd name="T19" fmla="*/ 876 h 876"/>
                <a:gd name="T20" fmla="*/ 992 w 996"/>
                <a:gd name="T21" fmla="*/ 876 h 876"/>
                <a:gd name="T22" fmla="*/ 996 w 996"/>
                <a:gd name="T23" fmla="*/ 872 h 876"/>
                <a:gd name="T24" fmla="*/ 996 w 996"/>
                <a:gd name="T25" fmla="*/ 4 h 876"/>
                <a:gd name="T26" fmla="*/ 992 w 996"/>
                <a:gd name="T2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6" h="876">
                  <a:moveTo>
                    <a:pt x="992" y="4"/>
                  </a:moveTo>
                  <a:cubicBezTo>
                    <a:pt x="992" y="872"/>
                    <a:pt x="992" y="872"/>
                    <a:pt x="992" y="872"/>
                  </a:cubicBezTo>
                  <a:cubicBezTo>
                    <a:pt x="4" y="872"/>
                    <a:pt x="4" y="872"/>
                    <a:pt x="4" y="872"/>
                  </a:cubicBezTo>
                  <a:cubicBezTo>
                    <a:pt x="4" y="4"/>
                    <a:pt x="4" y="4"/>
                    <a:pt x="4" y="4"/>
                  </a:cubicBezTo>
                  <a:cubicBezTo>
                    <a:pt x="992" y="4"/>
                    <a:pt x="992" y="4"/>
                    <a:pt x="992" y="4"/>
                  </a:cubicBezTo>
                  <a:moveTo>
                    <a:pt x="992" y="0"/>
                  </a:moveTo>
                  <a:cubicBezTo>
                    <a:pt x="4" y="0"/>
                    <a:pt x="4" y="0"/>
                    <a:pt x="4" y="0"/>
                  </a:cubicBezTo>
                  <a:cubicBezTo>
                    <a:pt x="2" y="0"/>
                    <a:pt x="0" y="2"/>
                    <a:pt x="0" y="4"/>
                  </a:cubicBezTo>
                  <a:cubicBezTo>
                    <a:pt x="0" y="872"/>
                    <a:pt x="0" y="872"/>
                    <a:pt x="0" y="872"/>
                  </a:cubicBezTo>
                  <a:cubicBezTo>
                    <a:pt x="0" y="875"/>
                    <a:pt x="2" y="876"/>
                    <a:pt x="4" y="876"/>
                  </a:cubicBezTo>
                  <a:cubicBezTo>
                    <a:pt x="992" y="876"/>
                    <a:pt x="992" y="876"/>
                    <a:pt x="992" y="876"/>
                  </a:cubicBezTo>
                  <a:cubicBezTo>
                    <a:pt x="994" y="876"/>
                    <a:pt x="996" y="875"/>
                    <a:pt x="996" y="872"/>
                  </a:cubicBezTo>
                  <a:cubicBezTo>
                    <a:pt x="996" y="4"/>
                    <a:pt x="996" y="4"/>
                    <a:pt x="996" y="4"/>
                  </a:cubicBezTo>
                  <a:cubicBezTo>
                    <a:pt x="996" y="2"/>
                    <a:pt x="994" y="0"/>
                    <a:pt x="992" y="0"/>
                  </a:cubicBez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6" name="Rectangle 207"/>
            <p:cNvSpPr>
              <a:spLocks noChangeArrowheads="1"/>
            </p:cNvSpPr>
            <p:nvPr userDrawn="1"/>
          </p:nvSpPr>
          <p:spPr bwMode="auto">
            <a:xfrm>
              <a:off x="684153" y="5886391"/>
              <a:ext cx="6447468" cy="9968"/>
            </a:xfrm>
            <a:prstGeom prst="rect">
              <a:avLst/>
            </a:prstGeom>
            <a:solidFill>
              <a:srgbClr val="498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37" name="Freeform 208"/>
            <p:cNvSpPr/>
            <p:nvPr userDrawn="1"/>
          </p:nvSpPr>
          <p:spPr bwMode="auto">
            <a:xfrm>
              <a:off x="684153" y="5886391"/>
              <a:ext cx="6447468" cy="9968"/>
            </a:xfrm>
            <a:custGeom>
              <a:avLst/>
              <a:gdLst>
                <a:gd name="T0" fmla="*/ 0 w 3881"/>
                <a:gd name="T1" fmla="*/ 6 h 6"/>
                <a:gd name="T2" fmla="*/ 3881 w 3881"/>
                <a:gd name="T3" fmla="*/ 6 h 6"/>
                <a:gd name="T4" fmla="*/ 3881 w 3881"/>
                <a:gd name="T5" fmla="*/ 0 h 6"/>
                <a:gd name="T6" fmla="*/ 0 w 3881"/>
                <a:gd name="T7" fmla="*/ 0 h 6"/>
              </a:gdLst>
              <a:ahLst/>
              <a:cxnLst>
                <a:cxn ang="0">
                  <a:pos x="T0" y="T1"/>
                </a:cxn>
                <a:cxn ang="0">
                  <a:pos x="T2" y="T3"/>
                </a:cxn>
                <a:cxn ang="0">
                  <a:pos x="T4" y="T5"/>
                </a:cxn>
                <a:cxn ang="0">
                  <a:pos x="T6" y="T7"/>
                </a:cxn>
              </a:cxnLst>
              <a:rect l="0" t="0" r="r" b="b"/>
              <a:pathLst>
                <a:path w="3881" h="6">
                  <a:moveTo>
                    <a:pt x="0" y="6"/>
                  </a:moveTo>
                  <a:lnTo>
                    <a:pt x="3881" y="6"/>
                  </a:lnTo>
                  <a:lnTo>
                    <a:pt x="38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8" name="Rectangle 238"/>
            <p:cNvSpPr>
              <a:spLocks noChangeArrowheads="1"/>
            </p:cNvSpPr>
            <p:nvPr userDrawn="1"/>
          </p:nvSpPr>
          <p:spPr bwMode="auto">
            <a:xfrm>
              <a:off x="2132798" y="6230513"/>
              <a:ext cx="398710" cy="14952"/>
            </a:xfrm>
            <a:prstGeom prst="rect">
              <a:avLst/>
            </a:prstGeom>
            <a:solidFill>
              <a:srgbClr val="FFAC0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39" name="Freeform 239"/>
            <p:cNvSpPr/>
            <p:nvPr userDrawn="1"/>
          </p:nvSpPr>
          <p:spPr bwMode="auto">
            <a:xfrm>
              <a:off x="2129475" y="6087642"/>
              <a:ext cx="402032" cy="142871"/>
            </a:xfrm>
            <a:custGeom>
              <a:avLst/>
              <a:gdLst>
                <a:gd name="T0" fmla="*/ 21 w 155"/>
                <a:gd name="T1" fmla="*/ 0 h 55"/>
                <a:gd name="T2" fmla="*/ 9 w 155"/>
                <a:gd name="T3" fmla="*/ 3 h 55"/>
                <a:gd name="T4" fmla="*/ 2 w 155"/>
                <a:gd name="T5" fmla="*/ 31 h 55"/>
                <a:gd name="T6" fmla="*/ 1 w 155"/>
                <a:gd name="T7" fmla="*/ 55 h 55"/>
                <a:gd name="T8" fmla="*/ 155 w 155"/>
                <a:gd name="T9" fmla="*/ 55 h 55"/>
                <a:gd name="T10" fmla="*/ 108 w 155"/>
                <a:gd name="T11" fmla="*/ 19 h 55"/>
                <a:gd name="T12" fmla="*/ 87 w 155"/>
                <a:gd name="T13" fmla="*/ 4 h 55"/>
                <a:gd name="T14" fmla="*/ 21 w 155"/>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55">
                  <a:moveTo>
                    <a:pt x="21" y="0"/>
                  </a:moveTo>
                  <a:cubicBezTo>
                    <a:pt x="9" y="3"/>
                    <a:pt x="9" y="3"/>
                    <a:pt x="9" y="3"/>
                  </a:cubicBezTo>
                  <a:cubicBezTo>
                    <a:pt x="9" y="3"/>
                    <a:pt x="4" y="20"/>
                    <a:pt x="2" y="31"/>
                  </a:cubicBezTo>
                  <a:cubicBezTo>
                    <a:pt x="0" y="43"/>
                    <a:pt x="1" y="55"/>
                    <a:pt x="1" y="55"/>
                  </a:cubicBezTo>
                  <a:cubicBezTo>
                    <a:pt x="155" y="55"/>
                    <a:pt x="155" y="55"/>
                    <a:pt x="155" y="55"/>
                  </a:cubicBezTo>
                  <a:cubicBezTo>
                    <a:pt x="155" y="55"/>
                    <a:pt x="148" y="36"/>
                    <a:pt x="108" y="19"/>
                  </a:cubicBezTo>
                  <a:cubicBezTo>
                    <a:pt x="93" y="13"/>
                    <a:pt x="87" y="4"/>
                    <a:pt x="87" y="4"/>
                  </a:cubicBezTo>
                  <a:lnTo>
                    <a:pt x="21" y="0"/>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0" name="Freeform 240"/>
            <p:cNvSpPr/>
            <p:nvPr userDrawn="1"/>
          </p:nvSpPr>
          <p:spPr bwMode="auto">
            <a:xfrm>
              <a:off x="2129475" y="5891610"/>
              <a:ext cx="225935" cy="224275"/>
            </a:xfrm>
            <a:custGeom>
              <a:avLst/>
              <a:gdLst>
                <a:gd name="T0" fmla="*/ 0 w 87"/>
                <a:gd name="T1" fmla="*/ 31 h 87"/>
                <a:gd name="T2" fmla="*/ 9 w 87"/>
                <a:gd name="T3" fmla="*/ 79 h 87"/>
                <a:gd name="T4" fmla="*/ 40 w 87"/>
                <a:gd name="T5" fmla="*/ 87 h 87"/>
                <a:gd name="T6" fmla="*/ 87 w 87"/>
                <a:gd name="T7" fmla="*/ 80 h 87"/>
                <a:gd name="T8" fmla="*/ 86 w 87"/>
                <a:gd name="T9" fmla="*/ 0 h 87"/>
              </a:gdLst>
              <a:ahLst/>
              <a:cxnLst>
                <a:cxn ang="0">
                  <a:pos x="T0" y="T1"/>
                </a:cxn>
                <a:cxn ang="0">
                  <a:pos x="T2" y="T3"/>
                </a:cxn>
                <a:cxn ang="0">
                  <a:pos x="T4" y="T5"/>
                </a:cxn>
                <a:cxn ang="0">
                  <a:pos x="T6" y="T7"/>
                </a:cxn>
                <a:cxn ang="0">
                  <a:pos x="T8" y="T9"/>
                </a:cxn>
              </a:cxnLst>
              <a:rect l="0" t="0" r="r" b="b"/>
              <a:pathLst>
                <a:path w="87" h="87">
                  <a:moveTo>
                    <a:pt x="0" y="31"/>
                  </a:moveTo>
                  <a:cubicBezTo>
                    <a:pt x="9" y="79"/>
                    <a:pt x="9" y="79"/>
                    <a:pt x="9" y="79"/>
                  </a:cubicBezTo>
                  <a:cubicBezTo>
                    <a:pt x="9" y="79"/>
                    <a:pt x="15" y="87"/>
                    <a:pt x="40" y="87"/>
                  </a:cubicBezTo>
                  <a:cubicBezTo>
                    <a:pt x="64" y="87"/>
                    <a:pt x="87" y="80"/>
                    <a:pt x="87" y="80"/>
                  </a:cubicBezTo>
                  <a:cubicBezTo>
                    <a:pt x="86" y="0"/>
                    <a:pt x="86" y="0"/>
                    <a:pt x="86" y="0"/>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1" name="Freeform 24"/>
            <p:cNvSpPr/>
            <p:nvPr userDrawn="1"/>
          </p:nvSpPr>
          <p:spPr bwMode="auto">
            <a:xfrm>
              <a:off x="4505120" y="1713230"/>
              <a:ext cx="310662" cy="312323"/>
            </a:xfrm>
            <a:custGeom>
              <a:avLst/>
              <a:gdLst>
                <a:gd name="T0" fmla="*/ 109 w 120"/>
                <a:gd name="T1" fmla="*/ 120 h 120"/>
                <a:gd name="T2" fmla="*/ 11 w 120"/>
                <a:gd name="T3" fmla="*/ 120 h 120"/>
                <a:gd name="T4" fmla="*/ 0 w 120"/>
                <a:gd name="T5" fmla="*/ 109 h 120"/>
                <a:gd name="T6" fmla="*/ 0 w 120"/>
                <a:gd name="T7" fmla="*/ 11 h 120"/>
                <a:gd name="T8" fmla="*/ 11 w 120"/>
                <a:gd name="T9" fmla="*/ 0 h 120"/>
                <a:gd name="T10" fmla="*/ 109 w 120"/>
                <a:gd name="T11" fmla="*/ 0 h 120"/>
                <a:gd name="T12" fmla="*/ 120 w 120"/>
                <a:gd name="T13" fmla="*/ 11 h 120"/>
                <a:gd name="T14" fmla="*/ 120 w 120"/>
                <a:gd name="T15" fmla="*/ 109 h 120"/>
                <a:gd name="T16" fmla="*/ 109 w 120"/>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20">
                  <a:moveTo>
                    <a:pt x="109" y="120"/>
                  </a:moveTo>
                  <a:cubicBezTo>
                    <a:pt x="11" y="120"/>
                    <a:pt x="11" y="120"/>
                    <a:pt x="11" y="120"/>
                  </a:cubicBezTo>
                  <a:cubicBezTo>
                    <a:pt x="5" y="120"/>
                    <a:pt x="0" y="115"/>
                    <a:pt x="0" y="109"/>
                  </a:cubicBezTo>
                  <a:cubicBezTo>
                    <a:pt x="0" y="11"/>
                    <a:pt x="0" y="11"/>
                    <a:pt x="0" y="11"/>
                  </a:cubicBezTo>
                  <a:cubicBezTo>
                    <a:pt x="0" y="5"/>
                    <a:pt x="5" y="0"/>
                    <a:pt x="11" y="0"/>
                  </a:cubicBezTo>
                  <a:cubicBezTo>
                    <a:pt x="109" y="0"/>
                    <a:pt x="109" y="0"/>
                    <a:pt x="109" y="0"/>
                  </a:cubicBezTo>
                  <a:cubicBezTo>
                    <a:pt x="115" y="0"/>
                    <a:pt x="120" y="5"/>
                    <a:pt x="120" y="11"/>
                  </a:cubicBezTo>
                  <a:cubicBezTo>
                    <a:pt x="120" y="109"/>
                    <a:pt x="120" y="109"/>
                    <a:pt x="120" y="109"/>
                  </a:cubicBezTo>
                  <a:cubicBezTo>
                    <a:pt x="120" y="115"/>
                    <a:pt x="115" y="120"/>
                    <a:pt x="109" y="120"/>
                  </a:cubicBezTo>
                  <a:close/>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2" name="Freeform 25"/>
            <p:cNvSpPr/>
            <p:nvPr userDrawn="1"/>
          </p:nvSpPr>
          <p:spPr bwMode="auto">
            <a:xfrm>
              <a:off x="4571572" y="1773037"/>
              <a:ext cx="177759" cy="192710"/>
            </a:xfrm>
            <a:custGeom>
              <a:avLst/>
              <a:gdLst>
                <a:gd name="T0" fmla="*/ 107 w 107"/>
                <a:gd name="T1" fmla="*/ 67 h 116"/>
                <a:gd name="T2" fmla="*/ 53 w 107"/>
                <a:gd name="T3" fmla="*/ 0 h 116"/>
                <a:gd name="T4" fmla="*/ 0 w 107"/>
                <a:gd name="T5" fmla="*/ 67 h 116"/>
                <a:gd name="T6" fmla="*/ 30 w 107"/>
                <a:gd name="T7" fmla="*/ 67 h 116"/>
                <a:gd name="T8" fmla="*/ 30 w 107"/>
                <a:gd name="T9" fmla="*/ 116 h 116"/>
                <a:gd name="T10" fmla="*/ 77 w 107"/>
                <a:gd name="T11" fmla="*/ 116 h 116"/>
                <a:gd name="T12" fmla="*/ 77 w 107"/>
                <a:gd name="T13" fmla="*/ 67 h 116"/>
                <a:gd name="T14" fmla="*/ 107 w 107"/>
                <a:gd name="T15" fmla="*/ 67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16">
                  <a:moveTo>
                    <a:pt x="107" y="67"/>
                  </a:moveTo>
                  <a:lnTo>
                    <a:pt x="53" y="0"/>
                  </a:lnTo>
                  <a:lnTo>
                    <a:pt x="0" y="67"/>
                  </a:lnTo>
                  <a:lnTo>
                    <a:pt x="30" y="67"/>
                  </a:lnTo>
                  <a:lnTo>
                    <a:pt x="30" y="116"/>
                  </a:lnTo>
                  <a:lnTo>
                    <a:pt x="77" y="116"/>
                  </a:lnTo>
                  <a:lnTo>
                    <a:pt x="77" y="67"/>
                  </a:lnTo>
                  <a:lnTo>
                    <a:pt x="107" y="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3" name="Rectangle 54"/>
            <p:cNvSpPr>
              <a:spLocks noChangeArrowheads="1"/>
            </p:cNvSpPr>
            <p:nvPr userDrawn="1"/>
          </p:nvSpPr>
          <p:spPr bwMode="auto">
            <a:xfrm>
              <a:off x="4197781" y="1675020"/>
              <a:ext cx="11630" cy="614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4" name="Freeform 55"/>
            <p:cNvSpPr/>
            <p:nvPr userDrawn="1"/>
          </p:nvSpPr>
          <p:spPr bwMode="auto">
            <a:xfrm>
              <a:off x="4197781" y="1675020"/>
              <a:ext cx="11630" cy="61468"/>
            </a:xfrm>
            <a:custGeom>
              <a:avLst/>
              <a:gdLst>
                <a:gd name="T0" fmla="*/ 0 w 7"/>
                <a:gd name="T1" fmla="*/ 0 h 37"/>
                <a:gd name="T2" fmla="*/ 0 w 7"/>
                <a:gd name="T3" fmla="*/ 37 h 37"/>
                <a:gd name="T4" fmla="*/ 7 w 7"/>
                <a:gd name="T5" fmla="*/ 37 h 37"/>
                <a:gd name="T6" fmla="*/ 7 w 7"/>
                <a:gd name="T7" fmla="*/ 0 h 37"/>
              </a:gdLst>
              <a:ahLst/>
              <a:cxnLst>
                <a:cxn ang="0">
                  <a:pos x="T0" y="T1"/>
                </a:cxn>
                <a:cxn ang="0">
                  <a:pos x="T2" y="T3"/>
                </a:cxn>
                <a:cxn ang="0">
                  <a:pos x="T4" y="T5"/>
                </a:cxn>
                <a:cxn ang="0">
                  <a:pos x="T6" y="T7"/>
                </a:cxn>
              </a:cxnLst>
              <a:rect l="0" t="0" r="r" b="b"/>
              <a:pathLst>
                <a:path w="7" h="37">
                  <a:moveTo>
                    <a:pt x="0" y="0"/>
                  </a:moveTo>
                  <a:lnTo>
                    <a:pt x="0" y="37"/>
                  </a:lnTo>
                  <a:lnTo>
                    <a:pt x="7" y="37"/>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5" name="Rectangle 56"/>
            <p:cNvSpPr>
              <a:spLocks noChangeArrowheads="1"/>
            </p:cNvSpPr>
            <p:nvPr userDrawn="1"/>
          </p:nvSpPr>
          <p:spPr bwMode="auto">
            <a:xfrm>
              <a:off x="4172862" y="1701601"/>
              <a:ext cx="59806"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46" name="Freeform 57"/>
            <p:cNvSpPr/>
            <p:nvPr userDrawn="1"/>
          </p:nvSpPr>
          <p:spPr bwMode="auto">
            <a:xfrm>
              <a:off x="4172862" y="1701601"/>
              <a:ext cx="59806" cy="9968"/>
            </a:xfrm>
            <a:custGeom>
              <a:avLst/>
              <a:gdLst>
                <a:gd name="T0" fmla="*/ 36 w 36"/>
                <a:gd name="T1" fmla="*/ 0 h 6"/>
                <a:gd name="T2" fmla="*/ 0 w 36"/>
                <a:gd name="T3" fmla="*/ 0 h 6"/>
                <a:gd name="T4" fmla="*/ 0 w 36"/>
                <a:gd name="T5" fmla="*/ 6 h 6"/>
                <a:gd name="T6" fmla="*/ 36 w 36"/>
                <a:gd name="T7" fmla="*/ 6 h 6"/>
              </a:gdLst>
              <a:ahLst/>
              <a:cxnLst>
                <a:cxn ang="0">
                  <a:pos x="T0" y="T1"/>
                </a:cxn>
                <a:cxn ang="0">
                  <a:pos x="T2" y="T3"/>
                </a:cxn>
                <a:cxn ang="0">
                  <a:pos x="T4" y="T5"/>
                </a:cxn>
                <a:cxn ang="0">
                  <a:pos x="T6" y="T7"/>
                </a:cxn>
              </a:cxnLst>
              <a:rect l="0" t="0" r="r" b="b"/>
              <a:pathLst>
                <a:path w="36" h="6">
                  <a:moveTo>
                    <a:pt x="36" y="0"/>
                  </a:moveTo>
                  <a:lnTo>
                    <a:pt x="0" y="0"/>
                  </a:lnTo>
                  <a:lnTo>
                    <a:pt x="0" y="6"/>
                  </a:lnTo>
                  <a:lnTo>
                    <a:pt x="3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7" name="Freeform 83"/>
            <p:cNvSpPr>
              <a:spLocks noEditPoints="1"/>
            </p:cNvSpPr>
            <p:nvPr userDrawn="1"/>
          </p:nvSpPr>
          <p:spPr bwMode="auto">
            <a:xfrm>
              <a:off x="2392402" y="3389471"/>
              <a:ext cx="88049" cy="225935"/>
            </a:xfrm>
            <a:custGeom>
              <a:avLst/>
              <a:gdLst>
                <a:gd name="T0" fmla="*/ 16 w 34"/>
                <a:gd name="T1" fmla="*/ 3 h 87"/>
                <a:gd name="T2" fmla="*/ 18 w 34"/>
                <a:gd name="T3" fmla="*/ 2 h 87"/>
                <a:gd name="T4" fmla="*/ 16 w 34"/>
                <a:gd name="T5" fmla="*/ 3 h 87"/>
                <a:gd name="T6" fmla="*/ 18 w 34"/>
                <a:gd name="T7" fmla="*/ 0 h 87"/>
                <a:gd name="T8" fmla="*/ 16 w 34"/>
                <a:gd name="T9" fmla="*/ 1 h 87"/>
                <a:gd name="T10" fmla="*/ 16 w 34"/>
                <a:gd name="T11" fmla="*/ 1 h 87"/>
                <a:gd name="T12" fmla="*/ 1 w 34"/>
                <a:gd name="T13" fmla="*/ 31 h 87"/>
                <a:gd name="T14" fmla="*/ 1 w 34"/>
                <a:gd name="T15" fmla="*/ 33 h 87"/>
                <a:gd name="T16" fmla="*/ 28 w 34"/>
                <a:gd name="T17" fmla="*/ 86 h 87"/>
                <a:gd name="T18" fmla="*/ 30 w 34"/>
                <a:gd name="T19" fmla="*/ 87 h 87"/>
                <a:gd name="T20" fmla="*/ 34 w 34"/>
                <a:gd name="T21" fmla="*/ 87 h 87"/>
                <a:gd name="T22" fmla="*/ 34 w 34"/>
                <a:gd name="T23" fmla="*/ 83 h 87"/>
                <a:gd name="T24" fmla="*/ 31 w 34"/>
                <a:gd name="T25" fmla="*/ 83 h 87"/>
                <a:gd name="T26" fmla="*/ 5 w 34"/>
                <a:gd name="T27" fmla="*/ 32 h 87"/>
                <a:gd name="T28" fmla="*/ 18 w 34"/>
                <a:gd name="T29" fmla="*/ 7 h 87"/>
                <a:gd name="T30" fmla="*/ 34 w 34"/>
                <a:gd name="T31" fmla="*/ 38 h 87"/>
                <a:gd name="T32" fmla="*/ 34 w 34"/>
                <a:gd name="T33" fmla="*/ 29 h 87"/>
                <a:gd name="T34" fmla="*/ 19 w 34"/>
                <a:gd name="T35" fmla="*/ 1 h 87"/>
                <a:gd name="T36" fmla="*/ 18 w 34"/>
                <a:gd name="T3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87">
                  <a:moveTo>
                    <a:pt x="16" y="3"/>
                  </a:moveTo>
                  <a:cubicBezTo>
                    <a:pt x="18" y="2"/>
                    <a:pt x="18" y="2"/>
                    <a:pt x="18" y="2"/>
                  </a:cubicBezTo>
                  <a:cubicBezTo>
                    <a:pt x="16" y="3"/>
                    <a:pt x="16" y="3"/>
                    <a:pt x="16" y="3"/>
                  </a:cubicBezTo>
                  <a:moveTo>
                    <a:pt x="18" y="0"/>
                  </a:moveTo>
                  <a:cubicBezTo>
                    <a:pt x="17" y="0"/>
                    <a:pt x="16" y="1"/>
                    <a:pt x="16" y="1"/>
                  </a:cubicBezTo>
                  <a:cubicBezTo>
                    <a:pt x="16" y="1"/>
                    <a:pt x="16" y="1"/>
                    <a:pt x="16" y="1"/>
                  </a:cubicBezTo>
                  <a:cubicBezTo>
                    <a:pt x="1" y="31"/>
                    <a:pt x="1" y="31"/>
                    <a:pt x="1" y="31"/>
                  </a:cubicBezTo>
                  <a:cubicBezTo>
                    <a:pt x="0" y="32"/>
                    <a:pt x="0" y="32"/>
                    <a:pt x="1" y="33"/>
                  </a:cubicBezTo>
                  <a:cubicBezTo>
                    <a:pt x="28" y="86"/>
                    <a:pt x="28" y="86"/>
                    <a:pt x="28" y="86"/>
                  </a:cubicBezTo>
                  <a:cubicBezTo>
                    <a:pt x="28" y="87"/>
                    <a:pt x="29" y="87"/>
                    <a:pt x="30" y="87"/>
                  </a:cubicBezTo>
                  <a:cubicBezTo>
                    <a:pt x="34" y="87"/>
                    <a:pt x="34" y="87"/>
                    <a:pt x="34" y="87"/>
                  </a:cubicBezTo>
                  <a:cubicBezTo>
                    <a:pt x="34" y="83"/>
                    <a:pt x="34" y="83"/>
                    <a:pt x="34" y="83"/>
                  </a:cubicBezTo>
                  <a:cubicBezTo>
                    <a:pt x="31" y="83"/>
                    <a:pt x="31" y="83"/>
                    <a:pt x="31" y="83"/>
                  </a:cubicBezTo>
                  <a:cubicBezTo>
                    <a:pt x="5" y="32"/>
                    <a:pt x="5" y="32"/>
                    <a:pt x="5" y="32"/>
                  </a:cubicBezTo>
                  <a:cubicBezTo>
                    <a:pt x="18" y="7"/>
                    <a:pt x="18" y="7"/>
                    <a:pt x="18" y="7"/>
                  </a:cubicBezTo>
                  <a:cubicBezTo>
                    <a:pt x="34" y="38"/>
                    <a:pt x="34" y="38"/>
                    <a:pt x="34" y="38"/>
                  </a:cubicBezTo>
                  <a:cubicBezTo>
                    <a:pt x="34" y="29"/>
                    <a:pt x="34" y="29"/>
                    <a:pt x="34" y="29"/>
                  </a:cubicBezTo>
                  <a:cubicBezTo>
                    <a:pt x="19" y="1"/>
                    <a:pt x="19" y="1"/>
                    <a:pt x="19" y="1"/>
                  </a:cubicBezTo>
                  <a:cubicBezTo>
                    <a:pt x="19" y="1"/>
                    <a:pt x="18" y="0"/>
                    <a:pt x="18"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648" name="组合 647"/>
            <p:cNvGrpSpPr/>
            <p:nvPr userDrawn="1"/>
          </p:nvGrpSpPr>
          <p:grpSpPr>
            <a:xfrm>
              <a:off x="3061620" y="4888786"/>
              <a:ext cx="1693688" cy="89710"/>
              <a:chOff x="2984654" y="5138738"/>
              <a:chExt cx="1618459" cy="85725"/>
            </a:xfrm>
          </p:grpSpPr>
          <p:sp>
            <p:nvSpPr>
              <p:cNvPr id="773" name="Freeform 274"/>
              <p:cNvSpPr/>
              <p:nvPr userDrawn="1"/>
            </p:nvSpPr>
            <p:spPr bwMode="auto">
              <a:xfrm>
                <a:off x="4421344"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173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4" name="Freeform 274"/>
              <p:cNvSpPr/>
              <p:nvPr userDrawn="1"/>
            </p:nvSpPr>
            <p:spPr bwMode="auto">
              <a:xfrm>
                <a:off x="4277675"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173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5" name="Freeform 274"/>
              <p:cNvSpPr/>
              <p:nvPr userDrawn="1"/>
            </p:nvSpPr>
            <p:spPr bwMode="auto">
              <a:xfrm>
                <a:off x="4134006"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173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6" name="Freeform 274"/>
              <p:cNvSpPr/>
              <p:nvPr userDrawn="1"/>
            </p:nvSpPr>
            <p:spPr bwMode="auto">
              <a:xfrm>
                <a:off x="3990337"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777" name="Freeform 274"/>
              <p:cNvSpPr/>
              <p:nvPr userDrawn="1"/>
            </p:nvSpPr>
            <p:spPr bwMode="auto">
              <a:xfrm>
                <a:off x="3846668"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778" name="Freeform 274"/>
              <p:cNvSpPr/>
              <p:nvPr userDrawn="1"/>
            </p:nvSpPr>
            <p:spPr bwMode="auto">
              <a:xfrm>
                <a:off x="3702999"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779" name="Freeform 274"/>
              <p:cNvSpPr/>
              <p:nvPr userDrawn="1"/>
            </p:nvSpPr>
            <p:spPr bwMode="auto">
              <a:xfrm>
                <a:off x="3559330"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780" name="Freeform 274"/>
              <p:cNvSpPr/>
              <p:nvPr userDrawn="1"/>
            </p:nvSpPr>
            <p:spPr bwMode="auto">
              <a:xfrm>
                <a:off x="3415661"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781" name="Freeform 274"/>
              <p:cNvSpPr/>
              <p:nvPr userDrawn="1"/>
            </p:nvSpPr>
            <p:spPr bwMode="auto">
              <a:xfrm>
                <a:off x="3271992"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782" name="Freeform 274"/>
              <p:cNvSpPr/>
              <p:nvPr userDrawn="1"/>
            </p:nvSpPr>
            <p:spPr bwMode="auto">
              <a:xfrm>
                <a:off x="3128323"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sp>
            <p:nvSpPr>
              <p:cNvPr id="783" name="Freeform 274"/>
              <p:cNvSpPr/>
              <p:nvPr userDrawn="1"/>
            </p:nvSpPr>
            <p:spPr bwMode="auto">
              <a:xfrm>
                <a:off x="2984654" y="5138738"/>
                <a:ext cx="181769" cy="85725"/>
              </a:xfrm>
              <a:custGeom>
                <a:avLst/>
                <a:gdLst>
                  <a:gd name="T0" fmla="*/ 24 w 54"/>
                  <a:gd name="T1" fmla="*/ 28 h 28"/>
                  <a:gd name="T2" fmla="*/ 54 w 54"/>
                  <a:gd name="T3" fmla="*/ 1 h 28"/>
                  <a:gd name="T4" fmla="*/ 53 w 54"/>
                  <a:gd name="T5" fmla="*/ 0 h 28"/>
                  <a:gd name="T6" fmla="*/ 30 w 54"/>
                  <a:gd name="T7" fmla="*/ 0 h 28"/>
                  <a:gd name="T8" fmla="*/ 0 w 54"/>
                  <a:gd name="T9" fmla="*/ 28 h 28"/>
                  <a:gd name="T10" fmla="*/ 24 w 54"/>
                  <a:gd name="T11" fmla="*/ 28 h 28"/>
                </a:gdLst>
                <a:ahLst/>
                <a:cxnLst>
                  <a:cxn ang="0">
                    <a:pos x="T0" y="T1"/>
                  </a:cxn>
                  <a:cxn ang="0">
                    <a:pos x="T2" y="T3"/>
                  </a:cxn>
                  <a:cxn ang="0">
                    <a:pos x="T4" y="T5"/>
                  </a:cxn>
                  <a:cxn ang="0">
                    <a:pos x="T6" y="T7"/>
                  </a:cxn>
                  <a:cxn ang="0">
                    <a:pos x="T8" y="T9"/>
                  </a:cxn>
                  <a:cxn ang="0">
                    <a:pos x="T10" y="T11"/>
                  </a:cxn>
                </a:cxnLst>
                <a:rect l="0" t="0" r="r" b="b"/>
                <a:pathLst>
                  <a:path w="54" h="28">
                    <a:moveTo>
                      <a:pt x="24" y="28"/>
                    </a:moveTo>
                    <a:cubicBezTo>
                      <a:pt x="54" y="1"/>
                      <a:pt x="54" y="1"/>
                      <a:pt x="54" y="1"/>
                    </a:cubicBezTo>
                    <a:cubicBezTo>
                      <a:pt x="54" y="0"/>
                      <a:pt x="53" y="0"/>
                      <a:pt x="53" y="0"/>
                    </a:cubicBezTo>
                    <a:cubicBezTo>
                      <a:pt x="53" y="0"/>
                      <a:pt x="53" y="0"/>
                      <a:pt x="30" y="0"/>
                    </a:cubicBezTo>
                    <a:cubicBezTo>
                      <a:pt x="0" y="28"/>
                      <a:pt x="0" y="28"/>
                      <a:pt x="0" y="28"/>
                    </a:cubicBezTo>
                    <a:lnTo>
                      <a:pt x="24" y="28"/>
                    </a:lnTo>
                    <a:close/>
                  </a:path>
                </a:pathLst>
              </a:custGeom>
              <a:solidFill>
                <a:srgbClr val="498E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grpSp>
        <p:sp>
          <p:nvSpPr>
            <p:cNvPr id="649" name="Freeform 161"/>
            <p:cNvSpPr/>
            <p:nvPr userDrawn="1"/>
          </p:nvSpPr>
          <p:spPr bwMode="auto">
            <a:xfrm>
              <a:off x="2489975" y="3464230"/>
              <a:ext cx="76419" cy="151178"/>
            </a:xfrm>
            <a:custGeom>
              <a:avLst/>
              <a:gdLst>
                <a:gd name="T0" fmla="*/ 0 w 29"/>
                <a:gd name="T1" fmla="*/ 0 h 58"/>
                <a:gd name="T2" fmla="*/ 0 w 29"/>
                <a:gd name="T3" fmla="*/ 9 h 58"/>
                <a:gd name="T4" fmla="*/ 23 w 29"/>
                <a:gd name="T5" fmla="*/ 54 h 58"/>
                <a:gd name="T6" fmla="*/ 0 w 29"/>
                <a:gd name="T7" fmla="*/ 54 h 58"/>
                <a:gd name="T8" fmla="*/ 0 w 29"/>
                <a:gd name="T9" fmla="*/ 58 h 58"/>
                <a:gd name="T10" fmla="*/ 27 w 29"/>
                <a:gd name="T11" fmla="*/ 58 h 58"/>
                <a:gd name="T12" fmla="*/ 28 w 29"/>
                <a:gd name="T13" fmla="*/ 57 h 58"/>
                <a:gd name="T14" fmla="*/ 28 w 29"/>
                <a:gd name="T15" fmla="*/ 55 h 58"/>
                <a:gd name="T16" fmla="*/ 0 w 2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8">
                  <a:moveTo>
                    <a:pt x="0" y="0"/>
                  </a:moveTo>
                  <a:cubicBezTo>
                    <a:pt x="0" y="9"/>
                    <a:pt x="0" y="9"/>
                    <a:pt x="0" y="9"/>
                  </a:cubicBezTo>
                  <a:cubicBezTo>
                    <a:pt x="23" y="54"/>
                    <a:pt x="23" y="54"/>
                    <a:pt x="23" y="54"/>
                  </a:cubicBezTo>
                  <a:cubicBezTo>
                    <a:pt x="0" y="54"/>
                    <a:pt x="0" y="54"/>
                    <a:pt x="0" y="54"/>
                  </a:cubicBezTo>
                  <a:cubicBezTo>
                    <a:pt x="0" y="58"/>
                    <a:pt x="0" y="58"/>
                    <a:pt x="0" y="58"/>
                  </a:cubicBezTo>
                  <a:cubicBezTo>
                    <a:pt x="27" y="58"/>
                    <a:pt x="27" y="58"/>
                    <a:pt x="27" y="58"/>
                  </a:cubicBezTo>
                  <a:cubicBezTo>
                    <a:pt x="27" y="58"/>
                    <a:pt x="28" y="58"/>
                    <a:pt x="28" y="57"/>
                  </a:cubicBezTo>
                  <a:cubicBezTo>
                    <a:pt x="29" y="57"/>
                    <a:pt x="29" y="56"/>
                    <a:pt x="28" y="55"/>
                  </a:cubicBezTo>
                  <a:cubicBezTo>
                    <a:pt x="0" y="0"/>
                    <a:pt x="0" y="0"/>
                    <a:pt x="0"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0" name="Freeform 89"/>
            <p:cNvSpPr>
              <a:spLocks noEditPoints="1"/>
            </p:cNvSpPr>
            <p:nvPr userDrawn="1"/>
          </p:nvSpPr>
          <p:spPr bwMode="auto">
            <a:xfrm>
              <a:off x="1984942" y="3974245"/>
              <a:ext cx="505032" cy="696081"/>
            </a:xfrm>
            <a:custGeom>
              <a:avLst/>
              <a:gdLst>
                <a:gd name="T0" fmla="*/ 0 w 195"/>
                <a:gd name="T1" fmla="*/ 108 h 268"/>
                <a:gd name="T2" fmla="*/ 0 w 195"/>
                <a:gd name="T3" fmla="*/ 241 h 268"/>
                <a:gd name="T4" fmla="*/ 27 w 195"/>
                <a:gd name="T5" fmla="*/ 268 h 268"/>
                <a:gd name="T6" fmla="*/ 195 w 195"/>
                <a:gd name="T7" fmla="*/ 268 h 268"/>
                <a:gd name="T8" fmla="*/ 195 w 195"/>
                <a:gd name="T9" fmla="*/ 264 h 268"/>
                <a:gd name="T10" fmla="*/ 27 w 195"/>
                <a:gd name="T11" fmla="*/ 264 h 268"/>
                <a:gd name="T12" fmla="*/ 11 w 195"/>
                <a:gd name="T13" fmla="*/ 258 h 268"/>
                <a:gd name="T14" fmla="*/ 4 w 195"/>
                <a:gd name="T15" fmla="*/ 241 h 268"/>
                <a:gd name="T16" fmla="*/ 4 w 195"/>
                <a:gd name="T17" fmla="*/ 111 h 268"/>
                <a:gd name="T18" fmla="*/ 0 w 195"/>
                <a:gd name="T19" fmla="*/ 108 h 268"/>
                <a:gd name="T20" fmla="*/ 195 w 195"/>
                <a:gd name="T21" fmla="*/ 0 h 268"/>
                <a:gd name="T22" fmla="*/ 57 w 195"/>
                <a:gd name="T23" fmla="*/ 0 h 268"/>
                <a:gd name="T24" fmla="*/ 59 w 195"/>
                <a:gd name="T25" fmla="*/ 4 h 268"/>
                <a:gd name="T26" fmla="*/ 195 w 195"/>
                <a:gd name="T27" fmla="*/ 4 h 268"/>
                <a:gd name="T28" fmla="*/ 195 w 195"/>
                <a:gd name="T2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268">
                  <a:moveTo>
                    <a:pt x="0" y="108"/>
                  </a:moveTo>
                  <a:cubicBezTo>
                    <a:pt x="0" y="241"/>
                    <a:pt x="0" y="241"/>
                    <a:pt x="0" y="241"/>
                  </a:cubicBezTo>
                  <a:cubicBezTo>
                    <a:pt x="0" y="256"/>
                    <a:pt x="12" y="268"/>
                    <a:pt x="27" y="268"/>
                  </a:cubicBezTo>
                  <a:cubicBezTo>
                    <a:pt x="195" y="268"/>
                    <a:pt x="195" y="268"/>
                    <a:pt x="195" y="268"/>
                  </a:cubicBezTo>
                  <a:cubicBezTo>
                    <a:pt x="195" y="264"/>
                    <a:pt x="195" y="264"/>
                    <a:pt x="195" y="264"/>
                  </a:cubicBezTo>
                  <a:cubicBezTo>
                    <a:pt x="27" y="264"/>
                    <a:pt x="27" y="264"/>
                    <a:pt x="27" y="264"/>
                  </a:cubicBezTo>
                  <a:cubicBezTo>
                    <a:pt x="21" y="264"/>
                    <a:pt x="15" y="262"/>
                    <a:pt x="11" y="258"/>
                  </a:cubicBezTo>
                  <a:cubicBezTo>
                    <a:pt x="6" y="253"/>
                    <a:pt x="4" y="248"/>
                    <a:pt x="4" y="241"/>
                  </a:cubicBezTo>
                  <a:cubicBezTo>
                    <a:pt x="4" y="111"/>
                    <a:pt x="4" y="111"/>
                    <a:pt x="4" y="111"/>
                  </a:cubicBezTo>
                  <a:cubicBezTo>
                    <a:pt x="2" y="110"/>
                    <a:pt x="1" y="109"/>
                    <a:pt x="0" y="108"/>
                  </a:cubicBezTo>
                  <a:moveTo>
                    <a:pt x="195" y="0"/>
                  </a:moveTo>
                  <a:cubicBezTo>
                    <a:pt x="57" y="0"/>
                    <a:pt x="57" y="0"/>
                    <a:pt x="57" y="0"/>
                  </a:cubicBezTo>
                  <a:cubicBezTo>
                    <a:pt x="58" y="1"/>
                    <a:pt x="59" y="3"/>
                    <a:pt x="59" y="4"/>
                  </a:cubicBezTo>
                  <a:cubicBezTo>
                    <a:pt x="195" y="4"/>
                    <a:pt x="195" y="4"/>
                    <a:pt x="195" y="4"/>
                  </a:cubicBezTo>
                  <a:cubicBezTo>
                    <a:pt x="195" y="0"/>
                    <a:pt x="195" y="0"/>
                    <a:pt x="195"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1" name="Freeform 173"/>
            <p:cNvSpPr>
              <a:spLocks noEditPoints="1"/>
            </p:cNvSpPr>
            <p:nvPr userDrawn="1"/>
          </p:nvSpPr>
          <p:spPr bwMode="auto">
            <a:xfrm>
              <a:off x="2489975" y="3974245"/>
              <a:ext cx="189387" cy="696081"/>
            </a:xfrm>
            <a:custGeom>
              <a:avLst/>
              <a:gdLst>
                <a:gd name="T0" fmla="*/ 73 w 73"/>
                <a:gd name="T1" fmla="*/ 26 h 268"/>
                <a:gd name="T2" fmla="*/ 69 w 73"/>
                <a:gd name="T3" fmla="*/ 28 h 268"/>
                <a:gd name="T4" fmla="*/ 69 w 73"/>
                <a:gd name="T5" fmla="*/ 241 h 268"/>
                <a:gd name="T6" fmla="*/ 63 w 73"/>
                <a:gd name="T7" fmla="*/ 258 h 268"/>
                <a:gd name="T8" fmla="*/ 46 w 73"/>
                <a:gd name="T9" fmla="*/ 264 h 268"/>
                <a:gd name="T10" fmla="*/ 46 w 73"/>
                <a:gd name="T11" fmla="*/ 264 h 268"/>
                <a:gd name="T12" fmla="*/ 0 w 73"/>
                <a:gd name="T13" fmla="*/ 264 h 268"/>
                <a:gd name="T14" fmla="*/ 0 w 73"/>
                <a:gd name="T15" fmla="*/ 268 h 268"/>
                <a:gd name="T16" fmla="*/ 46 w 73"/>
                <a:gd name="T17" fmla="*/ 268 h 268"/>
                <a:gd name="T18" fmla="*/ 73 w 73"/>
                <a:gd name="T19" fmla="*/ 241 h 268"/>
                <a:gd name="T20" fmla="*/ 73 w 73"/>
                <a:gd name="T21" fmla="*/ 27 h 268"/>
                <a:gd name="T22" fmla="*/ 73 w 73"/>
                <a:gd name="T23" fmla="*/ 26 h 268"/>
                <a:gd name="T24" fmla="*/ 32 w 73"/>
                <a:gd name="T25" fmla="*/ 0 h 268"/>
                <a:gd name="T26" fmla="*/ 0 w 73"/>
                <a:gd name="T27" fmla="*/ 0 h 268"/>
                <a:gd name="T28" fmla="*/ 0 w 73"/>
                <a:gd name="T29" fmla="*/ 4 h 268"/>
                <a:gd name="T30" fmla="*/ 21 w 73"/>
                <a:gd name="T31" fmla="*/ 4 h 268"/>
                <a:gd name="T32" fmla="*/ 32 w 73"/>
                <a:gd name="T3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268">
                  <a:moveTo>
                    <a:pt x="73" y="26"/>
                  </a:moveTo>
                  <a:cubicBezTo>
                    <a:pt x="72" y="27"/>
                    <a:pt x="71" y="28"/>
                    <a:pt x="69" y="28"/>
                  </a:cubicBezTo>
                  <a:cubicBezTo>
                    <a:pt x="69" y="241"/>
                    <a:pt x="69" y="241"/>
                    <a:pt x="69" y="241"/>
                  </a:cubicBezTo>
                  <a:cubicBezTo>
                    <a:pt x="69" y="248"/>
                    <a:pt x="67" y="253"/>
                    <a:pt x="63" y="258"/>
                  </a:cubicBezTo>
                  <a:cubicBezTo>
                    <a:pt x="58" y="262"/>
                    <a:pt x="53" y="264"/>
                    <a:pt x="46" y="264"/>
                  </a:cubicBezTo>
                  <a:cubicBezTo>
                    <a:pt x="46" y="264"/>
                    <a:pt x="46" y="264"/>
                    <a:pt x="46" y="264"/>
                  </a:cubicBezTo>
                  <a:cubicBezTo>
                    <a:pt x="0" y="264"/>
                    <a:pt x="0" y="264"/>
                    <a:pt x="0" y="264"/>
                  </a:cubicBezTo>
                  <a:cubicBezTo>
                    <a:pt x="0" y="268"/>
                    <a:pt x="0" y="268"/>
                    <a:pt x="0" y="268"/>
                  </a:cubicBezTo>
                  <a:cubicBezTo>
                    <a:pt x="46" y="268"/>
                    <a:pt x="46" y="268"/>
                    <a:pt x="46" y="268"/>
                  </a:cubicBezTo>
                  <a:cubicBezTo>
                    <a:pt x="61" y="268"/>
                    <a:pt x="73" y="256"/>
                    <a:pt x="73" y="241"/>
                  </a:cubicBezTo>
                  <a:cubicBezTo>
                    <a:pt x="73" y="27"/>
                    <a:pt x="73" y="27"/>
                    <a:pt x="73" y="27"/>
                  </a:cubicBezTo>
                  <a:cubicBezTo>
                    <a:pt x="73" y="27"/>
                    <a:pt x="73" y="26"/>
                    <a:pt x="73" y="26"/>
                  </a:cubicBezTo>
                  <a:moveTo>
                    <a:pt x="32" y="0"/>
                  </a:moveTo>
                  <a:cubicBezTo>
                    <a:pt x="0" y="0"/>
                    <a:pt x="0" y="0"/>
                    <a:pt x="0" y="0"/>
                  </a:cubicBezTo>
                  <a:cubicBezTo>
                    <a:pt x="0" y="4"/>
                    <a:pt x="0" y="4"/>
                    <a:pt x="0" y="4"/>
                  </a:cubicBezTo>
                  <a:cubicBezTo>
                    <a:pt x="21" y="4"/>
                    <a:pt x="21" y="4"/>
                    <a:pt x="21" y="4"/>
                  </a:cubicBezTo>
                  <a:cubicBezTo>
                    <a:pt x="25" y="2"/>
                    <a:pt x="29" y="1"/>
                    <a:pt x="3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2" name="Freeform 149"/>
            <p:cNvSpPr/>
            <p:nvPr userDrawn="1"/>
          </p:nvSpPr>
          <p:spPr bwMode="auto">
            <a:xfrm>
              <a:off x="1820475" y="3936272"/>
              <a:ext cx="825662" cy="661193"/>
            </a:xfrm>
            <a:custGeom>
              <a:avLst/>
              <a:gdLst>
                <a:gd name="T0" fmla="*/ 7 w 318"/>
                <a:gd name="T1" fmla="*/ 16 h 255"/>
                <a:gd name="T2" fmla="*/ 89 w 318"/>
                <a:gd name="T3" fmla="*/ 221 h 255"/>
                <a:gd name="T4" fmla="*/ 318 w 318"/>
                <a:gd name="T5" fmla="*/ 185 h 255"/>
                <a:gd name="T6" fmla="*/ 298 w 318"/>
                <a:gd name="T7" fmla="*/ 92 h 255"/>
                <a:gd name="T8" fmla="*/ 139 w 318"/>
                <a:gd name="T9" fmla="*/ 120 h 255"/>
                <a:gd name="T10" fmla="*/ 97 w 318"/>
                <a:gd name="T11" fmla="*/ 0 h 255"/>
                <a:gd name="T12" fmla="*/ 7 w 318"/>
                <a:gd name="T13" fmla="*/ 16 h 255"/>
              </a:gdLst>
              <a:ahLst/>
              <a:cxnLst>
                <a:cxn ang="0">
                  <a:pos x="T0" y="T1"/>
                </a:cxn>
                <a:cxn ang="0">
                  <a:pos x="T2" y="T3"/>
                </a:cxn>
                <a:cxn ang="0">
                  <a:pos x="T4" y="T5"/>
                </a:cxn>
                <a:cxn ang="0">
                  <a:pos x="T6" y="T7"/>
                </a:cxn>
                <a:cxn ang="0">
                  <a:pos x="T8" y="T9"/>
                </a:cxn>
                <a:cxn ang="0">
                  <a:pos x="T10" y="T11"/>
                </a:cxn>
                <a:cxn ang="0">
                  <a:pos x="T12" y="T13"/>
                </a:cxn>
              </a:cxnLst>
              <a:rect l="0" t="0" r="r" b="b"/>
              <a:pathLst>
                <a:path w="318" h="255">
                  <a:moveTo>
                    <a:pt x="7" y="16"/>
                  </a:moveTo>
                  <a:cubicBezTo>
                    <a:pt x="7" y="16"/>
                    <a:pt x="0" y="183"/>
                    <a:pt x="89" y="221"/>
                  </a:cubicBezTo>
                  <a:cubicBezTo>
                    <a:pt x="168" y="255"/>
                    <a:pt x="318" y="185"/>
                    <a:pt x="318" y="185"/>
                  </a:cubicBezTo>
                  <a:cubicBezTo>
                    <a:pt x="298" y="92"/>
                    <a:pt x="298" y="92"/>
                    <a:pt x="298" y="92"/>
                  </a:cubicBezTo>
                  <a:cubicBezTo>
                    <a:pt x="298" y="92"/>
                    <a:pt x="181" y="142"/>
                    <a:pt x="139" y="120"/>
                  </a:cubicBezTo>
                  <a:cubicBezTo>
                    <a:pt x="110" y="105"/>
                    <a:pt x="97" y="0"/>
                    <a:pt x="97" y="0"/>
                  </a:cubicBezTo>
                  <a:cubicBezTo>
                    <a:pt x="7" y="16"/>
                    <a:pt x="7" y="16"/>
                    <a:pt x="7" y="16"/>
                  </a:cubicBezTo>
                </a:path>
              </a:pathLst>
            </a:custGeom>
            <a:solidFill>
              <a:srgbClr val="ED910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3" name="Freeform 148"/>
            <p:cNvSpPr/>
            <p:nvPr userDrawn="1"/>
          </p:nvSpPr>
          <p:spPr bwMode="auto">
            <a:xfrm>
              <a:off x="2573039" y="4135627"/>
              <a:ext cx="187726" cy="152839"/>
            </a:xfrm>
            <a:custGeom>
              <a:avLst/>
              <a:gdLst>
                <a:gd name="T0" fmla="*/ 0 w 72"/>
                <a:gd name="T1" fmla="*/ 21 h 59"/>
                <a:gd name="T2" fmla="*/ 51 w 72"/>
                <a:gd name="T3" fmla="*/ 2 h 59"/>
                <a:gd name="T4" fmla="*/ 42 w 72"/>
                <a:gd name="T5" fmla="*/ 12 h 59"/>
                <a:gd name="T6" fmla="*/ 53 w 72"/>
                <a:gd name="T7" fmla="*/ 10 h 59"/>
                <a:gd name="T8" fmla="*/ 66 w 72"/>
                <a:gd name="T9" fmla="*/ 7 h 59"/>
                <a:gd name="T10" fmla="*/ 47 w 72"/>
                <a:gd name="T11" fmla="*/ 18 h 59"/>
                <a:gd name="T12" fmla="*/ 71 w 72"/>
                <a:gd name="T13" fmla="*/ 15 h 59"/>
                <a:gd name="T14" fmla="*/ 48 w 72"/>
                <a:gd name="T15" fmla="*/ 27 h 59"/>
                <a:gd name="T16" fmla="*/ 68 w 72"/>
                <a:gd name="T17" fmla="*/ 24 h 59"/>
                <a:gd name="T18" fmla="*/ 48 w 72"/>
                <a:gd name="T19" fmla="*/ 35 h 59"/>
                <a:gd name="T20" fmla="*/ 65 w 72"/>
                <a:gd name="T21" fmla="*/ 32 h 59"/>
                <a:gd name="T22" fmla="*/ 11 w 72"/>
                <a:gd name="T23" fmla="*/ 59 h 59"/>
                <a:gd name="T24" fmla="*/ 0 w 72"/>
                <a:gd name="T25" fmla="*/ 2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9">
                  <a:moveTo>
                    <a:pt x="0" y="21"/>
                  </a:moveTo>
                  <a:cubicBezTo>
                    <a:pt x="13" y="17"/>
                    <a:pt x="49" y="0"/>
                    <a:pt x="51" y="2"/>
                  </a:cubicBezTo>
                  <a:cubicBezTo>
                    <a:pt x="53" y="4"/>
                    <a:pt x="40" y="11"/>
                    <a:pt x="42" y="12"/>
                  </a:cubicBezTo>
                  <a:cubicBezTo>
                    <a:pt x="43" y="13"/>
                    <a:pt x="48" y="11"/>
                    <a:pt x="53" y="10"/>
                  </a:cubicBezTo>
                  <a:cubicBezTo>
                    <a:pt x="59" y="8"/>
                    <a:pt x="65" y="6"/>
                    <a:pt x="66" y="7"/>
                  </a:cubicBezTo>
                  <a:cubicBezTo>
                    <a:pt x="68" y="11"/>
                    <a:pt x="47" y="18"/>
                    <a:pt x="47" y="18"/>
                  </a:cubicBezTo>
                  <a:cubicBezTo>
                    <a:pt x="47" y="18"/>
                    <a:pt x="70" y="11"/>
                    <a:pt x="71" y="15"/>
                  </a:cubicBezTo>
                  <a:cubicBezTo>
                    <a:pt x="72" y="17"/>
                    <a:pt x="54" y="23"/>
                    <a:pt x="48" y="27"/>
                  </a:cubicBezTo>
                  <a:cubicBezTo>
                    <a:pt x="55" y="24"/>
                    <a:pt x="68" y="21"/>
                    <a:pt x="68" y="24"/>
                  </a:cubicBezTo>
                  <a:cubicBezTo>
                    <a:pt x="69" y="26"/>
                    <a:pt x="57" y="31"/>
                    <a:pt x="48" y="35"/>
                  </a:cubicBezTo>
                  <a:cubicBezTo>
                    <a:pt x="54" y="33"/>
                    <a:pt x="65" y="30"/>
                    <a:pt x="65" y="32"/>
                  </a:cubicBezTo>
                  <a:cubicBezTo>
                    <a:pt x="66" y="34"/>
                    <a:pt x="38" y="47"/>
                    <a:pt x="11" y="59"/>
                  </a:cubicBezTo>
                  <a:cubicBezTo>
                    <a:pt x="0" y="21"/>
                    <a:pt x="0" y="21"/>
                    <a:pt x="0" y="21"/>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4" name="Freeform 192"/>
            <p:cNvSpPr/>
            <p:nvPr userDrawn="1"/>
          </p:nvSpPr>
          <p:spPr bwMode="auto">
            <a:xfrm>
              <a:off x="2596297" y="4140610"/>
              <a:ext cx="164468" cy="139548"/>
            </a:xfrm>
            <a:custGeom>
              <a:avLst/>
              <a:gdLst>
                <a:gd name="T0" fmla="*/ 41 w 63"/>
                <a:gd name="T1" fmla="*/ 0 h 54"/>
                <a:gd name="T2" fmla="*/ 0 w 63"/>
                <a:gd name="T3" fmla="*/ 16 h 54"/>
                <a:gd name="T4" fmla="*/ 8 w 63"/>
                <a:gd name="T5" fmla="*/ 54 h 54"/>
                <a:gd name="T6" fmla="*/ 28 w 63"/>
                <a:gd name="T7" fmla="*/ 45 h 54"/>
                <a:gd name="T8" fmla="*/ 32 w 63"/>
                <a:gd name="T9" fmla="*/ 43 h 54"/>
                <a:gd name="T10" fmla="*/ 56 w 63"/>
                <a:gd name="T11" fmla="*/ 30 h 54"/>
                <a:gd name="T12" fmla="*/ 54 w 63"/>
                <a:gd name="T13" fmla="*/ 29 h 54"/>
                <a:gd name="T14" fmla="*/ 39 w 63"/>
                <a:gd name="T15" fmla="*/ 33 h 54"/>
                <a:gd name="T16" fmla="*/ 59 w 63"/>
                <a:gd name="T17" fmla="*/ 22 h 54"/>
                <a:gd name="T18" fmla="*/ 56 w 63"/>
                <a:gd name="T19" fmla="*/ 21 h 54"/>
                <a:gd name="T20" fmla="*/ 39 w 63"/>
                <a:gd name="T21" fmla="*/ 25 h 54"/>
                <a:gd name="T22" fmla="*/ 62 w 63"/>
                <a:gd name="T23" fmla="*/ 13 h 54"/>
                <a:gd name="T24" fmla="*/ 59 w 63"/>
                <a:gd name="T25" fmla="*/ 12 h 54"/>
                <a:gd name="T26" fmla="*/ 38 w 63"/>
                <a:gd name="T27" fmla="*/ 16 h 54"/>
                <a:gd name="T28" fmla="*/ 57 w 63"/>
                <a:gd name="T29" fmla="*/ 5 h 54"/>
                <a:gd name="T30" fmla="*/ 55 w 63"/>
                <a:gd name="T31" fmla="*/ 5 h 54"/>
                <a:gd name="T32" fmla="*/ 44 w 63"/>
                <a:gd name="T33" fmla="*/ 8 h 54"/>
                <a:gd name="T34" fmla="*/ 34 w 63"/>
                <a:gd name="T35" fmla="*/ 10 h 54"/>
                <a:gd name="T36" fmla="*/ 33 w 63"/>
                <a:gd name="T37" fmla="*/ 10 h 54"/>
                <a:gd name="T38" fmla="*/ 42 w 63"/>
                <a:gd name="T39" fmla="*/ 0 h 54"/>
                <a:gd name="T40" fmla="*/ 41 w 63"/>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54">
                  <a:moveTo>
                    <a:pt x="41" y="0"/>
                  </a:moveTo>
                  <a:cubicBezTo>
                    <a:pt x="37" y="0"/>
                    <a:pt x="15" y="10"/>
                    <a:pt x="0" y="16"/>
                  </a:cubicBezTo>
                  <a:cubicBezTo>
                    <a:pt x="8" y="54"/>
                    <a:pt x="8" y="54"/>
                    <a:pt x="8" y="54"/>
                  </a:cubicBezTo>
                  <a:cubicBezTo>
                    <a:pt x="15" y="51"/>
                    <a:pt x="22" y="48"/>
                    <a:pt x="28" y="45"/>
                  </a:cubicBezTo>
                  <a:cubicBezTo>
                    <a:pt x="30" y="45"/>
                    <a:pt x="31" y="44"/>
                    <a:pt x="32" y="43"/>
                  </a:cubicBezTo>
                  <a:cubicBezTo>
                    <a:pt x="46" y="37"/>
                    <a:pt x="57" y="31"/>
                    <a:pt x="56" y="30"/>
                  </a:cubicBezTo>
                  <a:cubicBezTo>
                    <a:pt x="56" y="29"/>
                    <a:pt x="55" y="29"/>
                    <a:pt x="54" y="29"/>
                  </a:cubicBezTo>
                  <a:cubicBezTo>
                    <a:pt x="50" y="29"/>
                    <a:pt x="43" y="31"/>
                    <a:pt x="39" y="33"/>
                  </a:cubicBezTo>
                  <a:cubicBezTo>
                    <a:pt x="48" y="29"/>
                    <a:pt x="60" y="24"/>
                    <a:pt x="59" y="22"/>
                  </a:cubicBezTo>
                  <a:cubicBezTo>
                    <a:pt x="59" y="21"/>
                    <a:pt x="58" y="21"/>
                    <a:pt x="56" y="21"/>
                  </a:cubicBezTo>
                  <a:cubicBezTo>
                    <a:pt x="52" y="21"/>
                    <a:pt x="44" y="23"/>
                    <a:pt x="39" y="25"/>
                  </a:cubicBezTo>
                  <a:cubicBezTo>
                    <a:pt x="45" y="21"/>
                    <a:pt x="63" y="15"/>
                    <a:pt x="62" y="13"/>
                  </a:cubicBezTo>
                  <a:cubicBezTo>
                    <a:pt x="62" y="12"/>
                    <a:pt x="61" y="12"/>
                    <a:pt x="59" y="12"/>
                  </a:cubicBezTo>
                  <a:cubicBezTo>
                    <a:pt x="53" y="12"/>
                    <a:pt x="38" y="16"/>
                    <a:pt x="38" y="16"/>
                  </a:cubicBezTo>
                  <a:cubicBezTo>
                    <a:pt x="38" y="16"/>
                    <a:pt x="59" y="9"/>
                    <a:pt x="57" y="5"/>
                  </a:cubicBezTo>
                  <a:cubicBezTo>
                    <a:pt x="57" y="5"/>
                    <a:pt x="56" y="5"/>
                    <a:pt x="55" y="5"/>
                  </a:cubicBezTo>
                  <a:cubicBezTo>
                    <a:pt x="53" y="5"/>
                    <a:pt x="49" y="6"/>
                    <a:pt x="44" y="8"/>
                  </a:cubicBezTo>
                  <a:cubicBezTo>
                    <a:pt x="40" y="9"/>
                    <a:pt x="36" y="10"/>
                    <a:pt x="34" y="10"/>
                  </a:cubicBezTo>
                  <a:cubicBezTo>
                    <a:pt x="34" y="10"/>
                    <a:pt x="34" y="10"/>
                    <a:pt x="33" y="10"/>
                  </a:cubicBezTo>
                  <a:cubicBezTo>
                    <a:pt x="31" y="9"/>
                    <a:pt x="44" y="2"/>
                    <a:pt x="42" y="0"/>
                  </a:cubicBezTo>
                  <a:cubicBezTo>
                    <a:pt x="42" y="0"/>
                    <a:pt x="42" y="0"/>
                    <a:pt x="41" y="0"/>
                  </a:cubicBezTo>
                </a:path>
              </a:pathLst>
            </a:custGeom>
            <a:solidFill>
              <a:srgbClr val="BAB0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5" name="Freeform 193"/>
            <p:cNvSpPr/>
            <p:nvPr userDrawn="1"/>
          </p:nvSpPr>
          <p:spPr bwMode="auto">
            <a:xfrm>
              <a:off x="2489975" y="4173836"/>
              <a:ext cx="156161" cy="300694"/>
            </a:xfrm>
            <a:custGeom>
              <a:avLst/>
              <a:gdLst>
                <a:gd name="T0" fmla="*/ 40 w 60"/>
                <a:gd name="T1" fmla="*/ 0 h 116"/>
                <a:gd name="T2" fmla="*/ 32 w 60"/>
                <a:gd name="T3" fmla="*/ 4 h 116"/>
                <a:gd name="T4" fmla="*/ 21 w 60"/>
                <a:gd name="T5" fmla="*/ 8 h 116"/>
                <a:gd name="T6" fmla="*/ 0 w 60"/>
                <a:gd name="T7" fmla="*/ 15 h 116"/>
                <a:gd name="T8" fmla="*/ 0 w 60"/>
                <a:gd name="T9" fmla="*/ 116 h 116"/>
                <a:gd name="T10" fmla="*/ 6 w 60"/>
                <a:gd name="T11" fmla="*/ 114 h 116"/>
                <a:gd name="T12" fmla="*/ 13 w 60"/>
                <a:gd name="T13" fmla="*/ 112 h 116"/>
                <a:gd name="T14" fmla="*/ 60 w 60"/>
                <a:gd name="T15" fmla="*/ 93 h 116"/>
                <a:gd name="T16" fmla="*/ 49 w 60"/>
                <a:gd name="T17" fmla="*/ 41 h 116"/>
                <a:gd name="T18" fmla="*/ 41 w 60"/>
                <a:gd name="T19" fmla="*/ 3 h 116"/>
                <a:gd name="T20" fmla="*/ 40 w 6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116">
                  <a:moveTo>
                    <a:pt x="40" y="0"/>
                  </a:moveTo>
                  <a:cubicBezTo>
                    <a:pt x="40" y="0"/>
                    <a:pt x="37" y="2"/>
                    <a:pt x="32" y="4"/>
                  </a:cubicBezTo>
                  <a:cubicBezTo>
                    <a:pt x="29" y="5"/>
                    <a:pt x="25" y="6"/>
                    <a:pt x="21" y="8"/>
                  </a:cubicBezTo>
                  <a:cubicBezTo>
                    <a:pt x="15" y="10"/>
                    <a:pt x="8" y="13"/>
                    <a:pt x="0" y="15"/>
                  </a:cubicBezTo>
                  <a:cubicBezTo>
                    <a:pt x="0" y="116"/>
                    <a:pt x="0" y="116"/>
                    <a:pt x="0" y="116"/>
                  </a:cubicBezTo>
                  <a:cubicBezTo>
                    <a:pt x="2" y="116"/>
                    <a:pt x="4" y="115"/>
                    <a:pt x="6" y="114"/>
                  </a:cubicBezTo>
                  <a:cubicBezTo>
                    <a:pt x="8" y="114"/>
                    <a:pt x="10" y="113"/>
                    <a:pt x="13" y="112"/>
                  </a:cubicBezTo>
                  <a:cubicBezTo>
                    <a:pt x="41" y="102"/>
                    <a:pt x="60" y="93"/>
                    <a:pt x="60" y="93"/>
                  </a:cubicBezTo>
                  <a:cubicBezTo>
                    <a:pt x="49" y="41"/>
                    <a:pt x="49" y="41"/>
                    <a:pt x="49" y="41"/>
                  </a:cubicBezTo>
                  <a:cubicBezTo>
                    <a:pt x="41" y="3"/>
                    <a:pt x="41" y="3"/>
                    <a:pt x="41" y="3"/>
                  </a:cubicBezTo>
                  <a:cubicBezTo>
                    <a:pt x="40" y="0"/>
                    <a:pt x="40" y="0"/>
                    <a:pt x="40" y="0"/>
                  </a:cubicBezTo>
                </a:path>
              </a:pathLst>
            </a:custGeom>
            <a:solidFill>
              <a:srgbClr val="B17A0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6" name="Freeform 76"/>
            <p:cNvSpPr/>
            <p:nvPr userDrawn="1"/>
          </p:nvSpPr>
          <p:spPr bwMode="auto">
            <a:xfrm>
              <a:off x="3315636" y="5298294"/>
              <a:ext cx="18275" cy="217630"/>
            </a:xfrm>
            <a:custGeom>
              <a:avLst/>
              <a:gdLst>
                <a:gd name="T0" fmla="*/ 7 w 7"/>
                <a:gd name="T1" fmla="*/ 0 h 84"/>
                <a:gd name="T2" fmla="*/ 7 w 7"/>
                <a:gd name="T3" fmla="*/ 0 h 84"/>
                <a:gd name="T4" fmla="*/ 0 w 7"/>
                <a:gd name="T5" fmla="*/ 84 h 84"/>
                <a:gd name="T6" fmla="*/ 0 w 7"/>
                <a:gd name="T7" fmla="*/ 84 h 84"/>
                <a:gd name="T8" fmla="*/ 7 w 7"/>
                <a:gd name="T9" fmla="*/ 0 h 84"/>
              </a:gdLst>
              <a:ahLst/>
              <a:cxnLst>
                <a:cxn ang="0">
                  <a:pos x="T0" y="T1"/>
                </a:cxn>
                <a:cxn ang="0">
                  <a:pos x="T2" y="T3"/>
                </a:cxn>
                <a:cxn ang="0">
                  <a:pos x="T4" y="T5"/>
                </a:cxn>
                <a:cxn ang="0">
                  <a:pos x="T6" y="T7"/>
                </a:cxn>
                <a:cxn ang="0">
                  <a:pos x="T8" y="T9"/>
                </a:cxn>
              </a:cxnLst>
              <a:rect l="0" t="0" r="r" b="b"/>
              <a:pathLst>
                <a:path w="7" h="84">
                  <a:moveTo>
                    <a:pt x="7" y="0"/>
                  </a:moveTo>
                  <a:cubicBezTo>
                    <a:pt x="7" y="0"/>
                    <a:pt x="7" y="0"/>
                    <a:pt x="7" y="0"/>
                  </a:cubicBezTo>
                  <a:cubicBezTo>
                    <a:pt x="6" y="27"/>
                    <a:pt x="4" y="56"/>
                    <a:pt x="0" y="84"/>
                  </a:cubicBezTo>
                  <a:cubicBezTo>
                    <a:pt x="0" y="84"/>
                    <a:pt x="0" y="84"/>
                    <a:pt x="0" y="84"/>
                  </a:cubicBezTo>
                  <a:cubicBezTo>
                    <a:pt x="4" y="56"/>
                    <a:pt x="6" y="27"/>
                    <a:pt x="7" y="0"/>
                  </a:cubicBezTo>
                </a:path>
              </a:pathLst>
            </a:custGeom>
            <a:solidFill>
              <a:srgbClr val="9BBAF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7" name="Freeform 92"/>
            <p:cNvSpPr>
              <a:spLocks noEditPoints="1"/>
            </p:cNvSpPr>
            <p:nvPr userDrawn="1"/>
          </p:nvSpPr>
          <p:spPr bwMode="auto">
            <a:xfrm>
              <a:off x="5324136" y="3974245"/>
              <a:ext cx="506694" cy="696081"/>
            </a:xfrm>
            <a:custGeom>
              <a:avLst/>
              <a:gdLst>
                <a:gd name="T0" fmla="*/ 195 w 195"/>
                <a:gd name="T1" fmla="*/ 53 h 268"/>
                <a:gd name="T2" fmla="*/ 191 w 195"/>
                <a:gd name="T3" fmla="*/ 55 h 268"/>
                <a:gd name="T4" fmla="*/ 191 w 195"/>
                <a:gd name="T5" fmla="*/ 241 h 268"/>
                <a:gd name="T6" fmla="*/ 184 w 195"/>
                <a:gd name="T7" fmla="*/ 258 h 268"/>
                <a:gd name="T8" fmla="*/ 168 w 195"/>
                <a:gd name="T9" fmla="*/ 264 h 268"/>
                <a:gd name="T10" fmla="*/ 168 w 195"/>
                <a:gd name="T11" fmla="*/ 264 h 268"/>
                <a:gd name="T12" fmla="*/ 135 w 195"/>
                <a:gd name="T13" fmla="*/ 264 h 268"/>
                <a:gd name="T14" fmla="*/ 134 w 195"/>
                <a:gd name="T15" fmla="*/ 268 h 268"/>
                <a:gd name="T16" fmla="*/ 168 w 195"/>
                <a:gd name="T17" fmla="*/ 268 h 268"/>
                <a:gd name="T18" fmla="*/ 195 w 195"/>
                <a:gd name="T19" fmla="*/ 241 h 268"/>
                <a:gd name="T20" fmla="*/ 195 w 195"/>
                <a:gd name="T21" fmla="*/ 53 h 268"/>
                <a:gd name="T22" fmla="*/ 68 w 195"/>
                <a:gd name="T23" fmla="*/ 0 h 268"/>
                <a:gd name="T24" fmla="*/ 0 w 195"/>
                <a:gd name="T25" fmla="*/ 0 h 268"/>
                <a:gd name="T26" fmla="*/ 0 w 195"/>
                <a:gd name="T27" fmla="*/ 4 h 268"/>
                <a:gd name="T28" fmla="*/ 54 w 195"/>
                <a:gd name="T29" fmla="*/ 4 h 268"/>
                <a:gd name="T30" fmla="*/ 68 w 195"/>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5" h="268">
                  <a:moveTo>
                    <a:pt x="195" y="53"/>
                  </a:moveTo>
                  <a:cubicBezTo>
                    <a:pt x="194" y="54"/>
                    <a:pt x="192" y="55"/>
                    <a:pt x="191" y="55"/>
                  </a:cubicBezTo>
                  <a:cubicBezTo>
                    <a:pt x="191" y="241"/>
                    <a:pt x="191" y="241"/>
                    <a:pt x="191" y="241"/>
                  </a:cubicBezTo>
                  <a:cubicBezTo>
                    <a:pt x="191" y="248"/>
                    <a:pt x="189" y="253"/>
                    <a:pt x="184" y="258"/>
                  </a:cubicBezTo>
                  <a:cubicBezTo>
                    <a:pt x="180" y="262"/>
                    <a:pt x="174" y="264"/>
                    <a:pt x="168" y="264"/>
                  </a:cubicBezTo>
                  <a:cubicBezTo>
                    <a:pt x="168" y="264"/>
                    <a:pt x="168" y="264"/>
                    <a:pt x="168" y="264"/>
                  </a:cubicBezTo>
                  <a:cubicBezTo>
                    <a:pt x="135" y="264"/>
                    <a:pt x="135" y="264"/>
                    <a:pt x="135" y="264"/>
                  </a:cubicBezTo>
                  <a:cubicBezTo>
                    <a:pt x="135" y="266"/>
                    <a:pt x="135" y="267"/>
                    <a:pt x="134" y="268"/>
                  </a:cubicBezTo>
                  <a:cubicBezTo>
                    <a:pt x="168" y="268"/>
                    <a:pt x="168" y="268"/>
                    <a:pt x="168" y="268"/>
                  </a:cubicBezTo>
                  <a:cubicBezTo>
                    <a:pt x="183" y="268"/>
                    <a:pt x="195" y="256"/>
                    <a:pt x="195" y="241"/>
                  </a:cubicBezTo>
                  <a:cubicBezTo>
                    <a:pt x="195" y="53"/>
                    <a:pt x="195" y="53"/>
                    <a:pt x="195" y="53"/>
                  </a:cubicBezTo>
                  <a:moveTo>
                    <a:pt x="68" y="0"/>
                  </a:moveTo>
                  <a:cubicBezTo>
                    <a:pt x="0" y="0"/>
                    <a:pt x="0" y="0"/>
                    <a:pt x="0" y="0"/>
                  </a:cubicBezTo>
                  <a:cubicBezTo>
                    <a:pt x="0" y="4"/>
                    <a:pt x="0" y="4"/>
                    <a:pt x="0" y="4"/>
                  </a:cubicBezTo>
                  <a:cubicBezTo>
                    <a:pt x="54" y="4"/>
                    <a:pt x="54" y="4"/>
                    <a:pt x="54" y="4"/>
                  </a:cubicBezTo>
                  <a:cubicBezTo>
                    <a:pt x="59" y="3"/>
                    <a:pt x="63" y="1"/>
                    <a:pt x="68" y="0"/>
                  </a:cubicBezTo>
                </a:path>
              </a:pathLst>
            </a:custGeom>
            <a:solidFill>
              <a:srgbClr val="DFF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8" name="Freeform 159"/>
            <p:cNvSpPr>
              <a:spLocks noEditPoints="1"/>
            </p:cNvSpPr>
            <p:nvPr userDrawn="1"/>
          </p:nvSpPr>
          <p:spPr bwMode="auto">
            <a:xfrm>
              <a:off x="2489975" y="2577101"/>
              <a:ext cx="3202967" cy="2435451"/>
            </a:xfrm>
            <a:custGeom>
              <a:avLst/>
              <a:gdLst>
                <a:gd name="T0" fmla="*/ 1234 w 1234"/>
                <a:gd name="T1" fmla="*/ 738 h 939"/>
                <a:gd name="T2" fmla="*/ 388 w 1234"/>
                <a:gd name="T3" fmla="*/ 662 h 939"/>
                <a:gd name="T4" fmla="*/ 1190 w 1234"/>
                <a:gd name="T5" fmla="*/ 738 h 939"/>
                <a:gd name="T6" fmla="*/ 424 w 1234"/>
                <a:gd name="T7" fmla="*/ 634 h 939"/>
                <a:gd name="T8" fmla="*/ 827 w 1234"/>
                <a:gd name="T9" fmla="*/ 634 h 939"/>
                <a:gd name="T10" fmla="*/ 381 w 1234"/>
                <a:gd name="T11" fmla="*/ 738 h 939"/>
                <a:gd name="T12" fmla="*/ 1029 w 1234"/>
                <a:gd name="T13" fmla="*/ 797 h 939"/>
                <a:gd name="T14" fmla="*/ 1180 w 1234"/>
                <a:gd name="T15" fmla="*/ 686 h 939"/>
                <a:gd name="T16" fmla="*/ 1195 w 1234"/>
                <a:gd name="T17" fmla="*/ 739 h 939"/>
                <a:gd name="T18" fmla="*/ 1073 w 1234"/>
                <a:gd name="T19" fmla="*/ 597 h 939"/>
                <a:gd name="T20" fmla="*/ 1030 w 1234"/>
                <a:gd name="T21" fmla="*/ 581 h 939"/>
                <a:gd name="T22" fmla="*/ 49 w 1234"/>
                <a:gd name="T23" fmla="*/ 576 h 939"/>
                <a:gd name="T24" fmla="*/ 27 w 1234"/>
                <a:gd name="T25" fmla="*/ 742 h 939"/>
                <a:gd name="T26" fmla="*/ 1023 w 1234"/>
                <a:gd name="T27" fmla="*/ 566 h 939"/>
                <a:gd name="T28" fmla="*/ 387 w 1234"/>
                <a:gd name="T29" fmla="*/ 656 h 939"/>
                <a:gd name="T30" fmla="*/ 371 w 1234"/>
                <a:gd name="T31" fmla="*/ 688 h 939"/>
                <a:gd name="T32" fmla="*/ 424 w 1234"/>
                <a:gd name="T33" fmla="*/ 634 h 939"/>
                <a:gd name="T34" fmla="*/ 256 w 1234"/>
                <a:gd name="T35" fmla="*/ 742 h 939"/>
                <a:gd name="T36" fmla="*/ 213 w 1234"/>
                <a:gd name="T37" fmla="*/ 780 h 939"/>
                <a:gd name="T38" fmla="*/ 451 w 1234"/>
                <a:gd name="T39" fmla="*/ 543 h 939"/>
                <a:gd name="T40" fmla="*/ 803 w 1234"/>
                <a:gd name="T41" fmla="*/ 741 h 939"/>
                <a:gd name="T42" fmla="*/ 829 w 1234"/>
                <a:gd name="T43" fmla="*/ 634 h 939"/>
                <a:gd name="T44" fmla="*/ 789 w 1234"/>
                <a:gd name="T45" fmla="*/ 742 h 939"/>
                <a:gd name="T46" fmla="*/ 618 w 1234"/>
                <a:gd name="T47" fmla="*/ 566 h 939"/>
                <a:gd name="T48" fmla="*/ 872 w 1234"/>
                <a:gd name="T49" fmla="*/ 550 h 939"/>
                <a:gd name="T50" fmla="*/ 1059 w 1234"/>
                <a:gd name="T51" fmla="*/ 559 h 939"/>
                <a:gd name="T52" fmla="*/ 1092 w 1234"/>
                <a:gd name="T53" fmla="*/ 351 h 939"/>
                <a:gd name="T54" fmla="*/ 428 w 1234"/>
                <a:gd name="T55" fmla="*/ 396 h 939"/>
                <a:gd name="T56" fmla="*/ 0 w 1234"/>
                <a:gd name="T57" fmla="*/ 282 h 939"/>
                <a:gd name="T58" fmla="*/ 16 w 1234"/>
                <a:gd name="T59" fmla="*/ 292 h 939"/>
                <a:gd name="T60" fmla="*/ 424 w 1234"/>
                <a:gd name="T61" fmla="*/ 292 h 939"/>
                <a:gd name="T62" fmla="*/ 827 w 1234"/>
                <a:gd name="T63" fmla="*/ 292 h 939"/>
                <a:gd name="T64" fmla="*/ 785 w 1234"/>
                <a:gd name="T65" fmla="*/ 396 h 939"/>
                <a:gd name="T66" fmla="*/ 0 w 1234"/>
                <a:gd name="T67" fmla="*/ 278 h 939"/>
                <a:gd name="T68" fmla="*/ 28 w 1234"/>
                <a:gd name="T69" fmla="*/ 397 h 939"/>
                <a:gd name="T70" fmla="*/ 69 w 1234"/>
                <a:gd name="T71" fmla="*/ 224 h 939"/>
                <a:gd name="T72" fmla="*/ 431 w 1234"/>
                <a:gd name="T73" fmla="*/ 400 h 939"/>
                <a:gd name="T74" fmla="*/ 409 w 1234"/>
                <a:gd name="T75" fmla="*/ 277 h 939"/>
                <a:gd name="T76" fmla="*/ 386 w 1234"/>
                <a:gd name="T77" fmla="*/ 397 h 939"/>
                <a:gd name="T78" fmla="*/ 236 w 1234"/>
                <a:gd name="T79" fmla="*/ 201 h 939"/>
                <a:gd name="T80" fmla="*/ 474 w 1234"/>
                <a:gd name="T81" fmla="*/ 438 h 939"/>
                <a:gd name="T82" fmla="*/ 837 w 1234"/>
                <a:gd name="T83" fmla="*/ 399 h 939"/>
                <a:gd name="T84" fmla="*/ 798 w 1234"/>
                <a:gd name="T85" fmla="*/ 292 h 939"/>
                <a:gd name="T86" fmla="*/ 726 w 1234"/>
                <a:gd name="T87" fmla="*/ 274 h 939"/>
                <a:gd name="T88" fmla="*/ 856 w 1234"/>
                <a:gd name="T89" fmla="*/ 201 h 939"/>
                <a:gd name="T90" fmla="*/ 872 w 1234"/>
                <a:gd name="T91" fmla="*/ 455 h 939"/>
                <a:gd name="T92" fmla="*/ 1023 w 1234"/>
                <a:gd name="T93" fmla="*/ 224 h 939"/>
                <a:gd name="T94" fmla="*/ 1064 w 1234"/>
                <a:gd name="T95" fmla="*/ 397 h 939"/>
                <a:gd name="T96" fmla="*/ 478 w 1234"/>
                <a:gd name="T97" fmla="*/ 566 h 939"/>
                <a:gd name="T98" fmla="*/ 641 w 1234"/>
                <a:gd name="T99" fmla="*/ 539 h 939"/>
                <a:gd name="T100" fmla="*/ 209 w 1234"/>
                <a:gd name="T101" fmla="*/ 438 h 939"/>
                <a:gd name="T102" fmla="*/ 236 w 1234"/>
                <a:gd name="T103" fmla="*/ 465 h 939"/>
                <a:gd name="T104" fmla="*/ 856 w 1234"/>
                <a:gd name="T105" fmla="*/ 465 h 939"/>
                <a:gd name="T106" fmla="*/ 73 w 1234"/>
                <a:gd name="T107" fmla="*/ 438 h 939"/>
                <a:gd name="T108" fmla="*/ 82 w 1234"/>
                <a:gd name="T109" fmla="*/ 522 h 939"/>
                <a:gd name="T110" fmla="*/ 100 w 1234"/>
                <a:gd name="T111" fmla="*/ 534 h 939"/>
                <a:gd name="T112" fmla="*/ 73 w 1234"/>
                <a:gd name="T113" fmla="*/ 565 h 939"/>
                <a:gd name="T114" fmla="*/ 1048 w 1234"/>
                <a:gd name="T115" fmla="*/ 939 h 939"/>
                <a:gd name="T116" fmla="*/ 1010 w 1234"/>
                <a:gd name="T117" fmla="*/ 586 h 939"/>
                <a:gd name="T118" fmla="*/ 1019 w 1234"/>
                <a:gd name="T119" fmla="*/ 566 h 939"/>
                <a:gd name="T120" fmla="*/ 1019 w 1234"/>
                <a:gd name="T121" fmla="*/ 438 h 939"/>
                <a:gd name="T122" fmla="*/ 1092 w 1234"/>
                <a:gd name="T123" fmla="*/ 64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4" h="939">
                  <a:moveTo>
                    <a:pt x="0" y="693"/>
                  </a:moveTo>
                  <a:cubicBezTo>
                    <a:pt x="0" y="738"/>
                    <a:pt x="0" y="738"/>
                    <a:pt x="0" y="738"/>
                  </a:cubicBezTo>
                  <a:cubicBezTo>
                    <a:pt x="23" y="738"/>
                    <a:pt x="23" y="738"/>
                    <a:pt x="23" y="738"/>
                  </a:cubicBezTo>
                  <a:cubicBezTo>
                    <a:pt x="0" y="693"/>
                    <a:pt x="0" y="693"/>
                    <a:pt x="0" y="693"/>
                  </a:cubicBezTo>
                  <a:moveTo>
                    <a:pt x="1197" y="662"/>
                  </a:moveTo>
                  <a:cubicBezTo>
                    <a:pt x="1184" y="687"/>
                    <a:pt x="1184" y="687"/>
                    <a:pt x="1184" y="687"/>
                  </a:cubicBezTo>
                  <a:cubicBezTo>
                    <a:pt x="1211" y="738"/>
                    <a:pt x="1211" y="738"/>
                    <a:pt x="1211" y="738"/>
                  </a:cubicBezTo>
                  <a:cubicBezTo>
                    <a:pt x="1234" y="738"/>
                    <a:pt x="1234" y="738"/>
                    <a:pt x="1234" y="738"/>
                  </a:cubicBezTo>
                  <a:cubicBezTo>
                    <a:pt x="1234" y="736"/>
                    <a:pt x="1233" y="733"/>
                    <a:pt x="1233" y="730"/>
                  </a:cubicBezTo>
                  <a:cubicBezTo>
                    <a:pt x="1197" y="662"/>
                    <a:pt x="1197" y="662"/>
                    <a:pt x="1197" y="662"/>
                  </a:cubicBezTo>
                  <a:moveTo>
                    <a:pt x="793" y="662"/>
                  </a:moveTo>
                  <a:cubicBezTo>
                    <a:pt x="780" y="687"/>
                    <a:pt x="780" y="687"/>
                    <a:pt x="780" y="687"/>
                  </a:cubicBezTo>
                  <a:cubicBezTo>
                    <a:pt x="806" y="738"/>
                    <a:pt x="806" y="738"/>
                    <a:pt x="806" y="738"/>
                  </a:cubicBezTo>
                  <a:cubicBezTo>
                    <a:pt x="832" y="738"/>
                    <a:pt x="832" y="738"/>
                    <a:pt x="832" y="738"/>
                  </a:cubicBezTo>
                  <a:cubicBezTo>
                    <a:pt x="793" y="662"/>
                    <a:pt x="793" y="662"/>
                    <a:pt x="793" y="662"/>
                  </a:cubicBezTo>
                  <a:moveTo>
                    <a:pt x="388" y="662"/>
                  </a:moveTo>
                  <a:cubicBezTo>
                    <a:pt x="375" y="687"/>
                    <a:pt x="375" y="687"/>
                    <a:pt x="375" y="687"/>
                  </a:cubicBezTo>
                  <a:cubicBezTo>
                    <a:pt x="402" y="738"/>
                    <a:pt x="402" y="738"/>
                    <a:pt x="402" y="738"/>
                  </a:cubicBezTo>
                  <a:cubicBezTo>
                    <a:pt x="428" y="738"/>
                    <a:pt x="428" y="738"/>
                    <a:pt x="428" y="738"/>
                  </a:cubicBezTo>
                  <a:cubicBezTo>
                    <a:pt x="388" y="662"/>
                    <a:pt x="388" y="662"/>
                    <a:pt x="388" y="662"/>
                  </a:cubicBezTo>
                  <a:moveTo>
                    <a:pt x="1137" y="637"/>
                  </a:moveTo>
                  <a:cubicBezTo>
                    <a:pt x="1131" y="638"/>
                    <a:pt x="1125" y="639"/>
                    <a:pt x="1120" y="639"/>
                  </a:cubicBezTo>
                  <a:cubicBezTo>
                    <a:pt x="1069" y="738"/>
                    <a:pt x="1069" y="738"/>
                    <a:pt x="1069" y="738"/>
                  </a:cubicBezTo>
                  <a:cubicBezTo>
                    <a:pt x="1190" y="738"/>
                    <a:pt x="1190" y="738"/>
                    <a:pt x="1190" y="738"/>
                  </a:cubicBezTo>
                  <a:cubicBezTo>
                    <a:pt x="1137" y="637"/>
                    <a:pt x="1137" y="637"/>
                    <a:pt x="1137" y="637"/>
                  </a:cubicBezTo>
                  <a:moveTo>
                    <a:pt x="409" y="623"/>
                  </a:moveTo>
                  <a:cubicBezTo>
                    <a:pt x="403" y="623"/>
                    <a:pt x="398" y="628"/>
                    <a:pt x="398" y="634"/>
                  </a:cubicBezTo>
                  <a:cubicBezTo>
                    <a:pt x="398" y="640"/>
                    <a:pt x="403" y="645"/>
                    <a:pt x="409" y="646"/>
                  </a:cubicBezTo>
                  <a:cubicBezTo>
                    <a:pt x="415" y="645"/>
                    <a:pt x="420" y="640"/>
                    <a:pt x="420" y="634"/>
                  </a:cubicBezTo>
                  <a:cubicBezTo>
                    <a:pt x="422" y="634"/>
                    <a:pt x="422" y="634"/>
                    <a:pt x="422" y="634"/>
                  </a:cubicBezTo>
                  <a:cubicBezTo>
                    <a:pt x="424" y="634"/>
                    <a:pt x="424" y="634"/>
                    <a:pt x="424" y="634"/>
                  </a:cubicBezTo>
                  <a:cubicBezTo>
                    <a:pt x="424" y="634"/>
                    <a:pt x="424" y="634"/>
                    <a:pt x="424" y="634"/>
                  </a:cubicBezTo>
                  <a:cubicBezTo>
                    <a:pt x="422" y="634"/>
                    <a:pt x="422" y="634"/>
                    <a:pt x="422" y="634"/>
                  </a:cubicBezTo>
                  <a:cubicBezTo>
                    <a:pt x="420" y="634"/>
                    <a:pt x="420" y="634"/>
                    <a:pt x="420" y="634"/>
                  </a:cubicBezTo>
                  <a:cubicBezTo>
                    <a:pt x="420" y="628"/>
                    <a:pt x="415" y="623"/>
                    <a:pt x="409" y="623"/>
                  </a:cubicBezTo>
                  <a:moveTo>
                    <a:pt x="814" y="623"/>
                  </a:moveTo>
                  <a:cubicBezTo>
                    <a:pt x="807" y="623"/>
                    <a:pt x="802" y="628"/>
                    <a:pt x="802" y="634"/>
                  </a:cubicBezTo>
                  <a:cubicBezTo>
                    <a:pt x="802" y="640"/>
                    <a:pt x="807" y="645"/>
                    <a:pt x="814" y="646"/>
                  </a:cubicBezTo>
                  <a:cubicBezTo>
                    <a:pt x="820" y="645"/>
                    <a:pt x="825" y="640"/>
                    <a:pt x="825" y="634"/>
                  </a:cubicBezTo>
                  <a:cubicBezTo>
                    <a:pt x="827" y="634"/>
                    <a:pt x="827" y="634"/>
                    <a:pt x="827" y="634"/>
                  </a:cubicBezTo>
                  <a:cubicBezTo>
                    <a:pt x="829" y="634"/>
                    <a:pt x="829" y="634"/>
                    <a:pt x="829" y="634"/>
                  </a:cubicBezTo>
                  <a:cubicBezTo>
                    <a:pt x="829" y="634"/>
                    <a:pt x="829" y="634"/>
                    <a:pt x="829" y="634"/>
                  </a:cubicBezTo>
                  <a:cubicBezTo>
                    <a:pt x="827" y="634"/>
                    <a:pt x="827" y="634"/>
                    <a:pt x="827" y="634"/>
                  </a:cubicBezTo>
                  <a:cubicBezTo>
                    <a:pt x="825" y="634"/>
                    <a:pt x="825" y="634"/>
                    <a:pt x="825" y="634"/>
                  </a:cubicBezTo>
                  <a:cubicBezTo>
                    <a:pt x="825" y="628"/>
                    <a:pt x="820" y="623"/>
                    <a:pt x="814" y="623"/>
                  </a:cubicBezTo>
                  <a:moveTo>
                    <a:pt x="320" y="621"/>
                  </a:moveTo>
                  <a:cubicBezTo>
                    <a:pt x="260" y="738"/>
                    <a:pt x="260" y="738"/>
                    <a:pt x="260" y="738"/>
                  </a:cubicBezTo>
                  <a:cubicBezTo>
                    <a:pt x="381" y="738"/>
                    <a:pt x="381" y="738"/>
                    <a:pt x="381" y="738"/>
                  </a:cubicBezTo>
                  <a:cubicBezTo>
                    <a:pt x="320" y="621"/>
                    <a:pt x="320" y="621"/>
                    <a:pt x="320" y="621"/>
                  </a:cubicBezTo>
                  <a:moveTo>
                    <a:pt x="725" y="621"/>
                  </a:moveTo>
                  <a:cubicBezTo>
                    <a:pt x="664" y="738"/>
                    <a:pt x="664" y="738"/>
                    <a:pt x="664" y="738"/>
                  </a:cubicBezTo>
                  <a:cubicBezTo>
                    <a:pt x="785" y="738"/>
                    <a:pt x="785" y="738"/>
                    <a:pt x="785" y="738"/>
                  </a:cubicBezTo>
                  <a:cubicBezTo>
                    <a:pt x="725" y="621"/>
                    <a:pt x="725" y="621"/>
                    <a:pt x="725" y="621"/>
                  </a:cubicBezTo>
                  <a:moveTo>
                    <a:pt x="1023" y="595"/>
                  </a:moveTo>
                  <a:cubicBezTo>
                    <a:pt x="1023" y="780"/>
                    <a:pt x="1023" y="780"/>
                    <a:pt x="1023" y="780"/>
                  </a:cubicBezTo>
                  <a:cubicBezTo>
                    <a:pt x="1023" y="787"/>
                    <a:pt x="1025" y="792"/>
                    <a:pt x="1029" y="797"/>
                  </a:cubicBezTo>
                  <a:cubicBezTo>
                    <a:pt x="1034" y="801"/>
                    <a:pt x="1039" y="803"/>
                    <a:pt x="1046" y="803"/>
                  </a:cubicBezTo>
                  <a:cubicBezTo>
                    <a:pt x="1227" y="803"/>
                    <a:pt x="1227" y="803"/>
                    <a:pt x="1227" y="803"/>
                  </a:cubicBezTo>
                  <a:cubicBezTo>
                    <a:pt x="1232" y="787"/>
                    <a:pt x="1234" y="770"/>
                    <a:pt x="1234" y="753"/>
                  </a:cubicBezTo>
                  <a:cubicBezTo>
                    <a:pt x="1234" y="749"/>
                    <a:pt x="1234" y="746"/>
                    <a:pt x="1234" y="742"/>
                  </a:cubicBezTo>
                  <a:cubicBezTo>
                    <a:pt x="1210" y="742"/>
                    <a:pt x="1210" y="742"/>
                    <a:pt x="1210" y="742"/>
                  </a:cubicBezTo>
                  <a:cubicBezTo>
                    <a:pt x="1209" y="742"/>
                    <a:pt x="1208" y="742"/>
                    <a:pt x="1208" y="741"/>
                  </a:cubicBezTo>
                  <a:cubicBezTo>
                    <a:pt x="1180" y="688"/>
                    <a:pt x="1180" y="688"/>
                    <a:pt x="1180" y="688"/>
                  </a:cubicBezTo>
                  <a:cubicBezTo>
                    <a:pt x="1180" y="687"/>
                    <a:pt x="1180" y="687"/>
                    <a:pt x="1180" y="686"/>
                  </a:cubicBezTo>
                  <a:cubicBezTo>
                    <a:pt x="1196" y="656"/>
                    <a:pt x="1196" y="656"/>
                    <a:pt x="1196" y="656"/>
                  </a:cubicBezTo>
                  <a:cubicBezTo>
                    <a:pt x="1196" y="656"/>
                    <a:pt x="1197" y="655"/>
                    <a:pt x="1197" y="655"/>
                  </a:cubicBezTo>
                  <a:cubicBezTo>
                    <a:pt x="1197" y="655"/>
                    <a:pt x="1197" y="655"/>
                    <a:pt x="1197" y="655"/>
                  </a:cubicBezTo>
                  <a:cubicBezTo>
                    <a:pt x="1198" y="655"/>
                    <a:pt x="1199" y="656"/>
                    <a:pt x="1199" y="656"/>
                  </a:cubicBezTo>
                  <a:cubicBezTo>
                    <a:pt x="1231" y="718"/>
                    <a:pt x="1231" y="718"/>
                    <a:pt x="1231" y="718"/>
                  </a:cubicBezTo>
                  <a:cubicBezTo>
                    <a:pt x="1225" y="683"/>
                    <a:pt x="1208" y="652"/>
                    <a:pt x="1185" y="627"/>
                  </a:cubicBezTo>
                  <a:cubicBezTo>
                    <a:pt x="1170" y="631"/>
                    <a:pt x="1155" y="634"/>
                    <a:pt x="1142" y="636"/>
                  </a:cubicBezTo>
                  <a:cubicBezTo>
                    <a:pt x="1195" y="739"/>
                    <a:pt x="1195" y="739"/>
                    <a:pt x="1195" y="739"/>
                  </a:cubicBezTo>
                  <a:cubicBezTo>
                    <a:pt x="1195" y="740"/>
                    <a:pt x="1195" y="741"/>
                    <a:pt x="1195" y="741"/>
                  </a:cubicBezTo>
                  <a:cubicBezTo>
                    <a:pt x="1195" y="742"/>
                    <a:pt x="1194" y="742"/>
                    <a:pt x="1193" y="742"/>
                  </a:cubicBezTo>
                  <a:cubicBezTo>
                    <a:pt x="1065" y="742"/>
                    <a:pt x="1065" y="742"/>
                    <a:pt x="1065" y="742"/>
                  </a:cubicBezTo>
                  <a:cubicBezTo>
                    <a:pt x="1065" y="742"/>
                    <a:pt x="1064" y="742"/>
                    <a:pt x="1064" y="741"/>
                  </a:cubicBezTo>
                  <a:cubicBezTo>
                    <a:pt x="1063" y="741"/>
                    <a:pt x="1063" y="740"/>
                    <a:pt x="1064" y="739"/>
                  </a:cubicBezTo>
                  <a:cubicBezTo>
                    <a:pt x="1115" y="640"/>
                    <a:pt x="1115" y="640"/>
                    <a:pt x="1115" y="640"/>
                  </a:cubicBezTo>
                  <a:cubicBezTo>
                    <a:pt x="1093" y="643"/>
                    <a:pt x="1079" y="644"/>
                    <a:pt x="1079" y="644"/>
                  </a:cubicBezTo>
                  <a:cubicBezTo>
                    <a:pt x="1073" y="597"/>
                    <a:pt x="1073" y="597"/>
                    <a:pt x="1073" y="597"/>
                  </a:cubicBezTo>
                  <a:cubicBezTo>
                    <a:pt x="1053" y="597"/>
                    <a:pt x="1033" y="596"/>
                    <a:pt x="1023" y="595"/>
                  </a:cubicBezTo>
                  <a:moveTo>
                    <a:pt x="1023" y="589"/>
                  </a:moveTo>
                  <a:cubicBezTo>
                    <a:pt x="1023" y="590"/>
                    <a:pt x="1023" y="590"/>
                    <a:pt x="1023" y="590"/>
                  </a:cubicBezTo>
                  <a:cubicBezTo>
                    <a:pt x="1026" y="589"/>
                    <a:pt x="1030" y="589"/>
                    <a:pt x="1033" y="589"/>
                  </a:cubicBezTo>
                  <a:cubicBezTo>
                    <a:pt x="1030" y="589"/>
                    <a:pt x="1026" y="589"/>
                    <a:pt x="1023" y="589"/>
                  </a:cubicBezTo>
                  <a:moveTo>
                    <a:pt x="1023" y="581"/>
                  </a:moveTo>
                  <a:cubicBezTo>
                    <a:pt x="1023" y="582"/>
                    <a:pt x="1023" y="582"/>
                    <a:pt x="1023" y="582"/>
                  </a:cubicBezTo>
                  <a:cubicBezTo>
                    <a:pt x="1025" y="582"/>
                    <a:pt x="1028" y="581"/>
                    <a:pt x="1030" y="581"/>
                  </a:cubicBezTo>
                  <a:cubicBezTo>
                    <a:pt x="1028" y="581"/>
                    <a:pt x="1026" y="581"/>
                    <a:pt x="1023" y="581"/>
                  </a:cubicBezTo>
                  <a:moveTo>
                    <a:pt x="1028" y="573"/>
                  </a:moveTo>
                  <a:cubicBezTo>
                    <a:pt x="1028" y="573"/>
                    <a:pt x="1026" y="573"/>
                    <a:pt x="1023" y="573"/>
                  </a:cubicBezTo>
                  <a:cubicBezTo>
                    <a:pt x="1023" y="573"/>
                    <a:pt x="1023" y="573"/>
                    <a:pt x="1023" y="573"/>
                  </a:cubicBezTo>
                  <a:cubicBezTo>
                    <a:pt x="1023" y="574"/>
                    <a:pt x="1023" y="574"/>
                    <a:pt x="1023" y="574"/>
                  </a:cubicBezTo>
                  <a:cubicBezTo>
                    <a:pt x="1026" y="573"/>
                    <a:pt x="1028" y="573"/>
                    <a:pt x="1028" y="573"/>
                  </a:cubicBezTo>
                  <a:moveTo>
                    <a:pt x="69" y="567"/>
                  </a:moveTo>
                  <a:cubicBezTo>
                    <a:pt x="63" y="570"/>
                    <a:pt x="56" y="573"/>
                    <a:pt x="49" y="576"/>
                  </a:cubicBezTo>
                  <a:cubicBezTo>
                    <a:pt x="60" y="628"/>
                    <a:pt x="60" y="628"/>
                    <a:pt x="60" y="628"/>
                  </a:cubicBezTo>
                  <a:cubicBezTo>
                    <a:pt x="60" y="628"/>
                    <a:pt x="41" y="637"/>
                    <a:pt x="13" y="647"/>
                  </a:cubicBezTo>
                  <a:cubicBezTo>
                    <a:pt x="11" y="648"/>
                    <a:pt x="8" y="649"/>
                    <a:pt x="6" y="649"/>
                  </a:cubicBezTo>
                  <a:cubicBezTo>
                    <a:pt x="4" y="650"/>
                    <a:pt x="2" y="651"/>
                    <a:pt x="0" y="651"/>
                  </a:cubicBezTo>
                  <a:cubicBezTo>
                    <a:pt x="0" y="684"/>
                    <a:pt x="0" y="684"/>
                    <a:pt x="0" y="684"/>
                  </a:cubicBezTo>
                  <a:cubicBezTo>
                    <a:pt x="28" y="739"/>
                    <a:pt x="28" y="739"/>
                    <a:pt x="28" y="739"/>
                  </a:cubicBezTo>
                  <a:cubicBezTo>
                    <a:pt x="29" y="740"/>
                    <a:pt x="29" y="741"/>
                    <a:pt x="28" y="741"/>
                  </a:cubicBezTo>
                  <a:cubicBezTo>
                    <a:pt x="28" y="742"/>
                    <a:pt x="27" y="742"/>
                    <a:pt x="27" y="742"/>
                  </a:cubicBezTo>
                  <a:cubicBezTo>
                    <a:pt x="0" y="742"/>
                    <a:pt x="0" y="742"/>
                    <a:pt x="0" y="742"/>
                  </a:cubicBezTo>
                  <a:cubicBezTo>
                    <a:pt x="0" y="803"/>
                    <a:pt x="0" y="803"/>
                    <a:pt x="0" y="803"/>
                  </a:cubicBezTo>
                  <a:cubicBezTo>
                    <a:pt x="46" y="803"/>
                    <a:pt x="46" y="803"/>
                    <a:pt x="46" y="803"/>
                  </a:cubicBezTo>
                  <a:cubicBezTo>
                    <a:pt x="53" y="803"/>
                    <a:pt x="58" y="801"/>
                    <a:pt x="63" y="797"/>
                  </a:cubicBezTo>
                  <a:cubicBezTo>
                    <a:pt x="67" y="792"/>
                    <a:pt x="69" y="787"/>
                    <a:pt x="69" y="780"/>
                  </a:cubicBezTo>
                  <a:cubicBezTo>
                    <a:pt x="69" y="567"/>
                    <a:pt x="69" y="567"/>
                    <a:pt x="69" y="567"/>
                  </a:cubicBezTo>
                  <a:moveTo>
                    <a:pt x="1023" y="563"/>
                  </a:moveTo>
                  <a:cubicBezTo>
                    <a:pt x="1023" y="564"/>
                    <a:pt x="1023" y="565"/>
                    <a:pt x="1023" y="566"/>
                  </a:cubicBezTo>
                  <a:cubicBezTo>
                    <a:pt x="1023" y="567"/>
                    <a:pt x="1023" y="567"/>
                    <a:pt x="1023" y="567"/>
                  </a:cubicBezTo>
                  <a:cubicBezTo>
                    <a:pt x="1026" y="567"/>
                    <a:pt x="1029" y="567"/>
                    <a:pt x="1030" y="566"/>
                  </a:cubicBezTo>
                  <a:cubicBezTo>
                    <a:pt x="1031" y="565"/>
                    <a:pt x="1026" y="564"/>
                    <a:pt x="1023" y="563"/>
                  </a:cubicBezTo>
                  <a:moveTo>
                    <a:pt x="21" y="543"/>
                  </a:moveTo>
                  <a:cubicBezTo>
                    <a:pt x="0" y="543"/>
                    <a:pt x="0" y="543"/>
                    <a:pt x="0" y="543"/>
                  </a:cubicBezTo>
                  <a:cubicBezTo>
                    <a:pt x="0" y="550"/>
                    <a:pt x="0" y="550"/>
                    <a:pt x="0" y="550"/>
                  </a:cubicBezTo>
                  <a:cubicBezTo>
                    <a:pt x="8" y="548"/>
                    <a:pt x="15" y="545"/>
                    <a:pt x="21" y="543"/>
                  </a:cubicBezTo>
                  <a:moveTo>
                    <a:pt x="387" y="656"/>
                  </a:moveTo>
                  <a:cubicBezTo>
                    <a:pt x="387" y="656"/>
                    <a:pt x="388" y="655"/>
                    <a:pt x="388" y="655"/>
                  </a:cubicBezTo>
                  <a:cubicBezTo>
                    <a:pt x="389" y="655"/>
                    <a:pt x="390" y="656"/>
                    <a:pt x="390" y="656"/>
                  </a:cubicBezTo>
                  <a:cubicBezTo>
                    <a:pt x="433" y="739"/>
                    <a:pt x="433" y="739"/>
                    <a:pt x="433" y="739"/>
                  </a:cubicBezTo>
                  <a:cubicBezTo>
                    <a:pt x="433" y="740"/>
                    <a:pt x="433" y="741"/>
                    <a:pt x="433" y="741"/>
                  </a:cubicBezTo>
                  <a:cubicBezTo>
                    <a:pt x="433" y="742"/>
                    <a:pt x="432" y="742"/>
                    <a:pt x="431" y="742"/>
                  </a:cubicBezTo>
                  <a:cubicBezTo>
                    <a:pt x="400" y="742"/>
                    <a:pt x="400" y="742"/>
                    <a:pt x="400" y="742"/>
                  </a:cubicBezTo>
                  <a:cubicBezTo>
                    <a:pt x="400" y="742"/>
                    <a:pt x="399" y="742"/>
                    <a:pt x="399" y="741"/>
                  </a:cubicBezTo>
                  <a:cubicBezTo>
                    <a:pt x="371" y="688"/>
                    <a:pt x="371" y="688"/>
                    <a:pt x="371" y="688"/>
                  </a:cubicBezTo>
                  <a:cubicBezTo>
                    <a:pt x="371" y="687"/>
                    <a:pt x="371" y="687"/>
                    <a:pt x="371" y="686"/>
                  </a:cubicBezTo>
                  <a:cubicBezTo>
                    <a:pt x="387" y="656"/>
                    <a:pt x="387" y="656"/>
                    <a:pt x="387" y="656"/>
                  </a:cubicBezTo>
                  <a:moveTo>
                    <a:pt x="409" y="650"/>
                  </a:moveTo>
                  <a:cubicBezTo>
                    <a:pt x="401" y="650"/>
                    <a:pt x="394" y="643"/>
                    <a:pt x="394" y="634"/>
                  </a:cubicBezTo>
                  <a:cubicBezTo>
                    <a:pt x="394" y="626"/>
                    <a:pt x="401" y="619"/>
                    <a:pt x="409" y="619"/>
                  </a:cubicBezTo>
                  <a:cubicBezTo>
                    <a:pt x="418" y="619"/>
                    <a:pt x="424" y="626"/>
                    <a:pt x="424" y="634"/>
                  </a:cubicBezTo>
                  <a:cubicBezTo>
                    <a:pt x="424" y="634"/>
                    <a:pt x="424" y="634"/>
                    <a:pt x="424" y="634"/>
                  </a:cubicBezTo>
                  <a:cubicBezTo>
                    <a:pt x="424" y="634"/>
                    <a:pt x="424" y="634"/>
                    <a:pt x="424" y="634"/>
                  </a:cubicBezTo>
                  <a:cubicBezTo>
                    <a:pt x="424" y="643"/>
                    <a:pt x="418" y="650"/>
                    <a:pt x="409" y="650"/>
                  </a:cubicBezTo>
                  <a:moveTo>
                    <a:pt x="318" y="616"/>
                  </a:moveTo>
                  <a:cubicBezTo>
                    <a:pt x="319" y="615"/>
                    <a:pt x="319" y="615"/>
                    <a:pt x="320" y="615"/>
                  </a:cubicBezTo>
                  <a:cubicBezTo>
                    <a:pt x="321" y="615"/>
                    <a:pt x="322" y="615"/>
                    <a:pt x="322" y="616"/>
                  </a:cubicBezTo>
                  <a:cubicBezTo>
                    <a:pt x="386" y="739"/>
                    <a:pt x="386" y="739"/>
                    <a:pt x="386" y="739"/>
                  </a:cubicBezTo>
                  <a:cubicBezTo>
                    <a:pt x="386" y="740"/>
                    <a:pt x="386" y="741"/>
                    <a:pt x="386" y="741"/>
                  </a:cubicBezTo>
                  <a:cubicBezTo>
                    <a:pt x="385" y="742"/>
                    <a:pt x="385" y="742"/>
                    <a:pt x="384" y="742"/>
                  </a:cubicBezTo>
                  <a:cubicBezTo>
                    <a:pt x="256" y="742"/>
                    <a:pt x="256" y="742"/>
                    <a:pt x="256" y="742"/>
                  </a:cubicBezTo>
                  <a:cubicBezTo>
                    <a:pt x="256" y="742"/>
                    <a:pt x="255" y="742"/>
                    <a:pt x="255" y="741"/>
                  </a:cubicBezTo>
                  <a:cubicBezTo>
                    <a:pt x="254" y="741"/>
                    <a:pt x="254" y="740"/>
                    <a:pt x="254" y="739"/>
                  </a:cubicBezTo>
                  <a:cubicBezTo>
                    <a:pt x="318" y="616"/>
                    <a:pt x="318" y="616"/>
                    <a:pt x="318" y="616"/>
                  </a:cubicBezTo>
                  <a:moveTo>
                    <a:pt x="451" y="543"/>
                  </a:moveTo>
                  <a:cubicBezTo>
                    <a:pt x="236" y="543"/>
                    <a:pt x="236" y="543"/>
                    <a:pt x="236" y="543"/>
                  </a:cubicBezTo>
                  <a:cubicBezTo>
                    <a:pt x="230" y="543"/>
                    <a:pt x="224" y="545"/>
                    <a:pt x="220" y="550"/>
                  </a:cubicBezTo>
                  <a:cubicBezTo>
                    <a:pt x="216" y="554"/>
                    <a:pt x="213" y="560"/>
                    <a:pt x="213" y="566"/>
                  </a:cubicBezTo>
                  <a:cubicBezTo>
                    <a:pt x="213" y="780"/>
                    <a:pt x="213" y="780"/>
                    <a:pt x="213" y="780"/>
                  </a:cubicBezTo>
                  <a:cubicBezTo>
                    <a:pt x="213" y="787"/>
                    <a:pt x="216" y="792"/>
                    <a:pt x="220" y="797"/>
                  </a:cubicBezTo>
                  <a:cubicBezTo>
                    <a:pt x="224" y="801"/>
                    <a:pt x="230" y="803"/>
                    <a:pt x="236" y="803"/>
                  </a:cubicBezTo>
                  <a:cubicBezTo>
                    <a:pt x="451" y="803"/>
                    <a:pt x="451" y="803"/>
                    <a:pt x="451" y="803"/>
                  </a:cubicBezTo>
                  <a:cubicBezTo>
                    <a:pt x="457" y="803"/>
                    <a:pt x="463" y="801"/>
                    <a:pt x="467" y="797"/>
                  </a:cubicBezTo>
                  <a:cubicBezTo>
                    <a:pt x="471" y="792"/>
                    <a:pt x="474" y="787"/>
                    <a:pt x="474" y="780"/>
                  </a:cubicBezTo>
                  <a:cubicBezTo>
                    <a:pt x="474" y="566"/>
                    <a:pt x="474" y="566"/>
                    <a:pt x="474" y="566"/>
                  </a:cubicBezTo>
                  <a:cubicBezTo>
                    <a:pt x="474" y="560"/>
                    <a:pt x="471" y="554"/>
                    <a:pt x="467" y="550"/>
                  </a:cubicBezTo>
                  <a:cubicBezTo>
                    <a:pt x="463" y="545"/>
                    <a:pt x="457" y="543"/>
                    <a:pt x="451" y="543"/>
                  </a:cubicBezTo>
                  <a:moveTo>
                    <a:pt x="791" y="656"/>
                  </a:moveTo>
                  <a:cubicBezTo>
                    <a:pt x="791" y="656"/>
                    <a:pt x="792" y="655"/>
                    <a:pt x="793" y="655"/>
                  </a:cubicBezTo>
                  <a:cubicBezTo>
                    <a:pt x="794" y="655"/>
                    <a:pt x="794" y="656"/>
                    <a:pt x="795" y="656"/>
                  </a:cubicBezTo>
                  <a:cubicBezTo>
                    <a:pt x="838" y="739"/>
                    <a:pt x="838" y="739"/>
                    <a:pt x="838" y="739"/>
                  </a:cubicBezTo>
                  <a:cubicBezTo>
                    <a:pt x="838" y="740"/>
                    <a:pt x="838" y="741"/>
                    <a:pt x="837" y="741"/>
                  </a:cubicBezTo>
                  <a:cubicBezTo>
                    <a:pt x="837" y="742"/>
                    <a:pt x="836" y="742"/>
                    <a:pt x="836" y="742"/>
                  </a:cubicBezTo>
                  <a:cubicBezTo>
                    <a:pt x="805" y="742"/>
                    <a:pt x="805" y="742"/>
                    <a:pt x="805" y="742"/>
                  </a:cubicBezTo>
                  <a:cubicBezTo>
                    <a:pt x="804" y="742"/>
                    <a:pt x="804" y="742"/>
                    <a:pt x="803" y="741"/>
                  </a:cubicBezTo>
                  <a:cubicBezTo>
                    <a:pt x="776" y="688"/>
                    <a:pt x="776" y="688"/>
                    <a:pt x="776" y="688"/>
                  </a:cubicBezTo>
                  <a:cubicBezTo>
                    <a:pt x="775" y="687"/>
                    <a:pt x="775" y="687"/>
                    <a:pt x="776" y="686"/>
                  </a:cubicBezTo>
                  <a:cubicBezTo>
                    <a:pt x="791" y="656"/>
                    <a:pt x="791" y="656"/>
                    <a:pt x="791" y="656"/>
                  </a:cubicBezTo>
                  <a:moveTo>
                    <a:pt x="814" y="650"/>
                  </a:moveTo>
                  <a:cubicBezTo>
                    <a:pt x="805" y="650"/>
                    <a:pt x="798" y="643"/>
                    <a:pt x="798" y="634"/>
                  </a:cubicBezTo>
                  <a:cubicBezTo>
                    <a:pt x="798" y="626"/>
                    <a:pt x="805" y="619"/>
                    <a:pt x="814" y="619"/>
                  </a:cubicBezTo>
                  <a:cubicBezTo>
                    <a:pt x="822" y="619"/>
                    <a:pt x="829" y="626"/>
                    <a:pt x="829" y="634"/>
                  </a:cubicBezTo>
                  <a:cubicBezTo>
                    <a:pt x="829" y="634"/>
                    <a:pt x="829" y="634"/>
                    <a:pt x="829" y="634"/>
                  </a:cubicBezTo>
                  <a:cubicBezTo>
                    <a:pt x="829" y="634"/>
                    <a:pt x="829" y="634"/>
                    <a:pt x="829" y="634"/>
                  </a:cubicBezTo>
                  <a:cubicBezTo>
                    <a:pt x="829" y="643"/>
                    <a:pt x="822" y="650"/>
                    <a:pt x="814" y="650"/>
                  </a:cubicBezTo>
                  <a:moveTo>
                    <a:pt x="723" y="616"/>
                  </a:moveTo>
                  <a:cubicBezTo>
                    <a:pt x="723" y="615"/>
                    <a:pt x="724" y="615"/>
                    <a:pt x="725" y="615"/>
                  </a:cubicBezTo>
                  <a:cubicBezTo>
                    <a:pt x="725" y="615"/>
                    <a:pt x="726" y="615"/>
                    <a:pt x="726" y="616"/>
                  </a:cubicBezTo>
                  <a:cubicBezTo>
                    <a:pt x="790" y="739"/>
                    <a:pt x="790" y="739"/>
                    <a:pt x="790" y="739"/>
                  </a:cubicBezTo>
                  <a:cubicBezTo>
                    <a:pt x="791" y="740"/>
                    <a:pt x="791" y="741"/>
                    <a:pt x="790" y="741"/>
                  </a:cubicBezTo>
                  <a:cubicBezTo>
                    <a:pt x="790" y="742"/>
                    <a:pt x="789" y="742"/>
                    <a:pt x="789" y="742"/>
                  </a:cubicBezTo>
                  <a:cubicBezTo>
                    <a:pt x="661" y="742"/>
                    <a:pt x="661" y="742"/>
                    <a:pt x="661" y="742"/>
                  </a:cubicBezTo>
                  <a:cubicBezTo>
                    <a:pt x="660" y="742"/>
                    <a:pt x="659" y="742"/>
                    <a:pt x="659" y="741"/>
                  </a:cubicBezTo>
                  <a:cubicBezTo>
                    <a:pt x="659" y="741"/>
                    <a:pt x="659" y="740"/>
                    <a:pt x="659" y="739"/>
                  </a:cubicBezTo>
                  <a:cubicBezTo>
                    <a:pt x="723" y="616"/>
                    <a:pt x="723" y="616"/>
                    <a:pt x="723" y="616"/>
                  </a:cubicBezTo>
                  <a:moveTo>
                    <a:pt x="856" y="543"/>
                  </a:moveTo>
                  <a:cubicBezTo>
                    <a:pt x="641" y="543"/>
                    <a:pt x="641" y="543"/>
                    <a:pt x="641" y="543"/>
                  </a:cubicBezTo>
                  <a:cubicBezTo>
                    <a:pt x="635" y="543"/>
                    <a:pt x="629" y="545"/>
                    <a:pt x="625" y="550"/>
                  </a:cubicBezTo>
                  <a:cubicBezTo>
                    <a:pt x="621" y="554"/>
                    <a:pt x="618" y="560"/>
                    <a:pt x="618" y="566"/>
                  </a:cubicBezTo>
                  <a:cubicBezTo>
                    <a:pt x="618" y="780"/>
                    <a:pt x="618" y="780"/>
                    <a:pt x="618" y="780"/>
                  </a:cubicBezTo>
                  <a:cubicBezTo>
                    <a:pt x="618" y="787"/>
                    <a:pt x="621" y="792"/>
                    <a:pt x="625" y="797"/>
                  </a:cubicBezTo>
                  <a:cubicBezTo>
                    <a:pt x="629" y="801"/>
                    <a:pt x="635" y="803"/>
                    <a:pt x="641" y="803"/>
                  </a:cubicBezTo>
                  <a:cubicBezTo>
                    <a:pt x="856" y="803"/>
                    <a:pt x="856" y="803"/>
                    <a:pt x="856" y="803"/>
                  </a:cubicBezTo>
                  <a:cubicBezTo>
                    <a:pt x="862" y="803"/>
                    <a:pt x="868" y="801"/>
                    <a:pt x="872" y="797"/>
                  </a:cubicBezTo>
                  <a:cubicBezTo>
                    <a:pt x="876" y="792"/>
                    <a:pt x="879" y="787"/>
                    <a:pt x="879" y="780"/>
                  </a:cubicBezTo>
                  <a:cubicBezTo>
                    <a:pt x="879" y="566"/>
                    <a:pt x="879" y="566"/>
                    <a:pt x="879" y="566"/>
                  </a:cubicBezTo>
                  <a:cubicBezTo>
                    <a:pt x="879" y="560"/>
                    <a:pt x="876" y="554"/>
                    <a:pt x="872" y="550"/>
                  </a:cubicBezTo>
                  <a:cubicBezTo>
                    <a:pt x="868" y="545"/>
                    <a:pt x="862" y="543"/>
                    <a:pt x="856" y="543"/>
                  </a:cubicBezTo>
                  <a:moveTo>
                    <a:pt x="1092" y="543"/>
                  </a:moveTo>
                  <a:cubicBezTo>
                    <a:pt x="1046" y="543"/>
                    <a:pt x="1046" y="543"/>
                    <a:pt x="1046" y="543"/>
                  </a:cubicBezTo>
                  <a:cubicBezTo>
                    <a:pt x="1039" y="543"/>
                    <a:pt x="1034" y="545"/>
                    <a:pt x="1029" y="550"/>
                  </a:cubicBezTo>
                  <a:cubicBezTo>
                    <a:pt x="1027" y="552"/>
                    <a:pt x="1025" y="555"/>
                    <a:pt x="1024" y="559"/>
                  </a:cubicBezTo>
                  <a:cubicBezTo>
                    <a:pt x="1026" y="559"/>
                    <a:pt x="1030" y="559"/>
                    <a:pt x="1034" y="559"/>
                  </a:cubicBezTo>
                  <a:cubicBezTo>
                    <a:pt x="1038" y="559"/>
                    <a:pt x="1042" y="559"/>
                    <a:pt x="1046" y="559"/>
                  </a:cubicBezTo>
                  <a:cubicBezTo>
                    <a:pt x="1050" y="559"/>
                    <a:pt x="1055" y="559"/>
                    <a:pt x="1059" y="559"/>
                  </a:cubicBezTo>
                  <a:cubicBezTo>
                    <a:pt x="1062" y="559"/>
                    <a:pt x="1065" y="559"/>
                    <a:pt x="1068" y="559"/>
                  </a:cubicBezTo>
                  <a:cubicBezTo>
                    <a:pt x="1068" y="558"/>
                    <a:pt x="1068" y="558"/>
                    <a:pt x="1068" y="558"/>
                  </a:cubicBezTo>
                  <a:cubicBezTo>
                    <a:pt x="1076" y="557"/>
                    <a:pt x="1084" y="556"/>
                    <a:pt x="1092" y="554"/>
                  </a:cubicBezTo>
                  <a:cubicBezTo>
                    <a:pt x="1092" y="543"/>
                    <a:pt x="1092" y="543"/>
                    <a:pt x="1092" y="543"/>
                  </a:cubicBezTo>
                  <a:moveTo>
                    <a:pt x="1092" y="351"/>
                  </a:moveTo>
                  <a:cubicBezTo>
                    <a:pt x="1069" y="396"/>
                    <a:pt x="1069" y="396"/>
                    <a:pt x="1069" y="396"/>
                  </a:cubicBezTo>
                  <a:cubicBezTo>
                    <a:pt x="1092" y="396"/>
                    <a:pt x="1092" y="396"/>
                    <a:pt x="1092" y="396"/>
                  </a:cubicBezTo>
                  <a:cubicBezTo>
                    <a:pt x="1092" y="351"/>
                    <a:pt x="1092" y="351"/>
                    <a:pt x="1092" y="351"/>
                  </a:cubicBezTo>
                  <a:moveTo>
                    <a:pt x="0" y="351"/>
                  </a:moveTo>
                  <a:cubicBezTo>
                    <a:pt x="0" y="396"/>
                    <a:pt x="0" y="396"/>
                    <a:pt x="0" y="396"/>
                  </a:cubicBezTo>
                  <a:cubicBezTo>
                    <a:pt x="23" y="396"/>
                    <a:pt x="23" y="396"/>
                    <a:pt x="23" y="396"/>
                  </a:cubicBezTo>
                  <a:cubicBezTo>
                    <a:pt x="0" y="351"/>
                    <a:pt x="0" y="351"/>
                    <a:pt x="0" y="351"/>
                  </a:cubicBezTo>
                  <a:moveTo>
                    <a:pt x="388" y="320"/>
                  </a:moveTo>
                  <a:cubicBezTo>
                    <a:pt x="375" y="345"/>
                    <a:pt x="375" y="345"/>
                    <a:pt x="375" y="345"/>
                  </a:cubicBezTo>
                  <a:cubicBezTo>
                    <a:pt x="402" y="396"/>
                    <a:pt x="402" y="396"/>
                    <a:pt x="402" y="396"/>
                  </a:cubicBezTo>
                  <a:cubicBezTo>
                    <a:pt x="428" y="396"/>
                    <a:pt x="428" y="396"/>
                    <a:pt x="428" y="396"/>
                  </a:cubicBezTo>
                  <a:cubicBezTo>
                    <a:pt x="388" y="320"/>
                    <a:pt x="388" y="320"/>
                    <a:pt x="388" y="320"/>
                  </a:cubicBezTo>
                  <a:moveTo>
                    <a:pt x="793" y="320"/>
                  </a:moveTo>
                  <a:cubicBezTo>
                    <a:pt x="780" y="345"/>
                    <a:pt x="780" y="345"/>
                    <a:pt x="780" y="345"/>
                  </a:cubicBezTo>
                  <a:cubicBezTo>
                    <a:pt x="806" y="396"/>
                    <a:pt x="806" y="396"/>
                    <a:pt x="806" y="396"/>
                  </a:cubicBezTo>
                  <a:cubicBezTo>
                    <a:pt x="832" y="396"/>
                    <a:pt x="832" y="396"/>
                    <a:pt x="832" y="396"/>
                  </a:cubicBezTo>
                  <a:cubicBezTo>
                    <a:pt x="793" y="320"/>
                    <a:pt x="793" y="320"/>
                    <a:pt x="793" y="320"/>
                  </a:cubicBezTo>
                  <a:moveTo>
                    <a:pt x="5" y="281"/>
                  </a:moveTo>
                  <a:cubicBezTo>
                    <a:pt x="3" y="281"/>
                    <a:pt x="1" y="281"/>
                    <a:pt x="0" y="282"/>
                  </a:cubicBezTo>
                  <a:cubicBezTo>
                    <a:pt x="0" y="303"/>
                    <a:pt x="0" y="303"/>
                    <a:pt x="0" y="303"/>
                  </a:cubicBezTo>
                  <a:cubicBezTo>
                    <a:pt x="1" y="303"/>
                    <a:pt x="3" y="304"/>
                    <a:pt x="5" y="304"/>
                  </a:cubicBezTo>
                  <a:cubicBezTo>
                    <a:pt x="11" y="304"/>
                    <a:pt x="16" y="299"/>
                    <a:pt x="16" y="292"/>
                  </a:cubicBezTo>
                  <a:cubicBezTo>
                    <a:pt x="18" y="292"/>
                    <a:pt x="18" y="292"/>
                    <a:pt x="18" y="292"/>
                  </a:cubicBezTo>
                  <a:cubicBezTo>
                    <a:pt x="20" y="292"/>
                    <a:pt x="20" y="292"/>
                    <a:pt x="20" y="292"/>
                  </a:cubicBezTo>
                  <a:cubicBezTo>
                    <a:pt x="20" y="292"/>
                    <a:pt x="20" y="292"/>
                    <a:pt x="20" y="292"/>
                  </a:cubicBezTo>
                  <a:cubicBezTo>
                    <a:pt x="18" y="292"/>
                    <a:pt x="18" y="292"/>
                    <a:pt x="18" y="292"/>
                  </a:cubicBezTo>
                  <a:cubicBezTo>
                    <a:pt x="16" y="292"/>
                    <a:pt x="16" y="292"/>
                    <a:pt x="16" y="292"/>
                  </a:cubicBezTo>
                  <a:cubicBezTo>
                    <a:pt x="16" y="286"/>
                    <a:pt x="11" y="281"/>
                    <a:pt x="5" y="281"/>
                  </a:cubicBezTo>
                  <a:moveTo>
                    <a:pt x="409" y="281"/>
                  </a:moveTo>
                  <a:cubicBezTo>
                    <a:pt x="403" y="281"/>
                    <a:pt x="398" y="286"/>
                    <a:pt x="398" y="292"/>
                  </a:cubicBezTo>
                  <a:cubicBezTo>
                    <a:pt x="398" y="299"/>
                    <a:pt x="403" y="304"/>
                    <a:pt x="409" y="304"/>
                  </a:cubicBezTo>
                  <a:cubicBezTo>
                    <a:pt x="415" y="304"/>
                    <a:pt x="420" y="299"/>
                    <a:pt x="420" y="292"/>
                  </a:cubicBezTo>
                  <a:cubicBezTo>
                    <a:pt x="422" y="292"/>
                    <a:pt x="422" y="292"/>
                    <a:pt x="422" y="292"/>
                  </a:cubicBezTo>
                  <a:cubicBezTo>
                    <a:pt x="424" y="292"/>
                    <a:pt x="424" y="292"/>
                    <a:pt x="424" y="292"/>
                  </a:cubicBezTo>
                  <a:cubicBezTo>
                    <a:pt x="424" y="292"/>
                    <a:pt x="424" y="292"/>
                    <a:pt x="424" y="292"/>
                  </a:cubicBezTo>
                  <a:cubicBezTo>
                    <a:pt x="422" y="292"/>
                    <a:pt x="422" y="292"/>
                    <a:pt x="422" y="292"/>
                  </a:cubicBezTo>
                  <a:cubicBezTo>
                    <a:pt x="420" y="292"/>
                    <a:pt x="420" y="292"/>
                    <a:pt x="420" y="292"/>
                  </a:cubicBezTo>
                  <a:cubicBezTo>
                    <a:pt x="420" y="286"/>
                    <a:pt x="415" y="281"/>
                    <a:pt x="409" y="281"/>
                  </a:cubicBezTo>
                  <a:moveTo>
                    <a:pt x="814" y="281"/>
                  </a:moveTo>
                  <a:cubicBezTo>
                    <a:pt x="807" y="281"/>
                    <a:pt x="802" y="286"/>
                    <a:pt x="802" y="292"/>
                  </a:cubicBezTo>
                  <a:cubicBezTo>
                    <a:pt x="802" y="299"/>
                    <a:pt x="807" y="304"/>
                    <a:pt x="814" y="304"/>
                  </a:cubicBezTo>
                  <a:cubicBezTo>
                    <a:pt x="820" y="304"/>
                    <a:pt x="825" y="299"/>
                    <a:pt x="825" y="292"/>
                  </a:cubicBezTo>
                  <a:cubicBezTo>
                    <a:pt x="827" y="292"/>
                    <a:pt x="827" y="292"/>
                    <a:pt x="827" y="292"/>
                  </a:cubicBezTo>
                  <a:cubicBezTo>
                    <a:pt x="829" y="292"/>
                    <a:pt x="829" y="292"/>
                    <a:pt x="829" y="292"/>
                  </a:cubicBezTo>
                  <a:cubicBezTo>
                    <a:pt x="829" y="292"/>
                    <a:pt x="829" y="292"/>
                    <a:pt x="829" y="292"/>
                  </a:cubicBezTo>
                  <a:cubicBezTo>
                    <a:pt x="827" y="292"/>
                    <a:pt x="827" y="292"/>
                    <a:pt x="827" y="292"/>
                  </a:cubicBezTo>
                  <a:cubicBezTo>
                    <a:pt x="825" y="292"/>
                    <a:pt x="825" y="292"/>
                    <a:pt x="825" y="292"/>
                  </a:cubicBezTo>
                  <a:cubicBezTo>
                    <a:pt x="825" y="286"/>
                    <a:pt x="820" y="281"/>
                    <a:pt x="814" y="281"/>
                  </a:cubicBezTo>
                  <a:moveTo>
                    <a:pt x="725" y="279"/>
                  </a:moveTo>
                  <a:cubicBezTo>
                    <a:pt x="664" y="396"/>
                    <a:pt x="664" y="396"/>
                    <a:pt x="664" y="396"/>
                  </a:cubicBezTo>
                  <a:cubicBezTo>
                    <a:pt x="785" y="396"/>
                    <a:pt x="785" y="396"/>
                    <a:pt x="785" y="396"/>
                  </a:cubicBezTo>
                  <a:cubicBezTo>
                    <a:pt x="725" y="279"/>
                    <a:pt x="725" y="279"/>
                    <a:pt x="725" y="279"/>
                  </a:cubicBezTo>
                  <a:moveTo>
                    <a:pt x="320" y="279"/>
                  </a:moveTo>
                  <a:cubicBezTo>
                    <a:pt x="260" y="396"/>
                    <a:pt x="260" y="396"/>
                    <a:pt x="260" y="396"/>
                  </a:cubicBezTo>
                  <a:cubicBezTo>
                    <a:pt x="381" y="396"/>
                    <a:pt x="381" y="396"/>
                    <a:pt x="381" y="396"/>
                  </a:cubicBezTo>
                  <a:cubicBezTo>
                    <a:pt x="320" y="279"/>
                    <a:pt x="320" y="279"/>
                    <a:pt x="320" y="279"/>
                  </a:cubicBezTo>
                  <a:moveTo>
                    <a:pt x="46" y="201"/>
                  </a:moveTo>
                  <a:cubicBezTo>
                    <a:pt x="0" y="201"/>
                    <a:pt x="0" y="201"/>
                    <a:pt x="0" y="201"/>
                  </a:cubicBezTo>
                  <a:cubicBezTo>
                    <a:pt x="0" y="278"/>
                    <a:pt x="0" y="278"/>
                    <a:pt x="0" y="278"/>
                  </a:cubicBezTo>
                  <a:cubicBezTo>
                    <a:pt x="1" y="277"/>
                    <a:pt x="3" y="277"/>
                    <a:pt x="5" y="277"/>
                  </a:cubicBezTo>
                  <a:cubicBezTo>
                    <a:pt x="13" y="277"/>
                    <a:pt x="20" y="284"/>
                    <a:pt x="20" y="292"/>
                  </a:cubicBezTo>
                  <a:cubicBezTo>
                    <a:pt x="20" y="292"/>
                    <a:pt x="20" y="292"/>
                    <a:pt x="20" y="292"/>
                  </a:cubicBezTo>
                  <a:cubicBezTo>
                    <a:pt x="20" y="292"/>
                    <a:pt x="20" y="292"/>
                    <a:pt x="20" y="292"/>
                  </a:cubicBezTo>
                  <a:cubicBezTo>
                    <a:pt x="20" y="301"/>
                    <a:pt x="13" y="308"/>
                    <a:pt x="5" y="308"/>
                  </a:cubicBezTo>
                  <a:cubicBezTo>
                    <a:pt x="3" y="308"/>
                    <a:pt x="1" y="307"/>
                    <a:pt x="0" y="307"/>
                  </a:cubicBezTo>
                  <a:cubicBezTo>
                    <a:pt x="0" y="342"/>
                    <a:pt x="0" y="342"/>
                    <a:pt x="0" y="342"/>
                  </a:cubicBezTo>
                  <a:cubicBezTo>
                    <a:pt x="28" y="397"/>
                    <a:pt x="28" y="397"/>
                    <a:pt x="28" y="397"/>
                  </a:cubicBezTo>
                  <a:cubicBezTo>
                    <a:pt x="29" y="398"/>
                    <a:pt x="29" y="399"/>
                    <a:pt x="28" y="399"/>
                  </a:cubicBezTo>
                  <a:cubicBezTo>
                    <a:pt x="28" y="400"/>
                    <a:pt x="27" y="400"/>
                    <a:pt x="27" y="400"/>
                  </a:cubicBezTo>
                  <a:cubicBezTo>
                    <a:pt x="0" y="400"/>
                    <a:pt x="0" y="400"/>
                    <a:pt x="0" y="400"/>
                  </a:cubicBezTo>
                  <a:cubicBezTo>
                    <a:pt x="0" y="461"/>
                    <a:pt x="0" y="461"/>
                    <a:pt x="0" y="461"/>
                  </a:cubicBezTo>
                  <a:cubicBezTo>
                    <a:pt x="46" y="461"/>
                    <a:pt x="46" y="461"/>
                    <a:pt x="46" y="461"/>
                  </a:cubicBezTo>
                  <a:cubicBezTo>
                    <a:pt x="53" y="461"/>
                    <a:pt x="58" y="459"/>
                    <a:pt x="63" y="455"/>
                  </a:cubicBezTo>
                  <a:cubicBezTo>
                    <a:pt x="67" y="451"/>
                    <a:pt x="69" y="445"/>
                    <a:pt x="69" y="438"/>
                  </a:cubicBezTo>
                  <a:cubicBezTo>
                    <a:pt x="69" y="224"/>
                    <a:pt x="69" y="224"/>
                    <a:pt x="69" y="224"/>
                  </a:cubicBezTo>
                  <a:cubicBezTo>
                    <a:pt x="69" y="218"/>
                    <a:pt x="67" y="212"/>
                    <a:pt x="63" y="208"/>
                  </a:cubicBezTo>
                  <a:cubicBezTo>
                    <a:pt x="58" y="204"/>
                    <a:pt x="53" y="201"/>
                    <a:pt x="46" y="201"/>
                  </a:cubicBezTo>
                  <a:moveTo>
                    <a:pt x="387" y="314"/>
                  </a:moveTo>
                  <a:cubicBezTo>
                    <a:pt x="387" y="314"/>
                    <a:pt x="388" y="313"/>
                    <a:pt x="388" y="313"/>
                  </a:cubicBezTo>
                  <a:cubicBezTo>
                    <a:pt x="389" y="313"/>
                    <a:pt x="390" y="314"/>
                    <a:pt x="390" y="314"/>
                  </a:cubicBezTo>
                  <a:cubicBezTo>
                    <a:pt x="433" y="397"/>
                    <a:pt x="433" y="397"/>
                    <a:pt x="433" y="397"/>
                  </a:cubicBezTo>
                  <a:cubicBezTo>
                    <a:pt x="433" y="398"/>
                    <a:pt x="433" y="399"/>
                    <a:pt x="433" y="399"/>
                  </a:cubicBezTo>
                  <a:cubicBezTo>
                    <a:pt x="433" y="400"/>
                    <a:pt x="432" y="400"/>
                    <a:pt x="431" y="400"/>
                  </a:cubicBezTo>
                  <a:cubicBezTo>
                    <a:pt x="400" y="400"/>
                    <a:pt x="400" y="400"/>
                    <a:pt x="400" y="400"/>
                  </a:cubicBezTo>
                  <a:cubicBezTo>
                    <a:pt x="400" y="400"/>
                    <a:pt x="399" y="400"/>
                    <a:pt x="399" y="399"/>
                  </a:cubicBezTo>
                  <a:cubicBezTo>
                    <a:pt x="371" y="346"/>
                    <a:pt x="371" y="346"/>
                    <a:pt x="371" y="346"/>
                  </a:cubicBezTo>
                  <a:cubicBezTo>
                    <a:pt x="371" y="345"/>
                    <a:pt x="371" y="345"/>
                    <a:pt x="371" y="344"/>
                  </a:cubicBezTo>
                  <a:cubicBezTo>
                    <a:pt x="387" y="314"/>
                    <a:pt x="387" y="314"/>
                    <a:pt x="387" y="314"/>
                  </a:cubicBezTo>
                  <a:moveTo>
                    <a:pt x="409" y="308"/>
                  </a:moveTo>
                  <a:cubicBezTo>
                    <a:pt x="401" y="308"/>
                    <a:pt x="394" y="301"/>
                    <a:pt x="394" y="292"/>
                  </a:cubicBezTo>
                  <a:cubicBezTo>
                    <a:pt x="394" y="284"/>
                    <a:pt x="401" y="277"/>
                    <a:pt x="409" y="277"/>
                  </a:cubicBezTo>
                  <a:cubicBezTo>
                    <a:pt x="418" y="277"/>
                    <a:pt x="424" y="284"/>
                    <a:pt x="424" y="292"/>
                  </a:cubicBezTo>
                  <a:cubicBezTo>
                    <a:pt x="424" y="292"/>
                    <a:pt x="424" y="292"/>
                    <a:pt x="424" y="292"/>
                  </a:cubicBezTo>
                  <a:cubicBezTo>
                    <a:pt x="424" y="292"/>
                    <a:pt x="424" y="292"/>
                    <a:pt x="424" y="292"/>
                  </a:cubicBezTo>
                  <a:cubicBezTo>
                    <a:pt x="424" y="301"/>
                    <a:pt x="418" y="308"/>
                    <a:pt x="409" y="308"/>
                  </a:cubicBezTo>
                  <a:moveTo>
                    <a:pt x="318" y="274"/>
                  </a:moveTo>
                  <a:cubicBezTo>
                    <a:pt x="319" y="273"/>
                    <a:pt x="319" y="273"/>
                    <a:pt x="320" y="273"/>
                  </a:cubicBezTo>
                  <a:cubicBezTo>
                    <a:pt x="321" y="273"/>
                    <a:pt x="322" y="273"/>
                    <a:pt x="322" y="274"/>
                  </a:cubicBezTo>
                  <a:cubicBezTo>
                    <a:pt x="386" y="397"/>
                    <a:pt x="386" y="397"/>
                    <a:pt x="386" y="397"/>
                  </a:cubicBezTo>
                  <a:cubicBezTo>
                    <a:pt x="386" y="398"/>
                    <a:pt x="386" y="399"/>
                    <a:pt x="386" y="399"/>
                  </a:cubicBezTo>
                  <a:cubicBezTo>
                    <a:pt x="385" y="400"/>
                    <a:pt x="385" y="400"/>
                    <a:pt x="384" y="400"/>
                  </a:cubicBezTo>
                  <a:cubicBezTo>
                    <a:pt x="256" y="400"/>
                    <a:pt x="256" y="400"/>
                    <a:pt x="256" y="400"/>
                  </a:cubicBezTo>
                  <a:cubicBezTo>
                    <a:pt x="256" y="400"/>
                    <a:pt x="255" y="400"/>
                    <a:pt x="255" y="399"/>
                  </a:cubicBezTo>
                  <a:cubicBezTo>
                    <a:pt x="254" y="399"/>
                    <a:pt x="254" y="398"/>
                    <a:pt x="254" y="397"/>
                  </a:cubicBezTo>
                  <a:cubicBezTo>
                    <a:pt x="318" y="274"/>
                    <a:pt x="318" y="274"/>
                    <a:pt x="318" y="274"/>
                  </a:cubicBezTo>
                  <a:moveTo>
                    <a:pt x="451" y="201"/>
                  </a:moveTo>
                  <a:cubicBezTo>
                    <a:pt x="236" y="201"/>
                    <a:pt x="236" y="201"/>
                    <a:pt x="236" y="201"/>
                  </a:cubicBezTo>
                  <a:cubicBezTo>
                    <a:pt x="230" y="201"/>
                    <a:pt x="224" y="204"/>
                    <a:pt x="220" y="208"/>
                  </a:cubicBezTo>
                  <a:cubicBezTo>
                    <a:pt x="216" y="212"/>
                    <a:pt x="213" y="218"/>
                    <a:pt x="213" y="224"/>
                  </a:cubicBezTo>
                  <a:cubicBezTo>
                    <a:pt x="213" y="438"/>
                    <a:pt x="213" y="438"/>
                    <a:pt x="213" y="438"/>
                  </a:cubicBezTo>
                  <a:cubicBezTo>
                    <a:pt x="213" y="445"/>
                    <a:pt x="216" y="451"/>
                    <a:pt x="220" y="455"/>
                  </a:cubicBezTo>
                  <a:cubicBezTo>
                    <a:pt x="224" y="459"/>
                    <a:pt x="230" y="461"/>
                    <a:pt x="236" y="461"/>
                  </a:cubicBezTo>
                  <a:cubicBezTo>
                    <a:pt x="451" y="461"/>
                    <a:pt x="451" y="461"/>
                    <a:pt x="451" y="461"/>
                  </a:cubicBezTo>
                  <a:cubicBezTo>
                    <a:pt x="457" y="461"/>
                    <a:pt x="463" y="459"/>
                    <a:pt x="467" y="455"/>
                  </a:cubicBezTo>
                  <a:cubicBezTo>
                    <a:pt x="471" y="451"/>
                    <a:pt x="474" y="445"/>
                    <a:pt x="474" y="438"/>
                  </a:cubicBezTo>
                  <a:cubicBezTo>
                    <a:pt x="474" y="224"/>
                    <a:pt x="474" y="224"/>
                    <a:pt x="474" y="224"/>
                  </a:cubicBezTo>
                  <a:cubicBezTo>
                    <a:pt x="474" y="218"/>
                    <a:pt x="471" y="212"/>
                    <a:pt x="467" y="208"/>
                  </a:cubicBezTo>
                  <a:cubicBezTo>
                    <a:pt x="463" y="204"/>
                    <a:pt x="457" y="201"/>
                    <a:pt x="451" y="201"/>
                  </a:cubicBezTo>
                  <a:moveTo>
                    <a:pt x="791" y="314"/>
                  </a:moveTo>
                  <a:cubicBezTo>
                    <a:pt x="791" y="314"/>
                    <a:pt x="792" y="313"/>
                    <a:pt x="793" y="313"/>
                  </a:cubicBezTo>
                  <a:cubicBezTo>
                    <a:pt x="794" y="313"/>
                    <a:pt x="794" y="314"/>
                    <a:pt x="795" y="314"/>
                  </a:cubicBezTo>
                  <a:cubicBezTo>
                    <a:pt x="838" y="397"/>
                    <a:pt x="838" y="397"/>
                    <a:pt x="838" y="397"/>
                  </a:cubicBezTo>
                  <a:cubicBezTo>
                    <a:pt x="838" y="398"/>
                    <a:pt x="838" y="399"/>
                    <a:pt x="837" y="399"/>
                  </a:cubicBezTo>
                  <a:cubicBezTo>
                    <a:pt x="837" y="400"/>
                    <a:pt x="836" y="400"/>
                    <a:pt x="836" y="400"/>
                  </a:cubicBezTo>
                  <a:cubicBezTo>
                    <a:pt x="805" y="400"/>
                    <a:pt x="805" y="400"/>
                    <a:pt x="805" y="400"/>
                  </a:cubicBezTo>
                  <a:cubicBezTo>
                    <a:pt x="804" y="400"/>
                    <a:pt x="804" y="400"/>
                    <a:pt x="803" y="399"/>
                  </a:cubicBezTo>
                  <a:cubicBezTo>
                    <a:pt x="776" y="346"/>
                    <a:pt x="776" y="346"/>
                    <a:pt x="776" y="346"/>
                  </a:cubicBezTo>
                  <a:cubicBezTo>
                    <a:pt x="775" y="345"/>
                    <a:pt x="775" y="345"/>
                    <a:pt x="776" y="344"/>
                  </a:cubicBezTo>
                  <a:cubicBezTo>
                    <a:pt x="791" y="314"/>
                    <a:pt x="791" y="314"/>
                    <a:pt x="791" y="314"/>
                  </a:cubicBezTo>
                  <a:moveTo>
                    <a:pt x="814" y="308"/>
                  </a:moveTo>
                  <a:cubicBezTo>
                    <a:pt x="805" y="308"/>
                    <a:pt x="798" y="301"/>
                    <a:pt x="798" y="292"/>
                  </a:cubicBezTo>
                  <a:cubicBezTo>
                    <a:pt x="798" y="284"/>
                    <a:pt x="805" y="277"/>
                    <a:pt x="814" y="277"/>
                  </a:cubicBezTo>
                  <a:cubicBezTo>
                    <a:pt x="822" y="277"/>
                    <a:pt x="829" y="284"/>
                    <a:pt x="829" y="292"/>
                  </a:cubicBezTo>
                  <a:cubicBezTo>
                    <a:pt x="829" y="292"/>
                    <a:pt x="829" y="292"/>
                    <a:pt x="829" y="292"/>
                  </a:cubicBezTo>
                  <a:cubicBezTo>
                    <a:pt x="829" y="292"/>
                    <a:pt x="829" y="292"/>
                    <a:pt x="829" y="292"/>
                  </a:cubicBezTo>
                  <a:cubicBezTo>
                    <a:pt x="829" y="301"/>
                    <a:pt x="822" y="308"/>
                    <a:pt x="814" y="308"/>
                  </a:cubicBezTo>
                  <a:moveTo>
                    <a:pt x="723" y="274"/>
                  </a:moveTo>
                  <a:cubicBezTo>
                    <a:pt x="723" y="273"/>
                    <a:pt x="724" y="273"/>
                    <a:pt x="725" y="273"/>
                  </a:cubicBezTo>
                  <a:cubicBezTo>
                    <a:pt x="725" y="273"/>
                    <a:pt x="726" y="273"/>
                    <a:pt x="726" y="274"/>
                  </a:cubicBezTo>
                  <a:cubicBezTo>
                    <a:pt x="790" y="397"/>
                    <a:pt x="790" y="397"/>
                    <a:pt x="790" y="397"/>
                  </a:cubicBezTo>
                  <a:cubicBezTo>
                    <a:pt x="791" y="398"/>
                    <a:pt x="791" y="399"/>
                    <a:pt x="790" y="399"/>
                  </a:cubicBezTo>
                  <a:cubicBezTo>
                    <a:pt x="790" y="400"/>
                    <a:pt x="789" y="400"/>
                    <a:pt x="789" y="400"/>
                  </a:cubicBezTo>
                  <a:cubicBezTo>
                    <a:pt x="661" y="400"/>
                    <a:pt x="661" y="400"/>
                    <a:pt x="661" y="400"/>
                  </a:cubicBezTo>
                  <a:cubicBezTo>
                    <a:pt x="660" y="400"/>
                    <a:pt x="659" y="400"/>
                    <a:pt x="659" y="399"/>
                  </a:cubicBezTo>
                  <a:cubicBezTo>
                    <a:pt x="659" y="399"/>
                    <a:pt x="659" y="398"/>
                    <a:pt x="659" y="397"/>
                  </a:cubicBezTo>
                  <a:cubicBezTo>
                    <a:pt x="723" y="274"/>
                    <a:pt x="723" y="274"/>
                    <a:pt x="723" y="274"/>
                  </a:cubicBezTo>
                  <a:moveTo>
                    <a:pt x="856" y="201"/>
                  </a:moveTo>
                  <a:cubicBezTo>
                    <a:pt x="641" y="201"/>
                    <a:pt x="641" y="201"/>
                    <a:pt x="641" y="201"/>
                  </a:cubicBezTo>
                  <a:cubicBezTo>
                    <a:pt x="635" y="201"/>
                    <a:pt x="629" y="204"/>
                    <a:pt x="625" y="208"/>
                  </a:cubicBezTo>
                  <a:cubicBezTo>
                    <a:pt x="621" y="212"/>
                    <a:pt x="618" y="218"/>
                    <a:pt x="618" y="224"/>
                  </a:cubicBezTo>
                  <a:cubicBezTo>
                    <a:pt x="618" y="438"/>
                    <a:pt x="618" y="438"/>
                    <a:pt x="618" y="438"/>
                  </a:cubicBezTo>
                  <a:cubicBezTo>
                    <a:pt x="618" y="445"/>
                    <a:pt x="621" y="451"/>
                    <a:pt x="625" y="455"/>
                  </a:cubicBezTo>
                  <a:cubicBezTo>
                    <a:pt x="629" y="459"/>
                    <a:pt x="635" y="461"/>
                    <a:pt x="641" y="461"/>
                  </a:cubicBezTo>
                  <a:cubicBezTo>
                    <a:pt x="856" y="461"/>
                    <a:pt x="856" y="461"/>
                    <a:pt x="856" y="461"/>
                  </a:cubicBezTo>
                  <a:cubicBezTo>
                    <a:pt x="862" y="461"/>
                    <a:pt x="868" y="459"/>
                    <a:pt x="872" y="455"/>
                  </a:cubicBezTo>
                  <a:cubicBezTo>
                    <a:pt x="876" y="451"/>
                    <a:pt x="879" y="445"/>
                    <a:pt x="879" y="438"/>
                  </a:cubicBezTo>
                  <a:cubicBezTo>
                    <a:pt x="879" y="224"/>
                    <a:pt x="879" y="224"/>
                    <a:pt x="879" y="224"/>
                  </a:cubicBezTo>
                  <a:cubicBezTo>
                    <a:pt x="879" y="218"/>
                    <a:pt x="876" y="212"/>
                    <a:pt x="872" y="208"/>
                  </a:cubicBezTo>
                  <a:cubicBezTo>
                    <a:pt x="868" y="204"/>
                    <a:pt x="862" y="201"/>
                    <a:pt x="856" y="201"/>
                  </a:cubicBezTo>
                  <a:moveTo>
                    <a:pt x="1092" y="201"/>
                  </a:moveTo>
                  <a:cubicBezTo>
                    <a:pt x="1046" y="201"/>
                    <a:pt x="1046" y="201"/>
                    <a:pt x="1046" y="201"/>
                  </a:cubicBezTo>
                  <a:cubicBezTo>
                    <a:pt x="1039" y="201"/>
                    <a:pt x="1034" y="204"/>
                    <a:pt x="1029" y="208"/>
                  </a:cubicBezTo>
                  <a:cubicBezTo>
                    <a:pt x="1025" y="212"/>
                    <a:pt x="1023" y="218"/>
                    <a:pt x="1023" y="224"/>
                  </a:cubicBezTo>
                  <a:cubicBezTo>
                    <a:pt x="1023" y="438"/>
                    <a:pt x="1023" y="438"/>
                    <a:pt x="1023" y="438"/>
                  </a:cubicBezTo>
                  <a:cubicBezTo>
                    <a:pt x="1023" y="445"/>
                    <a:pt x="1025" y="451"/>
                    <a:pt x="1029" y="455"/>
                  </a:cubicBezTo>
                  <a:cubicBezTo>
                    <a:pt x="1034" y="459"/>
                    <a:pt x="1039" y="461"/>
                    <a:pt x="1046" y="461"/>
                  </a:cubicBezTo>
                  <a:cubicBezTo>
                    <a:pt x="1092" y="461"/>
                    <a:pt x="1092" y="461"/>
                    <a:pt x="1092" y="461"/>
                  </a:cubicBezTo>
                  <a:cubicBezTo>
                    <a:pt x="1092" y="400"/>
                    <a:pt x="1092" y="400"/>
                    <a:pt x="1092" y="400"/>
                  </a:cubicBezTo>
                  <a:cubicBezTo>
                    <a:pt x="1065" y="400"/>
                    <a:pt x="1065" y="400"/>
                    <a:pt x="1065" y="400"/>
                  </a:cubicBezTo>
                  <a:cubicBezTo>
                    <a:pt x="1065" y="400"/>
                    <a:pt x="1064" y="400"/>
                    <a:pt x="1064" y="399"/>
                  </a:cubicBezTo>
                  <a:cubicBezTo>
                    <a:pt x="1063" y="399"/>
                    <a:pt x="1063" y="398"/>
                    <a:pt x="1064" y="397"/>
                  </a:cubicBezTo>
                  <a:cubicBezTo>
                    <a:pt x="1092" y="342"/>
                    <a:pt x="1092" y="342"/>
                    <a:pt x="1092" y="342"/>
                  </a:cubicBezTo>
                  <a:cubicBezTo>
                    <a:pt x="1092" y="201"/>
                    <a:pt x="1092" y="201"/>
                    <a:pt x="1092" y="201"/>
                  </a:cubicBezTo>
                  <a:moveTo>
                    <a:pt x="236" y="807"/>
                  </a:moveTo>
                  <a:cubicBezTo>
                    <a:pt x="222" y="807"/>
                    <a:pt x="209" y="795"/>
                    <a:pt x="209" y="780"/>
                  </a:cubicBezTo>
                  <a:cubicBezTo>
                    <a:pt x="209" y="566"/>
                    <a:pt x="209" y="566"/>
                    <a:pt x="209" y="566"/>
                  </a:cubicBezTo>
                  <a:cubicBezTo>
                    <a:pt x="209" y="551"/>
                    <a:pt x="222" y="539"/>
                    <a:pt x="236" y="539"/>
                  </a:cubicBezTo>
                  <a:cubicBezTo>
                    <a:pt x="451" y="539"/>
                    <a:pt x="451" y="539"/>
                    <a:pt x="451" y="539"/>
                  </a:cubicBezTo>
                  <a:cubicBezTo>
                    <a:pt x="466" y="539"/>
                    <a:pt x="478" y="551"/>
                    <a:pt x="478" y="566"/>
                  </a:cubicBezTo>
                  <a:cubicBezTo>
                    <a:pt x="478" y="780"/>
                    <a:pt x="478" y="780"/>
                    <a:pt x="478" y="780"/>
                  </a:cubicBezTo>
                  <a:cubicBezTo>
                    <a:pt x="478" y="795"/>
                    <a:pt x="466" y="807"/>
                    <a:pt x="451" y="807"/>
                  </a:cubicBezTo>
                  <a:cubicBezTo>
                    <a:pt x="451" y="807"/>
                    <a:pt x="451" y="807"/>
                    <a:pt x="451" y="807"/>
                  </a:cubicBezTo>
                  <a:cubicBezTo>
                    <a:pt x="236" y="807"/>
                    <a:pt x="236" y="807"/>
                    <a:pt x="236" y="807"/>
                  </a:cubicBezTo>
                  <a:moveTo>
                    <a:pt x="641" y="807"/>
                  </a:moveTo>
                  <a:cubicBezTo>
                    <a:pt x="626" y="807"/>
                    <a:pt x="614" y="795"/>
                    <a:pt x="614" y="780"/>
                  </a:cubicBezTo>
                  <a:cubicBezTo>
                    <a:pt x="614" y="566"/>
                    <a:pt x="614" y="566"/>
                    <a:pt x="614" y="566"/>
                  </a:cubicBezTo>
                  <a:cubicBezTo>
                    <a:pt x="614" y="551"/>
                    <a:pt x="626" y="539"/>
                    <a:pt x="641" y="539"/>
                  </a:cubicBezTo>
                  <a:cubicBezTo>
                    <a:pt x="856" y="539"/>
                    <a:pt x="856" y="539"/>
                    <a:pt x="856" y="539"/>
                  </a:cubicBezTo>
                  <a:cubicBezTo>
                    <a:pt x="870" y="539"/>
                    <a:pt x="883" y="551"/>
                    <a:pt x="883" y="566"/>
                  </a:cubicBezTo>
                  <a:cubicBezTo>
                    <a:pt x="883" y="780"/>
                    <a:pt x="883" y="780"/>
                    <a:pt x="883" y="780"/>
                  </a:cubicBezTo>
                  <a:cubicBezTo>
                    <a:pt x="883" y="795"/>
                    <a:pt x="870" y="807"/>
                    <a:pt x="856" y="807"/>
                  </a:cubicBezTo>
                  <a:cubicBezTo>
                    <a:pt x="856" y="807"/>
                    <a:pt x="856" y="807"/>
                    <a:pt x="856" y="807"/>
                  </a:cubicBezTo>
                  <a:cubicBezTo>
                    <a:pt x="641" y="807"/>
                    <a:pt x="641" y="807"/>
                    <a:pt x="641" y="807"/>
                  </a:cubicBezTo>
                  <a:moveTo>
                    <a:pt x="236" y="465"/>
                  </a:moveTo>
                  <a:cubicBezTo>
                    <a:pt x="222" y="465"/>
                    <a:pt x="209" y="453"/>
                    <a:pt x="209" y="438"/>
                  </a:cubicBezTo>
                  <a:cubicBezTo>
                    <a:pt x="209" y="224"/>
                    <a:pt x="209" y="224"/>
                    <a:pt x="209" y="224"/>
                  </a:cubicBezTo>
                  <a:cubicBezTo>
                    <a:pt x="209" y="209"/>
                    <a:pt x="222" y="197"/>
                    <a:pt x="236" y="197"/>
                  </a:cubicBezTo>
                  <a:cubicBezTo>
                    <a:pt x="451" y="197"/>
                    <a:pt x="451" y="197"/>
                    <a:pt x="451" y="197"/>
                  </a:cubicBezTo>
                  <a:cubicBezTo>
                    <a:pt x="466" y="197"/>
                    <a:pt x="478" y="209"/>
                    <a:pt x="478" y="224"/>
                  </a:cubicBezTo>
                  <a:cubicBezTo>
                    <a:pt x="478" y="438"/>
                    <a:pt x="478" y="438"/>
                    <a:pt x="478" y="438"/>
                  </a:cubicBezTo>
                  <a:cubicBezTo>
                    <a:pt x="478" y="453"/>
                    <a:pt x="466" y="465"/>
                    <a:pt x="451" y="465"/>
                  </a:cubicBezTo>
                  <a:cubicBezTo>
                    <a:pt x="451" y="465"/>
                    <a:pt x="451" y="465"/>
                    <a:pt x="451" y="465"/>
                  </a:cubicBezTo>
                  <a:cubicBezTo>
                    <a:pt x="236" y="465"/>
                    <a:pt x="236" y="465"/>
                    <a:pt x="236" y="465"/>
                  </a:cubicBezTo>
                  <a:moveTo>
                    <a:pt x="641" y="465"/>
                  </a:moveTo>
                  <a:cubicBezTo>
                    <a:pt x="626" y="465"/>
                    <a:pt x="614" y="453"/>
                    <a:pt x="614" y="438"/>
                  </a:cubicBezTo>
                  <a:cubicBezTo>
                    <a:pt x="614" y="224"/>
                    <a:pt x="614" y="224"/>
                    <a:pt x="614" y="224"/>
                  </a:cubicBezTo>
                  <a:cubicBezTo>
                    <a:pt x="614" y="209"/>
                    <a:pt x="626" y="197"/>
                    <a:pt x="641" y="197"/>
                  </a:cubicBezTo>
                  <a:cubicBezTo>
                    <a:pt x="856" y="197"/>
                    <a:pt x="856" y="197"/>
                    <a:pt x="856" y="197"/>
                  </a:cubicBezTo>
                  <a:cubicBezTo>
                    <a:pt x="870" y="197"/>
                    <a:pt x="883" y="209"/>
                    <a:pt x="883" y="224"/>
                  </a:cubicBezTo>
                  <a:cubicBezTo>
                    <a:pt x="883" y="438"/>
                    <a:pt x="883" y="438"/>
                    <a:pt x="883" y="438"/>
                  </a:cubicBezTo>
                  <a:cubicBezTo>
                    <a:pt x="883" y="453"/>
                    <a:pt x="870" y="465"/>
                    <a:pt x="856" y="465"/>
                  </a:cubicBezTo>
                  <a:cubicBezTo>
                    <a:pt x="856" y="465"/>
                    <a:pt x="856" y="465"/>
                    <a:pt x="856" y="465"/>
                  </a:cubicBezTo>
                  <a:cubicBezTo>
                    <a:pt x="641" y="465"/>
                    <a:pt x="641" y="465"/>
                    <a:pt x="641" y="465"/>
                  </a:cubicBezTo>
                  <a:moveTo>
                    <a:pt x="1092" y="64"/>
                  </a:moveTo>
                  <a:cubicBezTo>
                    <a:pt x="0" y="64"/>
                    <a:pt x="0" y="64"/>
                    <a:pt x="0" y="64"/>
                  </a:cubicBezTo>
                  <a:cubicBezTo>
                    <a:pt x="0" y="197"/>
                    <a:pt x="0" y="197"/>
                    <a:pt x="0" y="197"/>
                  </a:cubicBezTo>
                  <a:cubicBezTo>
                    <a:pt x="46" y="197"/>
                    <a:pt x="46" y="197"/>
                    <a:pt x="46" y="197"/>
                  </a:cubicBezTo>
                  <a:cubicBezTo>
                    <a:pt x="61" y="197"/>
                    <a:pt x="73" y="209"/>
                    <a:pt x="73" y="224"/>
                  </a:cubicBezTo>
                  <a:cubicBezTo>
                    <a:pt x="73" y="438"/>
                    <a:pt x="73" y="438"/>
                    <a:pt x="73" y="438"/>
                  </a:cubicBezTo>
                  <a:cubicBezTo>
                    <a:pt x="73" y="453"/>
                    <a:pt x="61" y="465"/>
                    <a:pt x="46" y="465"/>
                  </a:cubicBezTo>
                  <a:cubicBezTo>
                    <a:pt x="46" y="465"/>
                    <a:pt x="46" y="465"/>
                    <a:pt x="46" y="465"/>
                  </a:cubicBezTo>
                  <a:cubicBezTo>
                    <a:pt x="0" y="465"/>
                    <a:pt x="0" y="465"/>
                    <a:pt x="0" y="465"/>
                  </a:cubicBezTo>
                  <a:cubicBezTo>
                    <a:pt x="0" y="539"/>
                    <a:pt x="0" y="539"/>
                    <a:pt x="0" y="539"/>
                  </a:cubicBezTo>
                  <a:cubicBezTo>
                    <a:pt x="32" y="539"/>
                    <a:pt x="32" y="539"/>
                    <a:pt x="32" y="539"/>
                  </a:cubicBezTo>
                  <a:cubicBezTo>
                    <a:pt x="37" y="537"/>
                    <a:pt x="40" y="535"/>
                    <a:pt x="40" y="535"/>
                  </a:cubicBezTo>
                  <a:cubicBezTo>
                    <a:pt x="41" y="538"/>
                    <a:pt x="41" y="538"/>
                    <a:pt x="41" y="538"/>
                  </a:cubicBezTo>
                  <a:cubicBezTo>
                    <a:pt x="56" y="532"/>
                    <a:pt x="78" y="522"/>
                    <a:pt x="82" y="522"/>
                  </a:cubicBezTo>
                  <a:cubicBezTo>
                    <a:pt x="83" y="522"/>
                    <a:pt x="83" y="522"/>
                    <a:pt x="83" y="522"/>
                  </a:cubicBezTo>
                  <a:cubicBezTo>
                    <a:pt x="85" y="524"/>
                    <a:pt x="72" y="531"/>
                    <a:pt x="74" y="532"/>
                  </a:cubicBezTo>
                  <a:cubicBezTo>
                    <a:pt x="75" y="532"/>
                    <a:pt x="75" y="532"/>
                    <a:pt x="75" y="532"/>
                  </a:cubicBezTo>
                  <a:cubicBezTo>
                    <a:pt x="77" y="532"/>
                    <a:pt x="81" y="531"/>
                    <a:pt x="85" y="530"/>
                  </a:cubicBezTo>
                  <a:cubicBezTo>
                    <a:pt x="90" y="528"/>
                    <a:pt x="94" y="527"/>
                    <a:pt x="96" y="527"/>
                  </a:cubicBezTo>
                  <a:cubicBezTo>
                    <a:pt x="97" y="527"/>
                    <a:pt x="98" y="527"/>
                    <a:pt x="98" y="527"/>
                  </a:cubicBezTo>
                  <a:cubicBezTo>
                    <a:pt x="100" y="531"/>
                    <a:pt x="79" y="538"/>
                    <a:pt x="79" y="538"/>
                  </a:cubicBezTo>
                  <a:cubicBezTo>
                    <a:pt x="79" y="538"/>
                    <a:pt x="94" y="534"/>
                    <a:pt x="100" y="534"/>
                  </a:cubicBezTo>
                  <a:cubicBezTo>
                    <a:pt x="102" y="534"/>
                    <a:pt x="103" y="534"/>
                    <a:pt x="103" y="535"/>
                  </a:cubicBezTo>
                  <a:cubicBezTo>
                    <a:pt x="104" y="537"/>
                    <a:pt x="86" y="543"/>
                    <a:pt x="80" y="547"/>
                  </a:cubicBezTo>
                  <a:cubicBezTo>
                    <a:pt x="85" y="545"/>
                    <a:pt x="93" y="543"/>
                    <a:pt x="97" y="543"/>
                  </a:cubicBezTo>
                  <a:cubicBezTo>
                    <a:pt x="99" y="543"/>
                    <a:pt x="100" y="543"/>
                    <a:pt x="100" y="544"/>
                  </a:cubicBezTo>
                  <a:cubicBezTo>
                    <a:pt x="101" y="546"/>
                    <a:pt x="89" y="551"/>
                    <a:pt x="80" y="555"/>
                  </a:cubicBezTo>
                  <a:cubicBezTo>
                    <a:pt x="84" y="553"/>
                    <a:pt x="91" y="551"/>
                    <a:pt x="95" y="551"/>
                  </a:cubicBezTo>
                  <a:cubicBezTo>
                    <a:pt x="96" y="551"/>
                    <a:pt x="97" y="551"/>
                    <a:pt x="97" y="552"/>
                  </a:cubicBezTo>
                  <a:cubicBezTo>
                    <a:pt x="98" y="553"/>
                    <a:pt x="87" y="559"/>
                    <a:pt x="73" y="565"/>
                  </a:cubicBezTo>
                  <a:cubicBezTo>
                    <a:pt x="73" y="565"/>
                    <a:pt x="73" y="566"/>
                    <a:pt x="73" y="566"/>
                  </a:cubicBezTo>
                  <a:cubicBezTo>
                    <a:pt x="73" y="780"/>
                    <a:pt x="73" y="780"/>
                    <a:pt x="73" y="780"/>
                  </a:cubicBezTo>
                  <a:cubicBezTo>
                    <a:pt x="73" y="795"/>
                    <a:pt x="61" y="807"/>
                    <a:pt x="46" y="807"/>
                  </a:cubicBezTo>
                  <a:cubicBezTo>
                    <a:pt x="46" y="807"/>
                    <a:pt x="46" y="807"/>
                    <a:pt x="46" y="807"/>
                  </a:cubicBezTo>
                  <a:cubicBezTo>
                    <a:pt x="0" y="807"/>
                    <a:pt x="0" y="807"/>
                    <a:pt x="0" y="807"/>
                  </a:cubicBezTo>
                  <a:cubicBezTo>
                    <a:pt x="0" y="842"/>
                    <a:pt x="0" y="842"/>
                    <a:pt x="0" y="842"/>
                  </a:cubicBezTo>
                  <a:cubicBezTo>
                    <a:pt x="884" y="842"/>
                    <a:pt x="884" y="842"/>
                    <a:pt x="884" y="842"/>
                  </a:cubicBezTo>
                  <a:cubicBezTo>
                    <a:pt x="916" y="900"/>
                    <a:pt x="977" y="939"/>
                    <a:pt x="1048" y="939"/>
                  </a:cubicBezTo>
                  <a:cubicBezTo>
                    <a:pt x="1132" y="939"/>
                    <a:pt x="1203" y="884"/>
                    <a:pt x="1226" y="807"/>
                  </a:cubicBezTo>
                  <a:cubicBezTo>
                    <a:pt x="1046" y="807"/>
                    <a:pt x="1046" y="807"/>
                    <a:pt x="1046" y="807"/>
                  </a:cubicBezTo>
                  <a:cubicBezTo>
                    <a:pt x="1031" y="807"/>
                    <a:pt x="1019" y="795"/>
                    <a:pt x="1019" y="780"/>
                  </a:cubicBezTo>
                  <a:cubicBezTo>
                    <a:pt x="1019" y="594"/>
                    <a:pt x="1019" y="594"/>
                    <a:pt x="1019" y="594"/>
                  </a:cubicBezTo>
                  <a:cubicBezTo>
                    <a:pt x="1017" y="594"/>
                    <a:pt x="1016" y="593"/>
                    <a:pt x="1016" y="593"/>
                  </a:cubicBezTo>
                  <a:cubicBezTo>
                    <a:pt x="1016" y="592"/>
                    <a:pt x="1017" y="591"/>
                    <a:pt x="1019" y="591"/>
                  </a:cubicBezTo>
                  <a:cubicBezTo>
                    <a:pt x="1019" y="588"/>
                    <a:pt x="1019" y="588"/>
                    <a:pt x="1019" y="588"/>
                  </a:cubicBezTo>
                  <a:cubicBezTo>
                    <a:pt x="1014" y="588"/>
                    <a:pt x="1010" y="588"/>
                    <a:pt x="1010" y="586"/>
                  </a:cubicBezTo>
                  <a:cubicBezTo>
                    <a:pt x="1010" y="585"/>
                    <a:pt x="1014" y="583"/>
                    <a:pt x="1019" y="583"/>
                  </a:cubicBezTo>
                  <a:cubicBezTo>
                    <a:pt x="1019" y="581"/>
                    <a:pt x="1019" y="581"/>
                    <a:pt x="1019" y="581"/>
                  </a:cubicBezTo>
                  <a:cubicBezTo>
                    <a:pt x="1012" y="581"/>
                    <a:pt x="1004" y="580"/>
                    <a:pt x="1004" y="579"/>
                  </a:cubicBezTo>
                  <a:cubicBezTo>
                    <a:pt x="1004" y="577"/>
                    <a:pt x="1012" y="575"/>
                    <a:pt x="1019" y="574"/>
                  </a:cubicBezTo>
                  <a:cubicBezTo>
                    <a:pt x="1019" y="573"/>
                    <a:pt x="1019" y="573"/>
                    <a:pt x="1019" y="573"/>
                  </a:cubicBezTo>
                  <a:cubicBezTo>
                    <a:pt x="1013" y="573"/>
                    <a:pt x="1006" y="572"/>
                    <a:pt x="1006" y="570"/>
                  </a:cubicBezTo>
                  <a:cubicBezTo>
                    <a:pt x="1007" y="569"/>
                    <a:pt x="1013" y="568"/>
                    <a:pt x="1019" y="568"/>
                  </a:cubicBezTo>
                  <a:cubicBezTo>
                    <a:pt x="1019" y="566"/>
                    <a:pt x="1019" y="566"/>
                    <a:pt x="1019" y="566"/>
                  </a:cubicBezTo>
                  <a:cubicBezTo>
                    <a:pt x="1019" y="564"/>
                    <a:pt x="1019" y="563"/>
                    <a:pt x="1019" y="561"/>
                  </a:cubicBezTo>
                  <a:cubicBezTo>
                    <a:pt x="1018" y="561"/>
                    <a:pt x="1018" y="561"/>
                    <a:pt x="1018" y="560"/>
                  </a:cubicBezTo>
                  <a:cubicBezTo>
                    <a:pt x="1018" y="560"/>
                    <a:pt x="1019" y="560"/>
                    <a:pt x="1019" y="560"/>
                  </a:cubicBezTo>
                  <a:cubicBezTo>
                    <a:pt x="1022" y="548"/>
                    <a:pt x="1033" y="539"/>
                    <a:pt x="1046" y="539"/>
                  </a:cubicBezTo>
                  <a:cubicBezTo>
                    <a:pt x="1092" y="539"/>
                    <a:pt x="1092" y="539"/>
                    <a:pt x="1092" y="539"/>
                  </a:cubicBezTo>
                  <a:cubicBezTo>
                    <a:pt x="1092" y="465"/>
                    <a:pt x="1092" y="465"/>
                    <a:pt x="1092" y="465"/>
                  </a:cubicBezTo>
                  <a:cubicBezTo>
                    <a:pt x="1046" y="465"/>
                    <a:pt x="1046" y="465"/>
                    <a:pt x="1046" y="465"/>
                  </a:cubicBezTo>
                  <a:cubicBezTo>
                    <a:pt x="1031" y="465"/>
                    <a:pt x="1019" y="453"/>
                    <a:pt x="1019" y="438"/>
                  </a:cubicBezTo>
                  <a:cubicBezTo>
                    <a:pt x="1019" y="224"/>
                    <a:pt x="1019" y="224"/>
                    <a:pt x="1019" y="224"/>
                  </a:cubicBezTo>
                  <a:cubicBezTo>
                    <a:pt x="1019" y="209"/>
                    <a:pt x="1031" y="197"/>
                    <a:pt x="1046" y="197"/>
                  </a:cubicBezTo>
                  <a:cubicBezTo>
                    <a:pt x="1092" y="197"/>
                    <a:pt x="1092" y="197"/>
                    <a:pt x="1092" y="197"/>
                  </a:cubicBezTo>
                  <a:cubicBezTo>
                    <a:pt x="1092" y="119"/>
                    <a:pt x="1092" y="119"/>
                    <a:pt x="1092" y="119"/>
                  </a:cubicBezTo>
                  <a:cubicBezTo>
                    <a:pt x="1052" y="119"/>
                    <a:pt x="1052" y="119"/>
                    <a:pt x="1052" y="119"/>
                  </a:cubicBezTo>
                  <a:cubicBezTo>
                    <a:pt x="1052" y="115"/>
                    <a:pt x="1052" y="115"/>
                    <a:pt x="1052" y="115"/>
                  </a:cubicBezTo>
                  <a:cubicBezTo>
                    <a:pt x="1092" y="115"/>
                    <a:pt x="1092" y="115"/>
                    <a:pt x="1092" y="115"/>
                  </a:cubicBezTo>
                  <a:cubicBezTo>
                    <a:pt x="1092" y="64"/>
                    <a:pt x="1092" y="64"/>
                    <a:pt x="1092" y="64"/>
                  </a:cubicBezTo>
                  <a:moveTo>
                    <a:pt x="0" y="0"/>
                  </a:moveTo>
                  <a:cubicBezTo>
                    <a:pt x="0" y="60"/>
                    <a:pt x="0" y="60"/>
                    <a:pt x="0" y="60"/>
                  </a:cubicBezTo>
                  <a:cubicBezTo>
                    <a:pt x="1092" y="60"/>
                    <a:pt x="1092" y="60"/>
                    <a:pt x="1092" y="60"/>
                  </a:cubicBezTo>
                  <a:cubicBezTo>
                    <a:pt x="1092" y="23"/>
                    <a:pt x="1092" y="23"/>
                    <a:pt x="1092" y="23"/>
                  </a:cubicBezTo>
                  <a:cubicBezTo>
                    <a:pt x="28" y="23"/>
                    <a:pt x="28" y="23"/>
                    <a:pt x="28" y="23"/>
                  </a:cubicBezTo>
                  <a:cubicBezTo>
                    <a:pt x="14" y="23"/>
                    <a:pt x="3" y="13"/>
                    <a:pt x="0" y="0"/>
                  </a:cubicBezTo>
                </a:path>
              </a:pathLst>
            </a:custGeom>
            <a:solidFill>
              <a:srgbClr val="BED6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9" name="Freeform 179"/>
            <p:cNvSpPr>
              <a:spLocks noEditPoints="1"/>
            </p:cNvSpPr>
            <p:nvPr userDrawn="1"/>
          </p:nvSpPr>
          <p:spPr bwMode="auto">
            <a:xfrm>
              <a:off x="3513329" y="4181907"/>
              <a:ext cx="78081" cy="81404"/>
            </a:xfrm>
            <a:custGeom>
              <a:avLst/>
              <a:gdLst>
                <a:gd name="T0" fmla="*/ 30 w 30"/>
                <a:gd name="T1" fmla="*/ 15 h 31"/>
                <a:gd name="T2" fmla="*/ 30 w 30"/>
                <a:gd name="T3" fmla="*/ 15 h 31"/>
                <a:gd name="T4" fmla="*/ 30 w 30"/>
                <a:gd name="T5" fmla="*/ 15 h 31"/>
                <a:gd name="T6" fmla="*/ 15 w 30"/>
                <a:gd name="T7" fmla="*/ 0 h 31"/>
                <a:gd name="T8" fmla="*/ 0 w 30"/>
                <a:gd name="T9" fmla="*/ 15 h 31"/>
                <a:gd name="T10" fmla="*/ 15 w 30"/>
                <a:gd name="T11" fmla="*/ 31 h 31"/>
                <a:gd name="T12" fmla="*/ 30 w 30"/>
                <a:gd name="T13" fmla="*/ 15 h 31"/>
                <a:gd name="T14" fmla="*/ 28 w 30"/>
                <a:gd name="T15" fmla="*/ 15 h 31"/>
                <a:gd name="T16" fmla="*/ 26 w 30"/>
                <a:gd name="T17" fmla="*/ 15 h 31"/>
                <a:gd name="T18" fmla="*/ 15 w 30"/>
                <a:gd name="T19" fmla="*/ 27 h 31"/>
                <a:gd name="T20" fmla="*/ 4 w 30"/>
                <a:gd name="T21" fmla="*/ 15 h 31"/>
                <a:gd name="T22" fmla="*/ 15 w 30"/>
                <a:gd name="T23" fmla="*/ 4 h 31"/>
                <a:gd name="T24" fmla="*/ 26 w 30"/>
                <a:gd name="T25" fmla="*/ 15 h 31"/>
                <a:gd name="T26" fmla="*/ 28 w 30"/>
                <a:gd name="T27" fmla="*/ 15 h 31"/>
                <a:gd name="T28" fmla="*/ 30 w 30"/>
                <a:gd name="T29" fmla="*/ 15 h 31"/>
                <a:gd name="T30" fmla="*/ 30 w 30"/>
                <a:gd name="T31" fmla="*/ 15 h 31"/>
                <a:gd name="T32" fmla="*/ 15 w 30"/>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1">
                  <a:moveTo>
                    <a:pt x="30" y="15"/>
                  </a:moveTo>
                  <a:cubicBezTo>
                    <a:pt x="30" y="15"/>
                    <a:pt x="30" y="15"/>
                    <a:pt x="30" y="15"/>
                  </a:cubicBezTo>
                  <a:cubicBezTo>
                    <a:pt x="30" y="15"/>
                    <a:pt x="30" y="15"/>
                    <a:pt x="30" y="15"/>
                  </a:cubicBezTo>
                  <a:moveTo>
                    <a:pt x="15" y="0"/>
                  </a:moveTo>
                  <a:cubicBezTo>
                    <a:pt x="7" y="0"/>
                    <a:pt x="0" y="7"/>
                    <a:pt x="0" y="15"/>
                  </a:cubicBezTo>
                  <a:cubicBezTo>
                    <a:pt x="0" y="24"/>
                    <a:pt x="7" y="31"/>
                    <a:pt x="15" y="31"/>
                  </a:cubicBezTo>
                  <a:cubicBezTo>
                    <a:pt x="24" y="31"/>
                    <a:pt x="30" y="24"/>
                    <a:pt x="30" y="15"/>
                  </a:cubicBezTo>
                  <a:cubicBezTo>
                    <a:pt x="28" y="15"/>
                    <a:pt x="28" y="15"/>
                    <a:pt x="28" y="15"/>
                  </a:cubicBezTo>
                  <a:cubicBezTo>
                    <a:pt x="26" y="15"/>
                    <a:pt x="26" y="15"/>
                    <a:pt x="26" y="15"/>
                  </a:cubicBezTo>
                  <a:cubicBezTo>
                    <a:pt x="26" y="21"/>
                    <a:pt x="21" y="26"/>
                    <a:pt x="15" y="27"/>
                  </a:cubicBezTo>
                  <a:cubicBezTo>
                    <a:pt x="9" y="26"/>
                    <a:pt x="4" y="21"/>
                    <a:pt x="4" y="15"/>
                  </a:cubicBezTo>
                  <a:cubicBezTo>
                    <a:pt x="4" y="9"/>
                    <a:pt x="9" y="4"/>
                    <a:pt x="15" y="4"/>
                  </a:cubicBezTo>
                  <a:cubicBezTo>
                    <a:pt x="21" y="4"/>
                    <a:pt x="26" y="9"/>
                    <a:pt x="26" y="15"/>
                  </a:cubicBezTo>
                  <a:cubicBezTo>
                    <a:pt x="28" y="15"/>
                    <a:pt x="28" y="15"/>
                    <a:pt x="28" y="15"/>
                  </a:cubicBezTo>
                  <a:cubicBezTo>
                    <a:pt x="30" y="15"/>
                    <a:pt x="30" y="15"/>
                    <a:pt x="30" y="15"/>
                  </a:cubicBezTo>
                  <a:cubicBezTo>
                    <a:pt x="30" y="15"/>
                    <a:pt x="30" y="15"/>
                    <a:pt x="30" y="15"/>
                  </a:cubicBezTo>
                  <a:cubicBezTo>
                    <a:pt x="30" y="7"/>
                    <a:pt x="24" y="0"/>
                    <a:pt x="15"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0" name="Freeform 183"/>
            <p:cNvSpPr>
              <a:spLocks noEditPoints="1"/>
            </p:cNvSpPr>
            <p:nvPr userDrawn="1"/>
          </p:nvSpPr>
          <p:spPr bwMode="auto">
            <a:xfrm>
              <a:off x="4561604" y="4181907"/>
              <a:ext cx="79742" cy="81404"/>
            </a:xfrm>
            <a:custGeom>
              <a:avLst/>
              <a:gdLst>
                <a:gd name="T0" fmla="*/ 31 w 31"/>
                <a:gd name="T1" fmla="*/ 15 h 31"/>
                <a:gd name="T2" fmla="*/ 31 w 31"/>
                <a:gd name="T3" fmla="*/ 15 h 31"/>
                <a:gd name="T4" fmla="*/ 31 w 31"/>
                <a:gd name="T5" fmla="*/ 15 h 31"/>
                <a:gd name="T6" fmla="*/ 16 w 31"/>
                <a:gd name="T7" fmla="*/ 0 h 31"/>
                <a:gd name="T8" fmla="*/ 0 w 31"/>
                <a:gd name="T9" fmla="*/ 15 h 31"/>
                <a:gd name="T10" fmla="*/ 16 w 31"/>
                <a:gd name="T11" fmla="*/ 31 h 31"/>
                <a:gd name="T12" fmla="*/ 31 w 31"/>
                <a:gd name="T13" fmla="*/ 15 h 31"/>
                <a:gd name="T14" fmla="*/ 29 w 31"/>
                <a:gd name="T15" fmla="*/ 15 h 31"/>
                <a:gd name="T16" fmla="*/ 27 w 31"/>
                <a:gd name="T17" fmla="*/ 15 h 31"/>
                <a:gd name="T18" fmla="*/ 16 w 31"/>
                <a:gd name="T19" fmla="*/ 27 h 31"/>
                <a:gd name="T20" fmla="*/ 4 w 31"/>
                <a:gd name="T21" fmla="*/ 15 h 31"/>
                <a:gd name="T22" fmla="*/ 16 w 31"/>
                <a:gd name="T23" fmla="*/ 4 h 31"/>
                <a:gd name="T24" fmla="*/ 27 w 31"/>
                <a:gd name="T25" fmla="*/ 15 h 31"/>
                <a:gd name="T26" fmla="*/ 29 w 31"/>
                <a:gd name="T27" fmla="*/ 15 h 31"/>
                <a:gd name="T28" fmla="*/ 31 w 31"/>
                <a:gd name="T29" fmla="*/ 15 h 31"/>
                <a:gd name="T30" fmla="*/ 31 w 31"/>
                <a:gd name="T31" fmla="*/ 15 h 31"/>
                <a:gd name="T32" fmla="*/ 16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6" y="0"/>
                  </a:moveTo>
                  <a:cubicBezTo>
                    <a:pt x="7" y="0"/>
                    <a:pt x="0" y="7"/>
                    <a:pt x="0" y="15"/>
                  </a:cubicBezTo>
                  <a:cubicBezTo>
                    <a:pt x="0" y="24"/>
                    <a:pt x="7" y="31"/>
                    <a:pt x="16" y="31"/>
                  </a:cubicBezTo>
                  <a:cubicBezTo>
                    <a:pt x="24" y="31"/>
                    <a:pt x="31" y="24"/>
                    <a:pt x="31" y="15"/>
                  </a:cubicBezTo>
                  <a:cubicBezTo>
                    <a:pt x="29" y="15"/>
                    <a:pt x="29" y="15"/>
                    <a:pt x="29" y="15"/>
                  </a:cubicBezTo>
                  <a:cubicBezTo>
                    <a:pt x="27" y="15"/>
                    <a:pt x="27" y="15"/>
                    <a:pt x="27" y="15"/>
                  </a:cubicBezTo>
                  <a:cubicBezTo>
                    <a:pt x="27" y="21"/>
                    <a:pt x="22" y="26"/>
                    <a:pt x="16" y="27"/>
                  </a:cubicBezTo>
                  <a:cubicBezTo>
                    <a:pt x="9" y="26"/>
                    <a:pt x="4" y="21"/>
                    <a:pt x="4" y="15"/>
                  </a:cubicBezTo>
                  <a:cubicBezTo>
                    <a:pt x="4" y="9"/>
                    <a:pt x="9" y="4"/>
                    <a:pt x="16"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1" name="Freeform 184"/>
            <p:cNvSpPr>
              <a:spLocks noEditPoints="1"/>
            </p:cNvSpPr>
            <p:nvPr userDrawn="1"/>
          </p:nvSpPr>
          <p:spPr bwMode="auto">
            <a:xfrm>
              <a:off x="5134749" y="3974245"/>
              <a:ext cx="539920" cy="696081"/>
            </a:xfrm>
            <a:custGeom>
              <a:avLst/>
              <a:gdLst>
                <a:gd name="T0" fmla="*/ 0 w 208"/>
                <a:gd name="T1" fmla="*/ 55 h 268"/>
                <a:gd name="T2" fmla="*/ 0 w 208"/>
                <a:gd name="T3" fmla="*/ 241 h 268"/>
                <a:gd name="T4" fmla="*/ 27 w 208"/>
                <a:gd name="T5" fmla="*/ 268 h 268"/>
                <a:gd name="T6" fmla="*/ 207 w 208"/>
                <a:gd name="T7" fmla="*/ 268 h 268"/>
                <a:gd name="T8" fmla="*/ 208 w 208"/>
                <a:gd name="T9" fmla="*/ 264 h 268"/>
                <a:gd name="T10" fmla="*/ 27 w 208"/>
                <a:gd name="T11" fmla="*/ 264 h 268"/>
                <a:gd name="T12" fmla="*/ 10 w 208"/>
                <a:gd name="T13" fmla="*/ 258 h 268"/>
                <a:gd name="T14" fmla="*/ 4 w 208"/>
                <a:gd name="T15" fmla="*/ 241 h 268"/>
                <a:gd name="T16" fmla="*/ 4 w 208"/>
                <a:gd name="T17" fmla="*/ 56 h 268"/>
                <a:gd name="T18" fmla="*/ 0 w 208"/>
                <a:gd name="T19" fmla="*/ 55 h 268"/>
                <a:gd name="T20" fmla="*/ 0 w 208"/>
                <a:gd name="T21" fmla="*/ 49 h 268"/>
                <a:gd name="T22" fmla="*/ 0 w 208"/>
                <a:gd name="T23" fmla="*/ 52 h 268"/>
                <a:gd name="T24" fmla="*/ 4 w 208"/>
                <a:gd name="T25" fmla="*/ 51 h 268"/>
                <a:gd name="T26" fmla="*/ 4 w 208"/>
                <a:gd name="T27" fmla="*/ 50 h 268"/>
                <a:gd name="T28" fmla="*/ 0 w 208"/>
                <a:gd name="T29" fmla="*/ 49 h 268"/>
                <a:gd name="T30" fmla="*/ 0 w 208"/>
                <a:gd name="T31" fmla="*/ 42 h 268"/>
                <a:gd name="T32" fmla="*/ 0 w 208"/>
                <a:gd name="T33" fmla="*/ 44 h 268"/>
                <a:gd name="T34" fmla="*/ 4 w 208"/>
                <a:gd name="T35" fmla="*/ 43 h 268"/>
                <a:gd name="T36" fmla="*/ 4 w 208"/>
                <a:gd name="T37" fmla="*/ 42 h 268"/>
                <a:gd name="T38" fmla="*/ 0 w 208"/>
                <a:gd name="T39" fmla="*/ 42 h 268"/>
                <a:gd name="T40" fmla="*/ 0 w 208"/>
                <a:gd name="T41" fmla="*/ 34 h 268"/>
                <a:gd name="T42" fmla="*/ 0 w 208"/>
                <a:gd name="T43" fmla="*/ 35 h 268"/>
                <a:gd name="T44" fmla="*/ 4 w 208"/>
                <a:gd name="T45" fmla="*/ 35 h 268"/>
                <a:gd name="T46" fmla="*/ 4 w 208"/>
                <a:gd name="T47" fmla="*/ 34 h 268"/>
                <a:gd name="T48" fmla="*/ 0 w 208"/>
                <a:gd name="T49" fmla="*/ 34 h 268"/>
                <a:gd name="T50" fmla="*/ 0 w 208"/>
                <a:gd name="T51" fmla="*/ 22 h 268"/>
                <a:gd name="T52" fmla="*/ 0 w 208"/>
                <a:gd name="T53" fmla="*/ 27 h 268"/>
                <a:gd name="T54" fmla="*/ 0 w 208"/>
                <a:gd name="T55" fmla="*/ 29 h 268"/>
                <a:gd name="T56" fmla="*/ 4 w 208"/>
                <a:gd name="T57" fmla="*/ 28 h 268"/>
                <a:gd name="T58" fmla="*/ 4 w 208"/>
                <a:gd name="T59" fmla="*/ 27 h 268"/>
                <a:gd name="T60" fmla="*/ 4 w 208"/>
                <a:gd name="T61" fmla="*/ 24 h 268"/>
                <a:gd name="T62" fmla="*/ 0 w 208"/>
                <a:gd name="T63" fmla="*/ 22 h 268"/>
                <a:gd name="T64" fmla="*/ 73 w 208"/>
                <a:gd name="T65" fmla="*/ 0 h 268"/>
                <a:gd name="T66" fmla="*/ 27 w 208"/>
                <a:gd name="T67" fmla="*/ 0 h 268"/>
                <a:gd name="T68" fmla="*/ 0 w 208"/>
                <a:gd name="T69" fmla="*/ 21 h 268"/>
                <a:gd name="T70" fmla="*/ 5 w 208"/>
                <a:gd name="T71" fmla="*/ 20 h 268"/>
                <a:gd name="T72" fmla="*/ 10 w 208"/>
                <a:gd name="T73" fmla="*/ 11 h 268"/>
                <a:gd name="T74" fmla="*/ 27 w 208"/>
                <a:gd name="T75" fmla="*/ 4 h 268"/>
                <a:gd name="T76" fmla="*/ 73 w 208"/>
                <a:gd name="T77" fmla="*/ 4 h 268"/>
                <a:gd name="T78" fmla="*/ 73 w 208"/>
                <a:gd name="T7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8" h="268">
                  <a:moveTo>
                    <a:pt x="0" y="55"/>
                  </a:moveTo>
                  <a:cubicBezTo>
                    <a:pt x="0" y="241"/>
                    <a:pt x="0" y="241"/>
                    <a:pt x="0" y="241"/>
                  </a:cubicBezTo>
                  <a:cubicBezTo>
                    <a:pt x="0" y="256"/>
                    <a:pt x="12" y="268"/>
                    <a:pt x="27" y="268"/>
                  </a:cubicBezTo>
                  <a:cubicBezTo>
                    <a:pt x="207" y="268"/>
                    <a:pt x="207" y="268"/>
                    <a:pt x="207" y="268"/>
                  </a:cubicBezTo>
                  <a:cubicBezTo>
                    <a:pt x="208" y="267"/>
                    <a:pt x="208" y="266"/>
                    <a:pt x="208" y="264"/>
                  </a:cubicBezTo>
                  <a:cubicBezTo>
                    <a:pt x="27" y="264"/>
                    <a:pt x="27" y="264"/>
                    <a:pt x="27" y="264"/>
                  </a:cubicBezTo>
                  <a:cubicBezTo>
                    <a:pt x="20" y="264"/>
                    <a:pt x="15" y="262"/>
                    <a:pt x="10" y="258"/>
                  </a:cubicBezTo>
                  <a:cubicBezTo>
                    <a:pt x="6" y="253"/>
                    <a:pt x="4" y="248"/>
                    <a:pt x="4" y="241"/>
                  </a:cubicBezTo>
                  <a:cubicBezTo>
                    <a:pt x="4" y="56"/>
                    <a:pt x="4" y="56"/>
                    <a:pt x="4" y="56"/>
                  </a:cubicBezTo>
                  <a:cubicBezTo>
                    <a:pt x="2" y="55"/>
                    <a:pt x="1" y="55"/>
                    <a:pt x="0" y="55"/>
                  </a:cubicBezTo>
                  <a:moveTo>
                    <a:pt x="0" y="49"/>
                  </a:moveTo>
                  <a:cubicBezTo>
                    <a:pt x="0" y="52"/>
                    <a:pt x="0" y="52"/>
                    <a:pt x="0" y="52"/>
                  </a:cubicBezTo>
                  <a:cubicBezTo>
                    <a:pt x="1" y="52"/>
                    <a:pt x="2" y="51"/>
                    <a:pt x="4" y="51"/>
                  </a:cubicBezTo>
                  <a:cubicBezTo>
                    <a:pt x="4" y="50"/>
                    <a:pt x="4" y="50"/>
                    <a:pt x="4" y="50"/>
                  </a:cubicBezTo>
                  <a:cubicBezTo>
                    <a:pt x="2" y="50"/>
                    <a:pt x="1" y="49"/>
                    <a:pt x="0" y="49"/>
                  </a:cubicBezTo>
                  <a:moveTo>
                    <a:pt x="0" y="42"/>
                  </a:moveTo>
                  <a:cubicBezTo>
                    <a:pt x="0" y="44"/>
                    <a:pt x="0" y="44"/>
                    <a:pt x="0" y="44"/>
                  </a:cubicBezTo>
                  <a:cubicBezTo>
                    <a:pt x="1" y="43"/>
                    <a:pt x="2" y="43"/>
                    <a:pt x="4" y="43"/>
                  </a:cubicBezTo>
                  <a:cubicBezTo>
                    <a:pt x="4" y="42"/>
                    <a:pt x="4" y="42"/>
                    <a:pt x="4" y="42"/>
                  </a:cubicBezTo>
                  <a:cubicBezTo>
                    <a:pt x="2" y="42"/>
                    <a:pt x="1" y="42"/>
                    <a:pt x="0" y="42"/>
                  </a:cubicBezTo>
                  <a:moveTo>
                    <a:pt x="0" y="34"/>
                  </a:moveTo>
                  <a:cubicBezTo>
                    <a:pt x="0" y="35"/>
                    <a:pt x="0" y="35"/>
                    <a:pt x="0" y="35"/>
                  </a:cubicBezTo>
                  <a:cubicBezTo>
                    <a:pt x="1" y="35"/>
                    <a:pt x="2" y="35"/>
                    <a:pt x="4" y="35"/>
                  </a:cubicBezTo>
                  <a:cubicBezTo>
                    <a:pt x="4" y="34"/>
                    <a:pt x="4" y="34"/>
                    <a:pt x="4" y="34"/>
                  </a:cubicBezTo>
                  <a:cubicBezTo>
                    <a:pt x="2" y="34"/>
                    <a:pt x="1" y="34"/>
                    <a:pt x="0" y="34"/>
                  </a:cubicBezTo>
                  <a:moveTo>
                    <a:pt x="0" y="22"/>
                  </a:moveTo>
                  <a:cubicBezTo>
                    <a:pt x="0" y="24"/>
                    <a:pt x="0" y="25"/>
                    <a:pt x="0" y="27"/>
                  </a:cubicBezTo>
                  <a:cubicBezTo>
                    <a:pt x="0" y="29"/>
                    <a:pt x="0" y="29"/>
                    <a:pt x="0" y="29"/>
                  </a:cubicBezTo>
                  <a:cubicBezTo>
                    <a:pt x="1" y="28"/>
                    <a:pt x="2" y="28"/>
                    <a:pt x="4" y="28"/>
                  </a:cubicBezTo>
                  <a:cubicBezTo>
                    <a:pt x="4" y="27"/>
                    <a:pt x="4" y="27"/>
                    <a:pt x="4" y="27"/>
                  </a:cubicBezTo>
                  <a:cubicBezTo>
                    <a:pt x="4" y="26"/>
                    <a:pt x="4" y="25"/>
                    <a:pt x="4" y="24"/>
                  </a:cubicBezTo>
                  <a:cubicBezTo>
                    <a:pt x="2" y="23"/>
                    <a:pt x="1" y="23"/>
                    <a:pt x="0" y="22"/>
                  </a:cubicBezTo>
                  <a:moveTo>
                    <a:pt x="73" y="0"/>
                  </a:moveTo>
                  <a:cubicBezTo>
                    <a:pt x="27" y="0"/>
                    <a:pt x="27" y="0"/>
                    <a:pt x="27" y="0"/>
                  </a:cubicBezTo>
                  <a:cubicBezTo>
                    <a:pt x="14" y="0"/>
                    <a:pt x="3" y="9"/>
                    <a:pt x="0" y="21"/>
                  </a:cubicBezTo>
                  <a:cubicBezTo>
                    <a:pt x="1" y="20"/>
                    <a:pt x="3" y="20"/>
                    <a:pt x="5" y="20"/>
                  </a:cubicBezTo>
                  <a:cubicBezTo>
                    <a:pt x="6" y="16"/>
                    <a:pt x="8" y="13"/>
                    <a:pt x="10" y="11"/>
                  </a:cubicBezTo>
                  <a:cubicBezTo>
                    <a:pt x="15" y="6"/>
                    <a:pt x="20" y="4"/>
                    <a:pt x="27" y="4"/>
                  </a:cubicBezTo>
                  <a:cubicBezTo>
                    <a:pt x="73" y="4"/>
                    <a:pt x="73" y="4"/>
                    <a:pt x="73" y="4"/>
                  </a:cubicBezTo>
                  <a:cubicBezTo>
                    <a:pt x="73" y="0"/>
                    <a:pt x="73" y="0"/>
                    <a:pt x="73"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2" name="Freeform 185"/>
            <p:cNvSpPr/>
            <p:nvPr userDrawn="1"/>
          </p:nvSpPr>
          <p:spPr bwMode="auto">
            <a:xfrm>
              <a:off x="5249378" y="4226762"/>
              <a:ext cx="342226" cy="274113"/>
            </a:xfrm>
            <a:custGeom>
              <a:avLst/>
              <a:gdLst>
                <a:gd name="T0" fmla="*/ 79 w 132"/>
                <a:gd name="T1" fmla="*/ 0 h 106"/>
                <a:gd name="T2" fmla="*/ 74 w 132"/>
                <a:gd name="T3" fmla="*/ 1 h 106"/>
                <a:gd name="T4" fmla="*/ 127 w 132"/>
                <a:gd name="T5" fmla="*/ 102 h 106"/>
                <a:gd name="T6" fmla="*/ 6 w 132"/>
                <a:gd name="T7" fmla="*/ 102 h 106"/>
                <a:gd name="T8" fmla="*/ 57 w 132"/>
                <a:gd name="T9" fmla="*/ 3 h 106"/>
                <a:gd name="T10" fmla="*/ 52 w 132"/>
                <a:gd name="T11" fmla="*/ 4 h 106"/>
                <a:gd name="T12" fmla="*/ 1 w 132"/>
                <a:gd name="T13" fmla="*/ 103 h 106"/>
                <a:gd name="T14" fmla="*/ 1 w 132"/>
                <a:gd name="T15" fmla="*/ 105 h 106"/>
                <a:gd name="T16" fmla="*/ 2 w 132"/>
                <a:gd name="T17" fmla="*/ 106 h 106"/>
                <a:gd name="T18" fmla="*/ 130 w 132"/>
                <a:gd name="T19" fmla="*/ 106 h 106"/>
                <a:gd name="T20" fmla="*/ 132 w 132"/>
                <a:gd name="T21" fmla="*/ 105 h 106"/>
                <a:gd name="T22" fmla="*/ 132 w 132"/>
                <a:gd name="T23" fmla="*/ 103 h 106"/>
                <a:gd name="T24" fmla="*/ 79 w 132"/>
                <a:gd name="T2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06">
                  <a:moveTo>
                    <a:pt x="79" y="0"/>
                  </a:moveTo>
                  <a:cubicBezTo>
                    <a:pt x="77" y="0"/>
                    <a:pt x="76" y="0"/>
                    <a:pt x="74" y="1"/>
                  </a:cubicBezTo>
                  <a:cubicBezTo>
                    <a:pt x="127" y="102"/>
                    <a:pt x="127" y="102"/>
                    <a:pt x="127" y="102"/>
                  </a:cubicBezTo>
                  <a:cubicBezTo>
                    <a:pt x="6" y="102"/>
                    <a:pt x="6" y="102"/>
                    <a:pt x="6" y="102"/>
                  </a:cubicBezTo>
                  <a:cubicBezTo>
                    <a:pt x="57" y="3"/>
                    <a:pt x="57" y="3"/>
                    <a:pt x="57" y="3"/>
                  </a:cubicBezTo>
                  <a:cubicBezTo>
                    <a:pt x="55" y="4"/>
                    <a:pt x="54" y="4"/>
                    <a:pt x="52" y="4"/>
                  </a:cubicBezTo>
                  <a:cubicBezTo>
                    <a:pt x="1" y="103"/>
                    <a:pt x="1" y="103"/>
                    <a:pt x="1" y="103"/>
                  </a:cubicBezTo>
                  <a:cubicBezTo>
                    <a:pt x="0" y="104"/>
                    <a:pt x="0" y="105"/>
                    <a:pt x="1" y="105"/>
                  </a:cubicBezTo>
                  <a:cubicBezTo>
                    <a:pt x="1" y="106"/>
                    <a:pt x="2" y="106"/>
                    <a:pt x="2" y="106"/>
                  </a:cubicBezTo>
                  <a:cubicBezTo>
                    <a:pt x="130" y="106"/>
                    <a:pt x="130" y="106"/>
                    <a:pt x="130" y="106"/>
                  </a:cubicBezTo>
                  <a:cubicBezTo>
                    <a:pt x="131" y="106"/>
                    <a:pt x="132" y="106"/>
                    <a:pt x="132" y="105"/>
                  </a:cubicBezTo>
                  <a:cubicBezTo>
                    <a:pt x="132" y="105"/>
                    <a:pt x="132" y="104"/>
                    <a:pt x="132" y="103"/>
                  </a:cubicBezTo>
                  <a:cubicBezTo>
                    <a:pt x="79" y="0"/>
                    <a:pt x="79" y="0"/>
                    <a:pt x="79"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3" name="Rectangle 196"/>
            <p:cNvSpPr>
              <a:spLocks noChangeArrowheads="1"/>
            </p:cNvSpPr>
            <p:nvPr userDrawn="1"/>
          </p:nvSpPr>
          <p:spPr bwMode="auto">
            <a:xfrm>
              <a:off x="2489975" y="2151811"/>
              <a:ext cx="2834161" cy="25201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64" name="Freeform 195"/>
            <p:cNvSpPr/>
            <p:nvPr userDrawn="1"/>
          </p:nvSpPr>
          <p:spPr bwMode="auto">
            <a:xfrm>
              <a:off x="5262669" y="4014116"/>
              <a:ext cx="304017" cy="232581"/>
            </a:xfrm>
            <a:custGeom>
              <a:avLst/>
              <a:gdLst>
                <a:gd name="T0" fmla="*/ 24 w 117"/>
                <a:gd name="T1" fmla="*/ 0 h 90"/>
                <a:gd name="T2" fmla="*/ 0 w 117"/>
                <a:gd name="T3" fmla="*/ 4 h 90"/>
                <a:gd name="T4" fmla="*/ 0 w 117"/>
                <a:gd name="T5" fmla="*/ 5 h 90"/>
                <a:gd name="T6" fmla="*/ 5 w 117"/>
                <a:gd name="T7" fmla="*/ 43 h 90"/>
                <a:gd name="T8" fmla="*/ 11 w 117"/>
                <a:gd name="T9" fmla="*/ 90 h 90"/>
                <a:gd name="T10" fmla="*/ 47 w 117"/>
                <a:gd name="T11" fmla="*/ 86 h 90"/>
                <a:gd name="T12" fmla="*/ 52 w 117"/>
                <a:gd name="T13" fmla="*/ 85 h 90"/>
                <a:gd name="T14" fmla="*/ 69 w 117"/>
                <a:gd name="T15" fmla="*/ 83 h 90"/>
                <a:gd name="T16" fmla="*/ 74 w 117"/>
                <a:gd name="T17" fmla="*/ 82 h 90"/>
                <a:gd name="T18" fmla="*/ 117 w 117"/>
                <a:gd name="T19" fmla="*/ 73 h 90"/>
                <a:gd name="T20" fmla="*/ 24 w 117"/>
                <a:gd name="T21" fmla="*/ 18 h 90"/>
                <a:gd name="T22" fmla="*/ 24 w 117"/>
                <a:gd name="T2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90">
                  <a:moveTo>
                    <a:pt x="24" y="0"/>
                  </a:moveTo>
                  <a:cubicBezTo>
                    <a:pt x="16" y="2"/>
                    <a:pt x="8" y="3"/>
                    <a:pt x="0" y="4"/>
                  </a:cubicBezTo>
                  <a:cubicBezTo>
                    <a:pt x="0" y="5"/>
                    <a:pt x="0" y="5"/>
                    <a:pt x="0" y="5"/>
                  </a:cubicBezTo>
                  <a:cubicBezTo>
                    <a:pt x="5" y="43"/>
                    <a:pt x="5" y="43"/>
                    <a:pt x="5" y="43"/>
                  </a:cubicBezTo>
                  <a:cubicBezTo>
                    <a:pt x="11" y="90"/>
                    <a:pt x="11" y="90"/>
                    <a:pt x="11" y="90"/>
                  </a:cubicBezTo>
                  <a:cubicBezTo>
                    <a:pt x="11" y="90"/>
                    <a:pt x="25" y="89"/>
                    <a:pt x="47" y="86"/>
                  </a:cubicBezTo>
                  <a:cubicBezTo>
                    <a:pt x="49" y="86"/>
                    <a:pt x="50" y="86"/>
                    <a:pt x="52" y="85"/>
                  </a:cubicBezTo>
                  <a:cubicBezTo>
                    <a:pt x="57" y="85"/>
                    <a:pt x="63" y="84"/>
                    <a:pt x="69" y="83"/>
                  </a:cubicBezTo>
                  <a:cubicBezTo>
                    <a:pt x="71" y="82"/>
                    <a:pt x="72" y="82"/>
                    <a:pt x="74" y="82"/>
                  </a:cubicBezTo>
                  <a:cubicBezTo>
                    <a:pt x="87" y="80"/>
                    <a:pt x="102" y="77"/>
                    <a:pt x="117" y="73"/>
                  </a:cubicBezTo>
                  <a:cubicBezTo>
                    <a:pt x="93" y="46"/>
                    <a:pt x="61" y="27"/>
                    <a:pt x="24" y="18"/>
                  </a:cubicBezTo>
                  <a:cubicBezTo>
                    <a:pt x="24" y="0"/>
                    <a:pt x="24" y="0"/>
                    <a:pt x="24" y="0"/>
                  </a:cubicBezTo>
                </a:path>
              </a:pathLst>
            </a:custGeom>
            <a:solidFill>
              <a:srgbClr val="BE46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5" name="Freeform 198"/>
            <p:cNvSpPr/>
            <p:nvPr userDrawn="1"/>
          </p:nvSpPr>
          <p:spPr bwMode="auto">
            <a:xfrm>
              <a:off x="2619555" y="2281391"/>
              <a:ext cx="2575000" cy="2261016"/>
            </a:xfrm>
            <a:custGeom>
              <a:avLst/>
              <a:gdLst>
                <a:gd name="T0" fmla="*/ 2 w 992"/>
                <a:gd name="T1" fmla="*/ 872 h 872"/>
                <a:gd name="T2" fmla="*/ 0 w 992"/>
                <a:gd name="T3" fmla="*/ 870 h 872"/>
                <a:gd name="T4" fmla="*/ 0 w 992"/>
                <a:gd name="T5" fmla="*/ 2 h 872"/>
                <a:gd name="T6" fmla="*/ 2 w 992"/>
                <a:gd name="T7" fmla="*/ 0 h 872"/>
                <a:gd name="T8" fmla="*/ 990 w 992"/>
                <a:gd name="T9" fmla="*/ 0 h 872"/>
                <a:gd name="T10" fmla="*/ 992 w 992"/>
                <a:gd name="T11" fmla="*/ 2 h 872"/>
                <a:gd name="T12" fmla="*/ 992 w 992"/>
                <a:gd name="T13" fmla="*/ 870 h 872"/>
                <a:gd name="T14" fmla="*/ 990 w 992"/>
                <a:gd name="T15" fmla="*/ 872 h 872"/>
                <a:gd name="T16" fmla="*/ 2 w 992"/>
                <a:gd name="T17" fmla="*/ 87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2" h="872">
                  <a:moveTo>
                    <a:pt x="2" y="872"/>
                  </a:moveTo>
                  <a:cubicBezTo>
                    <a:pt x="1" y="872"/>
                    <a:pt x="0" y="871"/>
                    <a:pt x="0" y="870"/>
                  </a:cubicBezTo>
                  <a:cubicBezTo>
                    <a:pt x="0" y="2"/>
                    <a:pt x="0" y="2"/>
                    <a:pt x="0" y="2"/>
                  </a:cubicBezTo>
                  <a:cubicBezTo>
                    <a:pt x="0" y="1"/>
                    <a:pt x="1" y="0"/>
                    <a:pt x="2" y="0"/>
                  </a:cubicBezTo>
                  <a:cubicBezTo>
                    <a:pt x="990" y="0"/>
                    <a:pt x="990" y="0"/>
                    <a:pt x="990" y="0"/>
                  </a:cubicBezTo>
                  <a:cubicBezTo>
                    <a:pt x="991" y="0"/>
                    <a:pt x="992" y="1"/>
                    <a:pt x="992" y="2"/>
                  </a:cubicBezTo>
                  <a:cubicBezTo>
                    <a:pt x="992" y="870"/>
                    <a:pt x="992" y="870"/>
                    <a:pt x="992" y="870"/>
                  </a:cubicBezTo>
                  <a:cubicBezTo>
                    <a:pt x="992" y="871"/>
                    <a:pt x="991" y="872"/>
                    <a:pt x="990" y="872"/>
                  </a:cubicBezTo>
                  <a:lnTo>
                    <a:pt x="2" y="872"/>
                  </a:lnTo>
                  <a:close/>
                </a:path>
              </a:pathLst>
            </a:custGeom>
            <a:solidFill>
              <a:srgbClr val="97D3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6" name="Freeform 72"/>
            <p:cNvSpPr/>
            <p:nvPr userDrawn="1"/>
          </p:nvSpPr>
          <p:spPr bwMode="auto">
            <a:xfrm>
              <a:off x="5033410" y="1947472"/>
              <a:ext cx="59806" cy="59806"/>
            </a:xfrm>
            <a:custGeom>
              <a:avLst/>
              <a:gdLst>
                <a:gd name="T0" fmla="*/ 21 w 23"/>
                <a:gd name="T1" fmla="*/ 12 h 23"/>
                <a:gd name="T2" fmla="*/ 19 w 23"/>
                <a:gd name="T3" fmla="*/ 12 h 23"/>
                <a:gd name="T4" fmla="*/ 11 w 23"/>
                <a:gd name="T5" fmla="*/ 19 h 23"/>
                <a:gd name="T6" fmla="*/ 4 w 23"/>
                <a:gd name="T7" fmla="*/ 12 h 23"/>
                <a:gd name="T8" fmla="*/ 11 w 23"/>
                <a:gd name="T9" fmla="*/ 4 h 23"/>
                <a:gd name="T10" fmla="*/ 19 w 23"/>
                <a:gd name="T11" fmla="*/ 12 h 23"/>
                <a:gd name="T12" fmla="*/ 21 w 23"/>
                <a:gd name="T13" fmla="*/ 12 h 23"/>
                <a:gd name="T14" fmla="*/ 23 w 23"/>
                <a:gd name="T15" fmla="*/ 12 h 23"/>
                <a:gd name="T16" fmla="*/ 11 w 23"/>
                <a:gd name="T17" fmla="*/ 0 h 23"/>
                <a:gd name="T18" fmla="*/ 0 w 23"/>
                <a:gd name="T19" fmla="*/ 12 h 23"/>
                <a:gd name="T20" fmla="*/ 11 w 23"/>
                <a:gd name="T21" fmla="*/ 23 h 23"/>
                <a:gd name="T22" fmla="*/ 23 w 23"/>
                <a:gd name="T23" fmla="*/ 12 h 23"/>
                <a:gd name="T24" fmla="*/ 21 w 23"/>
                <a:gd name="T2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21" y="12"/>
                  </a:moveTo>
                  <a:cubicBezTo>
                    <a:pt x="19" y="12"/>
                    <a:pt x="19" y="12"/>
                    <a:pt x="19" y="12"/>
                  </a:cubicBezTo>
                  <a:cubicBezTo>
                    <a:pt x="19" y="16"/>
                    <a:pt x="16" y="19"/>
                    <a:pt x="11" y="19"/>
                  </a:cubicBezTo>
                  <a:cubicBezTo>
                    <a:pt x="7" y="19"/>
                    <a:pt x="4" y="16"/>
                    <a:pt x="4" y="12"/>
                  </a:cubicBezTo>
                  <a:cubicBezTo>
                    <a:pt x="4" y="8"/>
                    <a:pt x="7" y="4"/>
                    <a:pt x="11" y="4"/>
                  </a:cubicBezTo>
                  <a:cubicBezTo>
                    <a:pt x="16" y="4"/>
                    <a:pt x="19" y="8"/>
                    <a:pt x="19" y="12"/>
                  </a:cubicBezTo>
                  <a:cubicBezTo>
                    <a:pt x="21" y="12"/>
                    <a:pt x="21" y="12"/>
                    <a:pt x="21" y="12"/>
                  </a:cubicBezTo>
                  <a:cubicBezTo>
                    <a:pt x="23" y="12"/>
                    <a:pt x="23" y="12"/>
                    <a:pt x="23" y="12"/>
                  </a:cubicBezTo>
                  <a:cubicBezTo>
                    <a:pt x="23" y="5"/>
                    <a:pt x="18" y="0"/>
                    <a:pt x="11" y="0"/>
                  </a:cubicBezTo>
                  <a:cubicBezTo>
                    <a:pt x="5" y="0"/>
                    <a:pt x="0" y="5"/>
                    <a:pt x="0" y="12"/>
                  </a:cubicBezTo>
                  <a:cubicBezTo>
                    <a:pt x="0" y="18"/>
                    <a:pt x="5" y="23"/>
                    <a:pt x="11" y="23"/>
                  </a:cubicBezTo>
                  <a:cubicBezTo>
                    <a:pt x="18" y="23"/>
                    <a:pt x="23" y="18"/>
                    <a:pt x="23" y="12"/>
                  </a:cubicBezTo>
                  <a:lnTo>
                    <a:pt x="21" y="12"/>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7" name="Freeform 150"/>
            <p:cNvSpPr/>
            <p:nvPr userDrawn="1"/>
          </p:nvSpPr>
          <p:spPr bwMode="auto">
            <a:xfrm>
              <a:off x="5096540" y="4027407"/>
              <a:ext cx="189387" cy="98017"/>
            </a:xfrm>
            <a:custGeom>
              <a:avLst/>
              <a:gdLst>
                <a:gd name="T0" fmla="*/ 69 w 73"/>
                <a:gd name="T1" fmla="*/ 0 h 38"/>
                <a:gd name="T2" fmla="*/ 42 w 73"/>
                <a:gd name="T3" fmla="*/ 0 h 38"/>
                <a:gd name="T4" fmla="*/ 14 w 73"/>
                <a:gd name="T5" fmla="*/ 1 h 38"/>
                <a:gd name="T6" fmla="*/ 26 w 73"/>
                <a:gd name="T7" fmla="*/ 7 h 38"/>
                <a:gd name="T8" fmla="*/ 2 w 73"/>
                <a:gd name="T9" fmla="*/ 11 h 38"/>
                <a:gd name="T10" fmla="*/ 24 w 73"/>
                <a:gd name="T11" fmla="*/ 14 h 38"/>
                <a:gd name="T12" fmla="*/ 0 w 73"/>
                <a:gd name="T13" fmla="*/ 20 h 38"/>
                <a:gd name="T14" fmla="*/ 26 w 73"/>
                <a:gd name="T15" fmla="*/ 22 h 38"/>
                <a:gd name="T16" fmla="*/ 6 w 73"/>
                <a:gd name="T17" fmla="*/ 27 h 38"/>
                <a:gd name="T18" fmla="*/ 29 w 73"/>
                <a:gd name="T19" fmla="*/ 30 h 38"/>
                <a:gd name="T20" fmla="*/ 12 w 73"/>
                <a:gd name="T21" fmla="*/ 34 h 38"/>
                <a:gd name="T22" fmla="*/ 73 w 73"/>
                <a:gd name="T23" fmla="*/ 38 h 38"/>
                <a:gd name="T24" fmla="*/ 69 w 73"/>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38">
                  <a:moveTo>
                    <a:pt x="69" y="0"/>
                  </a:moveTo>
                  <a:cubicBezTo>
                    <a:pt x="63" y="0"/>
                    <a:pt x="52" y="0"/>
                    <a:pt x="42" y="0"/>
                  </a:cubicBezTo>
                  <a:cubicBezTo>
                    <a:pt x="28" y="0"/>
                    <a:pt x="15" y="0"/>
                    <a:pt x="14" y="1"/>
                  </a:cubicBezTo>
                  <a:cubicBezTo>
                    <a:pt x="13" y="4"/>
                    <a:pt x="27" y="5"/>
                    <a:pt x="26" y="7"/>
                  </a:cubicBezTo>
                  <a:cubicBezTo>
                    <a:pt x="25" y="9"/>
                    <a:pt x="3" y="8"/>
                    <a:pt x="2" y="11"/>
                  </a:cubicBezTo>
                  <a:cubicBezTo>
                    <a:pt x="2" y="15"/>
                    <a:pt x="24" y="14"/>
                    <a:pt x="24" y="14"/>
                  </a:cubicBezTo>
                  <a:cubicBezTo>
                    <a:pt x="24" y="14"/>
                    <a:pt x="0" y="16"/>
                    <a:pt x="0" y="20"/>
                  </a:cubicBezTo>
                  <a:cubicBezTo>
                    <a:pt x="1" y="22"/>
                    <a:pt x="19" y="22"/>
                    <a:pt x="26" y="22"/>
                  </a:cubicBezTo>
                  <a:cubicBezTo>
                    <a:pt x="19" y="23"/>
                    <a:pt x="6" y="25"/>
                    <a:pt x="6" y="27"/>
                  </a:cubicBezTo>
                  <a:cubicBezTo>
                    <a:pt x="7" y="30"/>
                    <a:pt x="19" y="30"/>
                    <a:pt x="29" y="30"/>
                  </a:cubicBezTo>
                  <a:cubicBezTo>
                    <a:pt x="23" y="30"/>
                    <a:pt x="12" y="31"/>
                    <a:pt x="12" y="34"/>
                  </a:cubicBezTo>
                  <a:cubicBezTo>
                    <a:pt x="12" y="36"/>
                    <a:pt x="43" y="38"/>
                    <a:pt x="73" y="38"/>
                  </a:cubicBezTo>
                  <a:cubicBezTo>
                    <a:pt x="69" y="0"/>
                    <a:pt x="69" y="0"/>
                    <a:pt x="69" y="0"/>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8" name="Freeform 153"/>
            <p:cNvSpPr>
              <a:spLocks noEditPoints="1"/>
            </p:cNvSpPr>
            <p:nvPr userDrawn="1"/>
          </p:nvSpPr>
          <p:spPr bwMode="auto">
            <a:xfrm>
              <a:off x="2863766" y="2239859"/>
              <a:ext cx="21597" cy="46516"/>
            </a:xfrm>
            <a:custGeom>
              <a:avLst/>
              <a:gdLst>
                <a:gd name="T0" fmla="*/ 2 w 8"/>
                <a:gd name="T1" fmla="*/ 10 h 18"/>
                <a:gd name="T2" fmla="*/ 0 w 8"/>
                <a:gd name="T3" fmla="*/ 18 h 18"/>
                <a:gd name="T4" fmla="*/ 4 w 8"/>
                <a:gd name="T5" fmla="*/ 18 h 18"/>
                <a:gd name="T6" fmla="*/ 5 w 8"/>
                <a:gd name="T7" fmla="*/ 11 h 18"/>
                <a:gd name="T8" fmla="*/ 2 w 8"/>
                <a:gd name="T9" fmla="*/ 10 h 18"/>
                <a:gd name="T10" fmla="*/ 8 w 8"/>
                <a:gd name="T11" fmla="*/ 0 h 18"/>
                <a:gd name="T12" fmla="*/ 4 w 8"/>
                <a:gd name="T13" fmla="*/ 0 h 18"/>
                <a:gd name="T14" fmla="*/ 3 w 8"/>
                <a:gd name="T15" fmla="*/ 2 h 18"/>
                <a:gd name="T16" fmla="*/ 7 w 8"/>
                <a:gd name="T17" fmla="*/ 3 h 18"/>
                <a:gd name="T18" fmla="*/ 8 w 8"/>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2" y="10"/>
                  </a:moveTo>
                  <a:cubicBezTo>
                    <a:pt x="1" y="13"/>
                    <a:pt x="1" y="16"/>
                    <a:pt x="0" y="18"/>
                  </a:cubicBezTo>
                  <a:cubicBezTo>
                    <a:pt x="4" y="18"/>
                    <a:pt x="4" y="18"/>
                    <a:pt x="4" y="18"/>
                  </a:cubicBezTo>
                  <a:cubicBezTo>
                    <a:pt x="5" y="16"/>
                    <a:pt x="5" y="14"/>
                    <a:pt x="5" y="11"/>
                  </a:cubicBezTo>
                  <a:cubicBezTo>
                    <a:pt x="2" y="10"/>
                    <a:pt x="2" y="10"/>
                    <a:pt x="2" y="10"/>
                  </a:cubicBezTo>
                  <a:moveTo>
                    <a:pt x="8" y="0"/>
                  </a:moveTo>
                  <a:cubicBezTo>
                    <a:pt x="4" y="0"/>
                    <a:pt x="4" y="0"/>
                    <a:pt x="4" y="0"/>
                  </a:cubicBezTo>
                  <a:cubicBezTo>
                    <a:pt x="4" y="1"/>
                    <a:pt x="3" y="2"/>
                    <a:pt x="3" y="2"/>
                  </a:cubicBezTo>
                  <a:cubicBezTo>
                    <a:pt x="7" y="3"/>
                    <a:pt x="7" y="3"/>
                    <a:pt x="7" y="3"/>
                  </a:cubicBezTo>
                  <a:cubicBezTo>
                    <a:pt x="7" y="2"/>
                    <a:pt x="8" y="1"/>
                    <a:pt x="8" y="0"/>
                  </a:cubicBezTo>
                </a:path>
              </a:pathLst>
            </a:custGeom>
            <a:solidFill>
              <a:srgbClr val="88B0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9" name="Freeform 163"/>
            <p:cNvSpPr>
              <a:spLocks noEditPoints="1"/>
            </p:cNvSpPr>
            <p:nvPr userDrawn="1"/>
          </p:nvSpPr>
          <p:spPr bwMode="auto">
            <a:xfrm>
              <a:off x="3033217" y="3088778"/>
              <a:ext cx="697742" cy="694419"/>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4"/>
                    <a:pt x="4" y="248"/>
                    <a:pt x="4" y="241"/>
                  </a:cubicBezTo>
                  <a:cubicBezTo>
                    <a:pt x="4" y="27"/>
                    <a:pt x="4" y="27"/>
                    <a:pt x="4" y="27"/>
                  </a:cubicBezTo>
                  <a:cubicBezTo>
                    <a:pt x="4" y="21"/>
                    <a:pt x="7" y="15"/>
                    <a:pt x="11" y="11"/>
                  </a:cubicBezTo>
                  <a:cubicBezTo>
                    <a:pt x="15" y="7"/>
                    <a:pt x="21" y="4"/>
                    <a:pt x="27" y="4"/>
                  </a:cubicBezTo>
                  <a:cubicBezTo>
                    <a:pt x="242" y="4"/>
                    <a:pt x="242" y="4"/>
                    <a:pt x="242" y="4"/>
                  </a:cubicBezTo>
                  <a:cubicBezTo>
                    <a:pt x="248" y="4"/>
                    <a:pt x="254" y="7"/>
                    <a:pt x="258" y="11"/>
                  </a:cubicBezTo>
                  <a:cubicBezTo>
                    <a:pt x="262" y="15"/>
                    <a:pt x="265" y="21"/>
                    <a:pt x="265" y="27"/>
                  </a:cubicBezTo>
                  <a:cubicBezTo>
                    <a:pt x="265" y="241"/>
                    <a:pt x="265" y="241"/>
                    <a:pt x="265" y="241"/>
                  </a:cubicBezTo>
                  <a:cubicBezTo>
                    <a:pt x="265" y="248"/>
                    <a:pt x="262" y="254"/>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3" y="0"/>
                    <a:pt x="0" y="12"/>
                    <a:pt x="0" y="27"/>
                  </a:cubicBezTo>
                  <a:cubicBezTo>
                    <a:pt x="0" y="241"/>
                    <a:pt x="0" y="241"/>
                    <a:pt x="0" y="241"/>
                  </a:cubicBezTo>
                  <a:cubicBezTo>
                    <a:pt x="0" y="256"/>
                    <a:pt x="13" y="268"/>
                    <a:pt x="27" y="268"/>
                  </a:cubicBezTo>
                  <a:cubicBezTo>
                    <a:pt x="242" y="268"/>
                    <a:pt x="242" y="268"/>
                    <a:pt x="242" y="268"/>
                  </a:cubicBezTo>
                  <a:cubicBezTo>
                    <a:pt x="257" y="268"/>
                    <a:pt x="269" y="256"/>
                    <a:pt x="269" y="241"/>
                  </a:cubicBezTo>
                  <a:cubicBezTo>
                    <a:pt x="269" y="27"/>
                    <a:pt x="269" y="27"/>
                    <a:pt x="269" y="27"/>
                  </a:cubicBezTo>
                  <a:cubicBezTo>
                    <a:pt x="269" y="12"/>
                    <a:pt x="257"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0" name="Freeform 164"/>
            <p:cNvSpPr>
              <a:spLocks noEditPoints="1"/>
            </p:cNvSpPr>
            <p:nvPr userDrawn="1"/>
          </p:nvSpPr>
          <p:spPr bwMode="auto">
            <a:xfrm>
              <a:off x="3149507" y="3284811"/>
              <a:ext cx="342226" cy="330597"/>
            </a:xfrm>
            <a:custGeom>
              <a:avLst/>
              <a:gdLst>
                <a:gd name="T0" fmla="*/ 6 w 132"/>
                <a:gd name="T1" fmla="*/ 123 h 127"/>
                <a:gd name="T2" fmla="*/ 66 w 132"/>
                <a:gd name="T3" fmla="*/ 6 h 127"/>
                <a:gd name="T4" fmla="*/ 127 w 132"/>
                <a:gd name="T5" fmla="*/ 123 h 127"/>
                <a:gd name="T6" fmla="*/ 6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1 w 132"/>
                <a:gd name="T23" fmla="*/ 126 h 127"/>
                <a:gd name="T24" fmla="*/ 2 w 132"/>
                <a:gd name="T25" fmla="*/ 127 h 127"/>
                <a:gd name="T26" fmla="*/ 130 w 132"/>
                <a:gd name="T27" fmla="*/ 127 h 127"/>
                <a:gd name="T28" fmla="*/ 132 w 132"/>
                <a:gd name="T29" fmla="*/ 126 h 127"/>
                <a:gd name="T30" fmla="*/ 132 w 132"/>
                <a:gd name="T31" fmla="*/ 124 h 127"/>
                <a:gd name="T32" fmla="*/ 68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6" y="123"/>
                  </a:moveTo>
                  <a:cubicBezTo>
                    <a:pt x="66" y="6"/>
                    <a:pt x="66" y="6"/>
                    <a:pt x="66" y="6"/>
                  </a:cubicBezTo>
                  <a:cubicBezTo>
                    <a:pt x="127" y="123"/>
                    <a:pt x="127" y="123"/>
                    <a:pt x="127" y="123"/>
                  </a:cubicBezTo>
                  <a:cubicBezTo>
                    <a:pt x="6" y="123"/>
                    <a:pt x="6" y="123"/>
                    <a:pt x="6" y="123"/>
                  </a:cubicBezTo>
                  <a:moveTo>
                    <a:pt x="64" y="3"/>
                  </a:moveTo>
                  <a:cubicBezTo>
                    <a:pt x="66" y="2"/>
                    <a:pt x="66" y="2"/>
                    <a:pt x="66" y="2"/>
                  </a:cubicBezTo>
                  <a:cubicBezTo>
                    <a:pt x="64" y="3"/>
                    <a:pt x="64" y="3"/>
                    <a:pt x="64" y="3"/>
                  </a:cubicBezTo>
                  <a:moveTo>
                    <a:pt x="66" y="0"/>
                  </a:moveTo>
                  <a:cubicBezTo>
                    <a:pt x="65" y="0"/>
                    <a:pt x="65" y="0"/>
                    <a:pt x="64" y="1"/>
                  </a:cubicBezTo>
                  <a:cubicBezTo>
                    <a:pt x="64" y="1"/>
                    <a:pt x="64" y="1"/>
                    <a:pt x="64" y="1"/>
                  </a:cubicBezTo>
                  <a:cubicBezTo>
                    <a:pt x="0" y="124"/>
                    <a:pt x="0" y="124"/>
                    <a:pt x="0" y="124"/>
                  </a:cubicBezTo>
                  <a:cubicBezTo>
                    <a:pt x="0" y="125"/>
                    <a:pt x="0" y="126"/>
                    <a:pt x="1" y="126"/>
                  </a:cubicBezTo>
                  <a:cubicBezTo>
                    <a:pt x="1" y="127"/>
                    <a:pt x="2" y="127"/>
                    <a:pt x="2" y="127"/>
                  </a:cubicBezTo>
                  <a:cubicBezTo>
                    <a:pt x="130" y="127"/>
                    <a:pt x="130" y="127"/>
                    <a:pt x="130" y="127"/>
                  </a:cubicBezTo>
                  <a:cubicBezTo>
                    <a:pt x="131" y="127"/>
                    <a:pt x="131" y="127"/>
                    <a:pt x="132" y="126"/>
                  </a:cubicBezTo>
                  <a:cubicBezTo>
                    <a:pt x="132" y="126"/>
                    <a:pt x="132" y="125"/>
                    <a:pt x="132" y="124"/>
                  </a:cubicBezTo>
                  <a:cubicBezTo>
                    <a:pt x="68" y="1"/>
                    <a:pt x="68" y="1"/>
                    <a:pt x="68" y="1"/>
                  </a:cubicBezTo>
                  <a:cubicBezTo>
                    <a:pt x="68" y="0"/>
                    <a:pt x="67"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1" name="Freeform 165"/>
            <p:cNvSpPr>
              <a:spLocks noEditPoints="1"/>
            </p:cNvSpPr>
            <p:nvPr userDrawn="1"/>
          </p:nvSpPr>
          <p:spPr bwMode="auto">
            <a:xfrm>
              <a:off x="3453523" y="3389471"/>
              <a:ext cx="161146" cy="225935"/>
            </a:xfrm>
            <a:custGeom>
              <a:avLst/>
              <a:gdLst>
                <a:gd name="T0" fmla="*/ 31 w 62"/>
                <a:gd name="T1" fmla="*/ 83 h 87"/>
                <a:gd name="T2" fmla="*/ 4 w 62"/>
                <a:gd name="T3" fmla="*/ 32 h 87"/>
                <a:gd name="T4" fmla="*/ 17 w 62"/>
                <a:gd name="T5" fmla="*/ 7 h 87"/>
                <a:gd name="T6" fmla="*/ 57 w 62"/>
                <a:gd name="T7" fmla="*/ 83 h 87"/>
                <a:gd name="T8" fmla="*/ 31 w 62"/>
                <a:gd name="T9" fmla="*/ 83 h 87"/>
                <a:gd name="T10" fmla="*/ 16 w 62"/>
                <a:gd name="T11" fmla="*/ 3 h 87"/>
                <a:gd name="T12" fmla="*/ 17 w 62"/>
                <a:gd name="T13" fmla="*/ 2 h 87"/>
                <a:gd name="T14" fmla="*/ 16 w 62"/>
                <a:gd name="T15" fmla="*/ 3 h 87"/>
                <a:gd name="T16" fmla="*/ 17 w 62"/>
                <a:gd name="T17" fmla="*/ 0 h 87"/>
                <a:gd name="T18" fmla="*/ 16 w 62"/>
                <a:gd name="T19" fmla="*/ 1 h 87"/>
                <a:gd name="T20" fmla="*/ 16 w 62"/>
                <a:gd name="T21" fmla="*/ 1 h 87"/>
                <a:gd name="T22" fmla="*/ 0 w 62"/>
                <a:gd name="T23" fmla="*/ 31 h 87"/>
                <a:gd name="T24" fmla="*/ 0 w 62"/>
                <a:gd name="T25" fmla="*/ 33 h 87"/>
                <a:gd name="T26" fmla="*/ 28 w 62"/>
                <a:gd name="T27" fmla="*/ 86 h 87"/>
                <a:gd name="T28" fmla="*/ 29 w 62"/>
                <a:gd name="T29" fmla="*/ 87 h 87"/>
                <a:gd name="T30" fmla="*/ 60 w 62"/>
                <a:gd name="T31" fmla="*/ 87 h 87"/>
                <a:gd name="T32" fmla="*/ 62 w 62"/>
                <a:gd name="T33" fmla="*/ 86 h 87"/>
                <a:gd name="T34" fmla="*/ 62 w 62"/>
                <a:gd name="T35" fmla="*/ 84 h 87"/>
                <a:gd name="T36" fmla="*/ 19 w 62"/>
                <a:gd name="T37" fmla="*/ 1 h 87"/>
                <a:gd name="T38" fmla="*/ 17 w 62"/>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87">
                  <a:moveTo>
                    <a:pt x="31" y="83"/>
                  </a:moveTo>
                  <a:cubicBezTo>
                    <a:pt x="4" y="32"/>
                    <a:pt x="4" y="32"/>
                    <a:pt x="4" y="32"/>
                  </a:cubicBezTo>
                  <a:cubicBezTo>
                    <a:pt x="17" y="7"/>
                    <a:pt x="17" y="7"/>
                    <a:pt x="17" y="7"/>
                  </a:cubicBezTo>
                  <a:cubicBezTo>
                    <a:pt x="57" y="83"/>
                    <a:pt x="57" y="83"/>
                    <a:pt x="57" y="83"/>
                  </a:cubicBezTo>
                  <a:cubicBezTo>
                    <a:pt x="31" y="83"/>
                    <a:pt x="31" y="83"/>
                    <a:pt x="31" y="83"/>
                  </a:cubicBezTo>
                  <a:moveTo>
                    <a:pt x="16" y="3"/>
                  </a:moveTo>
                  <a:cubicBezTo>
                    <a:pt x="17" y="2"/>
                    <a:pt x="17" y="2"/>
                    <a:pt x="17" y="2"/>
                  </a:cubicBezTo>
                  <a:cubicBezTo>
                    <a:pt x="16" y="3"/>
                    <a:pt x="16" y="3"/>
                    <a:pt x="16" y="3"/>
                  </a:cubicBezTo>
                  <a:moveTo>
                    <a:pt x="17" y="0"/>
                  </a:move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29" y="87"/>
                  </a:cubicBezTo>
                  <a:cubicBezTo>
                    <a:pt x="60" y="87"/>
                    <a:pt x="60" y="87"/>
                    <a:pt x="60" y="87"/>
                  </a:cubicBezTo>
                  <a:cubicBezTo>
                    <a:pt x="61" y="87"/>
                    <a:pt x="62" y="87"/>
                    <a:pt x="62" y="86"/>
                  </a:cubicBezTo>
                  <a:cubicBezTo>
                    <a:pt x="62" y="86"/>
                    <a:pt x="62" y="85"/>
                    <a:pt x="62" y="84"/>
                  </a:cubicBezTo>
                  <a:cubicBezTo>
                    <a:pt x="19" y="1"/>
                    <a:pt x="19" y="1"/>
                    <a:pt x="19" y="1"/>
                  </a:cubicBezTo>
                  <a:cubicBezTo>
                    <a:pt x="19" y="1"/>
                    <a:pt x="18" y="0"/>
                    <a:pt x="1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2" name="Freeform 166"/>
            <p:cNvSpPr>
              <a:spLocks noEditPoints="1"/>
            </p:cNvSpPr>
            <p:nvPr userDrawn="1"/>
          </p:nvSpPr>
          <p:spPr bwMode="auto">
            <a:xfrm>
              <a:off x="3513329" y="3296439"/>
              <a:ext cx="78081" cy="79742"/>
            </a:xfrm>
            <a:custGeom>
              <a:avLst/>
              <a:gdLst>
                <a:gd name="T0" fmla="*/ 30 w 30"/>
                <a:gd name="T1" fmla="*/ 15 h 31"/>
                <a:gd name="T2" fmla="*/ 30 w 30"/>
                <a:gd name="T3" fmla="*/ 15 h 31"/>
                <a:gd name="T4" fmla="*/ 30 w 30"/>
                <a:gd name="T5" fmla="*/ 15 h 31"/>
                <a:gd name="T6" fmla="*/ 15 w 30"/>
                <a:gd name="T7" fmla="*/ 0 h 31"/>
                <a:gd name="T8" fmla="*/ 0 w 30"/>
                <a:gd name="T9" fmla="*/ 15 h 31"/>
                <a:gd name="T10" fmla="*/ 15 w 30"/>
                <a:gd name="T11" fmla="*/ 31 h 31"/>
                <a:gd name="T12" fmla="*/ 30 w 30"/>
                <a:gd name="T13" fmla="*/ 15 h 31"/>
                <a:gd name="T14" fmla="*/ 28 w 30"/>
                <a:gd name="T15" fmla="*/ 15 h 31"/>
                <a:gd name="T16" fmla="*/ 26 w 30"/>
                <a:gd name="T17" fmla="*/ 15 h 31"/>
                <a:gd name="T18" fmla="*/ 15 w 30"/>
                <a:gd name="T19" fmla="*/ 27 h 31"/>
                <a:gd name="T20" fmla="*/ 4 w 30"/>
                <a:gd name="T21" fmla="*/ 15 h 31"/>
                <a:gd name="T22" fmla="*/ 15 w 30"/>
                <a:gd name="T23" fmla="*/ 4 h 31"/>
                <a:gd name="T24" fmla="*/ 26 w 30"/>
                <a:gd name="T25" fmla="*/ 15 h 31"/>
                <a:gd name="T26" fmla="*/ 28 w 30"/>
                <a:gd name="T27" fmla="*/ 15 h 31"/>
                <a:gd name="T28" fmla="*/ 30 w 30"/>
                <a:gd name="T29" fmla="*/ 15 h 31"/>
                <a:gd name="T30" fmla="*/ 30 w 30"/>
                <a:gd name="T31" fmla="*/ 15 h 31"/>
                <a:gd name="T32" fmla="*/ 15 w 30"/>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1">
                  <a:moveTo>
                    <a:pt x="30" y="15"/>
                  </a:moveTo>
                  <a:cubicBezTo>
                    <a:pt x="30" y="15"/>
                    <a:pt x="30" y="15"/>
                    <a:pt x="30" y="15"/>
                  </a:cubicBezTo>
                  <a:cubicBezTo>
                    <a:pt x="30" y="15"/>
                    <a:pt x="30" y="15"/>
                    <a:pt x="30" y="15"/>
                  </a:cubicBezTo>
                  <a:moveTo>
                    <a:pt x="15" y="0"/>
                  </a:moveTo>
                  <a:cubicBezTo>
                    <a:pt x="7" y="0"/>
                    <a:pt x="0" y="7"/>
                    <a:pt x="0" y="15"/>
                  </a:cubicBezTo>
                  <a:cubicBezTo>
                    <a:pt x="0" y="24"/>
                    <a:pt x="7" y="31"/>
                    <a:pt x="15" y="31"/>
                  </a:cubicBezTo>
                  <a:cubicBezTo>
                    <a:pt x="24" y="31"/>
                    <a:pt x="30" y="24"/>
                    <a:pt x="30" y="15"/>
                  </a:cubicBezTo>
                  <a:cubicBezTo>
                    <a:pt x="28" y="15"/>
                    <a:pt x="28" y="15"/>
                    <a:pt x="28" y="15"/>
                  </a:cubicBezTo>
                  <a:cubicBezTo>
                    <a:pt x="26" y="15"/>
                    <a:pt x="26" y="15"/>
                    <a:pt x="26" y="15"/>
                  </a:cubicBezTo>
                  <a:cubicBezTo>
                    <a:pt x="26" y="22"/>
                    <a:pt x="21" y="27"/>
                    <a:pt x="15" y="27"/>
                  </a:cubicBezTo>
                  <a:cubicBezTo>
                    <a:pt x="9" y="27"/>
                    <a:pt x="4" y="22"/>
                    <a:pt x="4" y="15"/>
                  </a:cubicBezTo>
                  <a:cubicBezTo>
                    <a:pt x="4" y="9"/>
                    <a:pt x="9" y="4"/>
                    <a:pt x="15" y="4"/>
                  </a:cubicBezTo>
                  <a:cubicBezTo>
                    <a:pt x="21" y="4"/>
                    <a:pt x="26" y="9"/>
                    <a:pt x="26" y="15"/>
                  </a:cubicBezTo>
                  <a:cubicBezTo>
                    <a:pt x="28" y="15"/>
                    <a:pt x="28" y="15"/>
                    <a:pt x="28" y="15"/>
                  </a:cubicBezTo>
                  <a:cubicBezTo>
                    <a:pt x="30" y="15"/>
                    <a:pt x="30" y="15"/>
                    <a:pt x="30" y="15"/>
                  </a:cubicBezTo>
                  <a:cubicBezTo>
                    <a:pt x="30" y="15"/>
                    <a:pt x="30" y="15"/>
                    <a:pt x="30" y="15"/>
                  </a:cubicBezTo>
                  <a:cubicBezTo>
                    <a:pt x="30" y="7"/>
                    <a:pt x="24" y="0"/>
                    <a:pt x="15"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3" name="Freeform 167"/>
            <p:cNvSpPr>
              <a:spLocks noEditPoints="1"/>
            </p:cNvSpPr>
            <p:nvPr userDrawn="1"/>
          </p:nvSpPr>
          <p:spPr bwMode="auto">
            <a:xfrm>
              <a:off x="4084813" y="3088778"/>
              <a:ext cx="697742" cy="694419"/>
            </a:xfrm>
            <a:custGeom>
              <a:avLst/>
              <a:gdLst>
                <a:gd name="T0" fmla="*/ 27 w 269"/>
                <a:gd name="T1" fmla="*/ 264 h 268"/>
                <a:gd name="T2" fmla="*/ 11 w 269"/>
                <a:gd name="T3" fmla="*/ 258 h 268"/>
                <a:gd name="T4" fmla="*/ 4 w 269"/>
                <a:gd name="T5" fmla="*/ 241 h 268"/>
                <a:gd name="T6" fmla="*/ 4 w 269"/>
                <a:gd name="T7" fmla="*/ 27 h 268"/>
                <a:gd name="T8" fmla="*/ 11 w 269"/>
                <a:gd name="T9" fmla="*/ 11 h 268"/>
                <a:gd name="T10" fmla="*/ 27 w 269"/>
                <a:gd name="T11" fmla="*/ 4 h 268"/>
                <a:gd name="T12" fmla="*/ 242 w 269"/>
                <a:gd name="T13" fmla="*/ 4 h 268"/>
                <a:gd name="T14" fmla="*/ 258 w 269"/>
                <a:gd name="T15" fmla="*/ 11 h 268"/>
                <a:gd name="T16" fmla="*/ 265 w 269"/>
                <a:gd name="T17" fmla="*/ 27 h 268"/>
                <a:gd name="T18" fmla="*/ 265 w 269"/>
                <a:gd name="T19" fmla="*/ 241 h 268"/>
                <a:gd name="T20" fmla="*/ 258 w 269"/>
                <a:gd name="T21" fmla="*/ 258 h 268"/>
                <a:gd name="T22" fmla="*/ 242 w 269"/>
                <a:gd name="T23" fmla="*/ 264 h 268"/>
                <a:gd name="T24" fmla="*/ 242 w 269"/>
                <a:gd name="T25" fmla="*/ 264 h 268"/>
                <a:gd name="T26" fmla="*/ 27 w 269"/>
                <a:gd name="T27" fmla="*/ 264 h 268"/>
                <a:gd name="T28" fmla="*/ 242 w 269"/>
                <a:gd name="T29" fmla="*/ 0 h 268"/>
                <a:gd name="T30" fmla="*/ 27 w 269"/>
                <a:gd name="T31" fmla="*/ 0 h 268"/>
                <a:gd name="T32" fmla="*/ 0 w 269"/>
                <a:gd name="T33" fmla="*/ 27 h 268"/>
                <a:gd name="T34" fmla="*/ 0 w 269"/>
                <a:gd name="T35" fmla="*/ 241 h 268"/>
                <a:gd name="T36" fmla="*/ 27 w 269"/>
                <a:gd name="T37" fmla="*/ 268 h 268"/>
                <a:gd name="T38" fmla="*/ 242 w 269"/>
                <a:gd name="T39" fmla="*/ 268 h 268"/>
                <a:gd name="T40" fmla="*/ 269 w 269"/>
                <a:gd name="T41" fmla="*/ 241 h 268"/>
                <a:gd name="T42" fmla="*/ 269 w 269"/>
                <a:gd name="T43" fmla="*/ 27 h 268"/>
                <a:gd name="T44" fmla="*/ 242 w 269"/>
                <a:gd name="T4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268">
                  <a:moveTo>
                    <a:pt x="27" y="264"/>
                  </a:moveTo>
                  <a:cubicBezTo>
                    <a:pt x="21" y="264"/>
                    <a:pt x="15" y="262"/>
                    <a:pt x="11" y="258"/>
                  </a:cubicBezTo>
                  <a:cubicBezTo>
                    <a:pt x="7" y="254"/>
                    <a:pt x="4" y="248"/>
                    <a:pt x="4" y="241"/>
                  </a:cubicBezTo>
                  <a:cubicBezTo>
                    <a:pt x="4" y="27"/>
                    <a:pt x="4" y="27"/>
                    <a:pt x="4" y="27"/>
                  </a:cubicBezTo>
                  <a:cubicBezTo>
                    <a:pt x="4" y="21"/>
                    <a:pt x="7" y="15"/>
                    <a:pt x="11" y="11"/>
                  </a:cubicBezTo>
                  <a:cubicBezTo>
                    <a:pt x="15" y="7"/>
                    <a:pt x="21" y="4"/>
                    <a:pt x="27" y="4"/>
                  </a:cubicBezTo>
                  <a:cubicBezTo>
                    <a:pt x="242" y="4"/>
                    <a:pt x="242" y="4"/>
                    <a:pt x="242" y="4"/>
                  </a:cubicBezTo>
                  <a:cubicBezTo>
                    <a:pt x="248" y="4"/>
                    <a:pt x="254" y="7"/>
                    <a:pt x="258" y="11"/>
                  </a:cubicBezTo>
                  <a:cubicBezTo>
                    <a:pt x="262" y="15"/>
                    <a:pt x="265" y="21"/>
                    <a:pt x="265" y="27"/>
                  </a:cubicBezTo>
                  <a:cubicBezTo>
                    <a:pt x="265" y="241"/>
                    <a:pt x="265" y="241"/>
                    <a:pt x="265" y="241"/>
                  </a:cubicBezTo>
                  <a:cubicBezTo>
                    <a:pt x="265" y="248"/>
                    <a:pt x="262" y="254"/>
                    <a:pt x="258" y="258"/>
                  </a:cubicBezTo>
                  <a:cubicBezTo>
                    <a:pt x="254" y="262"/>
                    <a:pt x="248" y="264"/>
                    <a:pt x="242" y="264"/>
                  </a:cubicBezTo>
                  <a:cubicBezTo>
                    <a:pt x="242" y="264"/>
                    <a:pt x="242" y="264"/>
                    <a:pt x="242" y="264"/>
                  </a:cubicBezTo>
                  <a:cubicBezTo>
                    <a:pt x="27" y="264"/>
                    <a:pt x="27" y="264"/>
                    <a:pt x="27" y="264"/>
                  </a:cubicBezTo>
                  <a:moveTo>
                    <a:pt x="242" y="0"/>
                  </a:moveTo>
                  <a:cubicBezTo>
                    <a:pt x="27" y="0"/>
                    <a:pt x="27" y="0"/>
                    <a:pt x="27" y="0"/>
                  </a:cubicBezTo>
                  <a:cubicBezTo>
                    <a:pt x="12" y="0"/>
                    <a:pt x="0" y="12"/>
                    <a:pt x="0" y="27"/>
                  </a:cubicBezTo>
                  <a:cubicBezTo>
                    <a:pt x="0" y="241"/>
                    <a:pt x="0" y="241"/>
                    <a:pt x="0" y="241"/>
                  </a:cubicBezTo>
                  <a:cubicBezTo>
                    <a:pt x="0" y="256"/>
                    <a:pt x="12" y="268"/>
                    <a:pt x="27" y="268"/>
                  </a:cubicBezTo>
                  <a:cubicBezTo>
                    <a:pt x="242" y="268"/>
                    <a:pt x="242" y="268"/>
                    <a:pt x="242" y="268"/>
                  </a:cubicBezTo>
                  <a:cubicBezTo>
                    <a:pt x="256" y="268"/>
                    <a:pt x="269" y="256"/>
                    <a:pt x="269" y="241"/>
                  </a:cubicBezTo>
                  <a:cubicBezTo>
                    <a:pt x="269" y="27"/>
                    <a:pt x="269" y="27"/>
                    <a:pt x="269" y="27"/>
                  </a:cubicBezTo>
                  <a:cubicBezTo>
                    <a:pt x="269" y="12"/>
                    <a:pt x="256" y="0"/>
                    <a:pt x="242" y="0"/>
                  </a:cubicBezTo>
                </a:path>
              </a:pathLst>
            </a:custGeom>
            <a:solidFill>
              <a:srgbClr val="A6CC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4" name="Freeform 194"/>
            <p:cNvSpPr/>
            <p:nvPr userDrawn="1"/>
          </p:nvSpPr>
          <p:spPr bwMode="auto">
            <a:xfrm>
              <a:off x="5096540" y="4027407"/>
              <a:ext cx="179419" cy="98017"/>
            </a:xfrm>
            <a:custGeom>
              <a:avLst/>
              <a:gdLst>
                <a:gd name="T0" fmla="*/ 30 w 69"/>
                <a:gd name="T1" fmla="*/ 0 h 38"/>
                <a:gd name="T2" fmla="*/ 20 w 69"/>
                <a:gd name="T3" fmla="*/ 0 h 38"/>
                <a:gd name="T4" fmla="*/ 15 w 69"/>
                <a:gd name="T5" fmla="*/ 1 h 38"/>
                <a:gd name="T6" fmla="*/ 14 w 69"/>
                <a:gd name="T7" fmla="*/ 1 h 38"/>
                <a:gd name="T8" fmla="*/ 15 w 69"/>
                <a:gd name="T9" fmla="*/ 2 h 38"/>
                <a:gd name="T10" fmla="*/ 19 w 69"/>
                <a:gd name="T11" fmla="*/ 4 h 38"/>
                <a:gd name="T12" fmla="*/ 26 w 69"/>
                <a:gd name="T13" fmla="*/ 7 h 38"/>
                <a:gd name="T14" fmla="*/ 19 w 69"/>
                <a:gd name="T15" fmla="*/ 8 h 38"/>
                <a:gd name="T16" fmla="*/ 15 w 69"/>
                <a:gd name="T17" fmla="*/ 9 h 38"/>
                <a:gd name="T18" fmla="*/ 2 w 69"/>
                <a:gd name="T19" fmla="*/ 11 h 38"/>
                <a:gd name="T20" fmla="*/ 15 w 69"/>
                <a:gd name="T21" fmla="*/ 14 h 38"/>
                <a:gd name="T22" fmla="*/ 19 w 69"/>
                <a:gd name="T23" fmla="*/ 14 h 38"/>
                <a:gd name="T24" fmla="*/ 19 w 69"/>
                <a:gd name="T25" fmla="*/ 14 h 38"/>
                <a:gd name="T26" fmla="*/ 24 w 69"/>
                <a:gd name="T27" fmla="*/ 14 h 38"/>
                <a:gd name="T28" fmla="*/ 19 w 69"/>
                <a:gd name="T29" fmla="*/ 15 h 38"/>
                <a:gd name="T30" fmla="*/ 15 w 69"/>
                <a:gd name="T31" fmla="*/ 15 h 38"/>
                <a:gd name="T32" fmla="*/ 0 w 69"/>
                <a:gd name="T33" fmla="*/ 20 h 38"/>
                <a:gd name="T34" fmla="*/ 15 w 69"/>
                <a:gd name="T35" fmla="*/ 22 h 38"/>
                <a:gd name="T36" fmla="*/ 19 w 69"/>
                <a:gd name="T37" fmla="*/ 22 h 38"/>
                <a:gd name="T38" fmla="*/ 26 w 69"/>
                <a:gd name="T39" fmla="*/ 22 h 38"/>
                <a:gd name="T40" fmla="*/ 19 w 69"/>
                <a:gd name="T41" fmla="*/ 23 h 38"/>
                <a:gd name="T42" fmla="*/ 15 w 69"/>
                <a:gd name="T43" fmla="*/ 24 h 38"/>
                <a:gd name="T44" fmla="*/ 6 w 69"/>
                <a:gd name="T45" fmla="*/ 27 h 38"/>
                <a:gd name="T46" fmla="*/ 15 w 69"/>
                <a:gd name="T47" fmla="*/ 29 h 38"/>
                <a:gd name="T48" fmla="*/ 19 w 69"/>
                <a:gd name="T49" fmla="*/ 30 h 38"/>
                <a:gd name="T50" fmla="*/ 29 w 69"/>
                <a:gd name="T51" fmla="*/ 30 h 38"/>
                <a:gd name="T52" fmla="*/ 19 w 69"/>
                <a:gd name="T53" fmla="*/ 31 h 38"/>
                <a:gd name="T54" fmla="*/ 15 w 69"/>
                <a:gd name="T55" fmla="*/ 32 h 38"/>
                <a:gd name="T56" fmla="*/ 12 w 69"/>
                <a:gd name="T57" fmla="*/ 34 h 38"/>
                <a:gd name="T58" fmla="*/ 15 w 69"/>
                <a:gd name="T59" fmla="*/ 35 h 38"/>
                <a:gd name="T60" fmla="*/ 19 w 69"/>
                <a:gd name="T61" fmla="*/ 36 h 38"/>
                <a:gd name="T62" fmla="*/ 69 w 69"/>
                <a:gd name="T63" fmla="*/ 38 h 38"/>
                <a:gd name="T64" fmla="*/ 64 w 69"/>
                <a:gd name="T65" fmla="*/ 0 h 38"/>
                <a:gd name="T66" fmla="*/ 55 w 69"/>
                <a:gd name="T67" fmla="*/ 0 h 38"/>
                <a:gd name="T68" fmla="*/ 42 w 69"/>
                <a:gd name="T69" fmla="*/ 0 h 38"/>
                <a:gd name="T70" fmla="*/ 30 w 69"/>
                <a:gd name="T7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38">
                  <a:moveTo>
                    <a:pt x="30" y="0"/>
                  </a:moveTo>
                  <a:cubicBezTo>
                    <a:pt x="26" y="0"/>
                    <a:pt x="22" y="0"/>
                    <a:pt x="20" y="0"/>
                  </a:cubicBezTo>
                  <a:cubicBezTo>
                    <a:pt x="18" y="0"/>
                    <a:pt x="16" y="0"/>
                    <a:pt x="15" y="1"/>
                  </a:cubicBezTo>
                  <a:cubicBezTo>
                    <a:pt x="15" y="1"/>
                    <a:pt x="14" y="1"/>
                    <a:pt x="14" y="1"/>
                  </a:cubicBezTo>
                  <a:cubicBezTo>
                    <a:pt x="14" y="2"/>
                    <a:pt x="14" y="2"/>
                    <a:pt x="15" y="2"/>
                  </a:cubicBezTo>
                  <a:cubicBezTo>
                    <a:pt x="16" y="3"/>
                    <a:pt x="17" y="3"/>
                    <a:pt x="19" y="4"/>
                  </a:cubicBezTo>
                  <a:cubicBezTo>
                    <a:pt x="22" y="5"/>
                    <a:pt x="27" y="6"/>
                    <a:pt x="26" y="7"/>
                  </a:cubicBezTo>
                  <a:cubicBezTo>
                    <a:pt x="25" y="8"/>
                    <a:pt x="22" y="8"/>
                    <a:pt x="19" y="8"/>
                  </a:cubicBezTo>
                  <a:cubicBezTo>
                    <a:pt x="17" y="8"/>
                    <a:pt x="16" y="8"/>
                    <a:pt x="15" y="9"/>
                  </a:cubicBezTo>
                  <a:cubicBezTo>
                    <a:pt x="9" y="9"/>
                    <a:pt x="3" y="10"/>
                    <a:pt x="2" y="11"/>
                  </a:cubicBezTo>
                  <a:cubicBezTo>
                    <a:pt x="2" y="13"/>
                    <a:pt x="9" y="14"/>
                    <a:pt x="15" y="14"/>
                  </a:cubicBezTo>
                  <a:cubicBezTo>
                    <a:pt x="16" y="14"/>
                    <a:pt x="17" y="14"/>
                    <a:pt x="19" y="14"/>
                  </a:cubicBezTo>
                  <a:cubicBezTo>
                    <a:pt x="19" y="14"/>
                    <a:pt x="19" y="14"/>
                    <a:pt x="19" y="14"/>
                  </a:cubicBezTo>
                  <a:cubicBezTo>
                    <a:pt x="22" y="14"/>
                    <a:pt x="24" y="14"/>
                    <a:pt x="24" y="14"/>
                  </a:cubicBezTo>
                  <a:cubicBezTo>
                    <a:pt x="24" y="14"/>
                    <a:pt x="22" y="14"/>
                    <a:pt x="19" y="15"/>
                  </a:cubicBezTo>
                  <a:cubicBezTo>
                    <a:pt x="17" y="15"/>
                    <a:pt x="16" y="15"/>
                    <a:pt x="15" y="15"/>
                  </a:cubicBezTo>
                  <a:cubicBezTo>
                    <a:pt x="8" y="16"/>
                    <a:pt x="0" y="18"/>
                    <a:pt x="0" y="20"/>
                  </a:cubicBezTo>
                  <a:cubicBezTo>
                    <a:pt x="0" y="21"/>
                    <a:pt x="8" y="22"/>
                    <a:pt x="15" y="22"/>
                  </a:cubicBezTo>
                  <a:cubicBezTo>
                    <a:pt x="16" y="22"/>
                    <a:pt x="17" y="22"/>
                    <a:pt x="19" y="22"/>
                  </a:cubicBezTo>
                  <a:cubicBezTo>
                    <a:pt x="22" y="22"/>
                    <a:pt x="24" y="22"/>
                    <a:pt x="26" y="22"/>
                  </a:cubicBezTo>
                  <a:cubicBezTo>
                    <a:pt x="24" y="22"/>
                    <a:pt x="21" y="23"/>
                    <a:pt x="19" y="23"/>
                  </a:cubicBezTo>
                  <a:cubicBezTo>
                    <a:pt x="17" y="23"/>
                    <a:pt x="16" y="23"/>
                    <a:pt x="15" y="24"/>
                  </a:cubicBezTo>
                  <a:cubicBezTo>
                    <a:pt x="10" y="24"/>
                    <a:pt x="6" y="26"/>
                    <a:pt x="6" y="27"/>
                  </a:cubicBezTo>
                  <a:cubicBezTo>
                    <a:pt x="6" y="29"/>
                    <a:pt x="10" y="29"/>
                    <a:pt x="15" y="29"/>
                  </a:cubicBezTo>
                  <a:cubicBezTo>
                    <a:pt x="16" y="29"/>
                    <a:pt x="17" y="30"/>
                    <a:pt x="19" y="30"/>
                  </a:cubicBezTo>
                  <a:cubicBezTo>
                    <a:pt x="22" y="30"/>
                    <a:pt x="26" y="30"/>
                    <a:pt x="29" y="30"/>
                  </a:cubicBezTo>
                  <a:cubicBezTo>
                    <a:pt x="26" y="30"/>
                    <a:pt x="22" y="30"/>
                    <a:pt x="19" y="31"/>
                  </a:cubicBezTo>
                  <a:cubicBezTo>
                    <a:pt x="17" y="31"/>
                    <a:pt x="16" y="32"/>
                    <a:pt x="15" y="32"/>
                  </a:cubicBezTo>
                  <a:cubicBezTo>
                    <a:pt x="13" y="32"/>
                    <a:pt x="12" y="33"/>
                    <a:pt x="12" y="34"/>
                  </a:cubicBezTo>
                  <a:cubicBezTo>
                    <a:pt x="12" y="34"/>
                    <a:pt x="13" y="35"/>
                    <a:pt x="15" y="35"/>
                  </a:cubicBezTo>
                  <a:cubicBezTo>
                    <a:pt x="16" y="35"/>
                    <a:pt x="17" y="35"/>
                    <a:pt x="19" y="36"/>
                  </a:cubicBezTo>
                  <a:cubicBezTo>
                    <a:pt x="29" y="37"/>
                    <a:pt x="49" y="38"/>
                    <a:pt x="69" y="38"/>
                  </a:cubicBezTo>
                  <a:cubicBezTo>
                    <a:pt x="64" y="0"/>
                    <a:pt x="64" y="0"/>
                    <a:pt x="64" y="0"/>
                  </a:cubicBezTo>
                  <a:cubicBezTo>
                    <a:pt x="61" y="0"/>
                    <a:pt x="58" y="0"/>
                    <a:pt x="55" y="0"/>
                  </a:cubicBezTo>
                  <a:cubicBezTo>
                    <a:pt x="51" y="0"/>
                    <a:pt x="46" y="0"/>
                    <a:pt x="42" y="0"/>
                  </a:cubicBezTo>
                  <a:cubicBezTo>
                    <a:pt x="38" y="0"/>
                    <a:pt x="34" y="0"/>
                    <a:pt x="30" y="0"/>
                  </a:cubicBezTo>
                </a:path>
              </a:pathLst>
            </a:custGeom>
            <a:solidFill>
              <a:srgbClr val="BAB0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5" name="Freeform 168"/>
            <p:cNvSpPr>
              <a:spLocks noEditPoints="1"/>
            </p:cNvSpPr>
            <p:nvPr userDrawn="1"/>
          </p:nvSpPr>
          <p:spPr bwMode="auto">
            <a:xfrm>
              <a:off x="4201104" y="3284811"/>
              <a:ext cx="342226" cy="330597"/>
            </a:xfrm>
            <a:custGeom>
              <a:avLst/>
              <a:gdLst>
                <a:gd name="T0" fmla="*/ 5 w 132"/>
                <a:gd name="T1" fmla="*/ 123 h 127"/>
                <a:gd name="T2" fmla="*/ 66 w 132"/>
                <a:gd name="T3" fmla="*/ 6 h 127"/>
                <a:gd name="T4" fmla="*/ 126 w 132"/>
                <a:gd name="T5" fmla="*/ 123 h 127"/>
                <a:gd name="T6" fmla="*/ 5 w 132"/>
                <a:gd name="T7" fmla="*/ 123 h 127"/>
                <a:gd name="T8" fmla="*/ 64 w 132"/>
                <a:gd name="T9" fmla="*/ 3 h 127"/>
                <a:gd name="T10" fmla="*/ 66 w 132"/>
                <a:gd name="T11" fmla="*/ 2 h 127"/>
                <a:gd name="T12" fmla="*/ 64 w 132"/>
                <a:gd name="T13" fmla="*/ 3 h 127"/>
                <a:gd name="T14" fmla="*/ 66 w 132"/>
                <a:gd name="T15" fmla="*/ 0 h 127"/>
                <a:gd name="T16" fmla="*/ 64 w 132"/>
                <a:gd name="T17" fmla="*/ 1 h 127"/>
                <a:gd name="T18" fmla="*/ 64 w 132"/>
                <a:gd name="T19" fmla="*/ 1 h 127"/>
                <a:gd name="T20" fmla="*/ 0 w 132"/>
                <a:gd name="T21" fmla="*/ 124 h 127"/>
                <a:gd name="T22" fmla="*/ 0 w 132"/>
                <a:gd name="T23" fmla="*/ 126 h 127"/>
                <a:gd name="T24" fmla="*/ 2 w 132"/>
                <a:gd name="T25" fmla="*/ 127 h 127"/>
                <a:gd name="T26" fmla="*/ 130 w 132"/>
                <a:gd name="T27" fmla="*/ 127 h 127"/>
                <a:gd name="T28" fmla="*/ 131 w 132"/>
                <a:gd name="T29" fmla="*/ 126 h 127"/>
                <a:gd name="T30" fmla="*/ 131 w 132"/>
                <a:gd name="T31" fmla="*/ 124 h 127"/>
                <a:gd name="T32" fmla="*/ 67 w 132"/>
                <a:gd name="T33" fmla="*/ 1 h 127"/>
                <a:gd name="T34" fmla="*/ 66 w 132"/>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27">
                  <a:moveTo>
                    <a:pt x="5" y="123"/>
                  </a:moveTo>
                  <a:cubicBezTo>
                    <a:pt x="66" y="6"/>
                    <a:pt x="66" y="6"/>
                    <a:pt x="66" y="6"/>
                  </a:cubicBezTo>
                  <a:cubicBezTo>
                    <a:pt x="126" y="123"/>
                    <a:pt x="126" y="123"/>
                    <a:pt x="126" y="123"/>
                  </a:cubicBezTo>
                  <a:cubicBezTo>
                    <a:pt x="5" y="123"/>
                    <a:pt x="5" y="123"/>
                    <a:pt x="5" y="123"/>
                  </a:cubicBezTo>
                  <a:moveTo>
                    <a:pt x="64" y="3"/>
                  </a:moveTo>
                  <a:cubicBezTo>
                    <a:pt x="66" y="2"/>
                    <a:pt x="66" y="2"/>
                    <a:pt x="66" y="2"/>
                  </a:cubicBezTo>
                  <a:cubicBezTo>
                    <a:pt x="64" y="3"/>
                    <a:pt x="64" y="3"/>
                    <a:pt x="64" y="3"/>
                  </a:cubicBezTo>
                  <a:moveTo>
                    <a:pt x="66" y="0"/>
                  </a:moveTo>
                  <a:cubicBezTo>
                    <a:pt x="65" y="0"/>
                    <a:pt x="64" y="0"/>
                    <a:pt x="64" y="1"/>
                  </a:cubicBezTo>
                  <a:cubicBezTo>
                    <a:pt x="64" y="1"/>
                    <a:pt x="64" y="1"/>
                    <a:pt x="64" y="1"/>
                  </a:cubicBezTo>
                  <a:cubicBezTo>
                    <a:pt x="0" y="124"/>
                    <a:pt x="0" y="124"/>
                    <a:pt x="0" y="124"/>
                  </a:cubicBezTo>
                  <a:cubicBezTo>
                    <a:pt x="0" y="125"/>
                    <a:pt x="0" y="126"/>
                    <a:pt x="0" y="126"/>
                  </a:cubicBezTo>
                  <a:cubicBezTo>
                    <a:pt x="0" y="127"/>
                    <a:pt x="1" y="127"/>
                    <a:pt x="2" y="127"/>
                  </a:cubicBezTo>
                  <a:cubicBezTo>
                    <a:pt x="130" y="127"/>
                    <a:pt x="130" y="127"/>
                    <a:pt x="130" y="127"/>
                  </a:cubicBezTo>
                  <a:cubicBezTo>
                    <a:pt x="130" y="127"/>
                    <a:pt x="131" y="127"/>
                    <a:pt x="131" y="126"/>
                  </a:cubicBezTo>
                  <a:cubicBezTo>
                    <a:pt x="132" y="126"/>
                    <a:pt x="132" y="125"/>
                    <a:pt x="131" y="124"/>
                  </a:cubicBezTo>
                  <a:cubicBezTo>
                    <a:pt x="67" y="1"/>
                    <a:pt x="67" y="1"/>
                    <a:pt x="67" y="1"/>
                  </a:cubicBezTo>
                  <a:cubicBezTo>
                    <a:pt x="67" y="0"/>
                    <a:pt x="66" y="0"/>
                    <a:pt x="6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6" name="Freeform 201"/>
            <p:cNvSpPr/>
            <p:nvPr userDrawn="1"/>
          </p:nvSpPr>
          <p:spPr bwMode="auto">
            <a:xfrm>
              <a:off x="3843927" y="3610423"/>
              <a:ext cx="1322387" cy="930322"/>
            </a:xfrm>
            <a:custGeom>
              <a:avLst/>
              <a:gdLst>
                <a:gd name="T0" fmla="*/ 0 w 1408"/>
                <a:gd name="T1" fmla="*/ 990 h 990"/>
                <a:gd name="T2" fmla="*/ 747 w 1408"/>
                <a:gd name="T3" fmla="*/ 0 h 990"/>
                <a:gd name="T4" fmla="*/ 1408 w 1408"/>
                <a:gd name="T5" fmla="*/ 990 h 990"/>
                <a:gd name="T6" fmla="*/ 0 w 1408"/>
                <a:gd name="T7" fmla="*/ 990 h 990"/>
              </a:gdLst>
              <a:ahLst/>
              <a:cxnLst>
                <a:cxn ang="0">
                  <a:pos x="T0" y="T1"/>
                </a:cxn>
                <a:cxn ang="0">
                  <a:pos x="T2" y="T3"/>
                </a:cxn>
                <a:cxn ang="0">
                  <a:pos x="T4" y="T5"/>
                </a:cxn>
                <a:cxn ang="0">
                  <a:pos x="T6" y="T7"/>
                </a:cxn>
              </a:cxnLst>
              <a:rect l="0" t="0" r="r" b="b"/>
              <a:pathLst>
                <a:path w="1408" h="990">
                  <a:moveTo>
                    <a:pt x="0" y="990"/>
                  </a:moveTo>
                  <a:lnTo>
                    <a:pt x="747" y="0"/>
                  </a:lnTo>
                  <a:lnTo>
                    <a:pt x="1408" y="990"/>
                  </a:lnTo>
                  <a:lnTo>
                    <a:pt x="0" y="990"/>
                  </a:lnTo>
                  <a:close/>
                </a:path>
              </a:pathLst>
            </a:custGeom>
            <a:solidFill>
              <a:srgbClr val="2762C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7" name="Freeform 202"/>
            <p:cNvSpPr/>
            <p:nvPr userDrawn="1"/>
          </p:nvSpPr>
          <p:spPr bwMode="auto">
            <a:xfrm>
              <a:off x="2626200" y="3367875"/>
              <a:ext cx="1667935" cy="1172871"/>
            </a:xfrm>
            <a:custGeom>
              <a:avLst/>
              <a:gdLst>
                <a:gd name="T0" fmla="*/ 0 w 1776"/>
                <a:gd name="T1" fmla="*/ 1250 h 1250"/>
                <a:gd name="T2" fmla="*/ 943 w 1776"/>
                <a:gd name="T3" fmla="*/ 0 h 1250"/>
                <a:gd name="T4" fmla="*/ 1776 w 1776"/>
                <a:gd name="T5" fmla="*/ 1250 h 1250"/>
                <a:gd name="T6" fmla="*/ 0 w 1776"/>
                <a:gd name="T7" fmla="*/ 1250 h 1250"/>
              </a:gdLst>
              <a:ahLst/>
              <a:cxnLst>
                <a:cxn ang="0">
                  <a:pos x="T0" y="T1"/>
                </a:cxn>
                <a:cxn ang="0">
                  <a:pos x="T2" y="T3"/>
                </a:cxn>
                <a:cxn ang="0">
                  <a:pos x="T4" y="T5"/>
                </a:cxn>
                <a:cxn ang="0">
                  <a:pos x="T6" y="T7"/>
                </a:cxn>
              </a:cxnLst>
              <a:rect l="0" t="0" r="r" b="b"/>
              <a:pathLst>
                <a:path w="1776" h="1250">
                  <a:moveTo>
                    <a:pt x="0" y="1250"/>
                  </a:moveTo>
                  <a:lnTo>
                    <a:pt x="943" y="0"/>
                  </a:lnTo>
                  <a:lnTo>
                    <a:pt x="1776" y="1250"/>
                  </a:lnTo>
                  <a:lnTo>
                    <a:pt x="0" y="1250"/>
                  </a:lnTo>
                  <a:close/>
                </a:path>
              </a:pathLst>
            </a:custGeom>
            <a:solidFill>
              <a:srgbClr val="2E7EF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8" name="Freeform 169"/>
            <p:cNvSpPr>
              <a:spLocks noEditPoints="1"/>
            </p:cNvSpPr>
            <p:nvPr userDrawn="1"/>
          </p:nvSpPr>
          <p:spPr bwMode="auto">
            <a:xfrm>
              <a:off x="4501798" y="3389471"/>
              <a:ext cx="164468" cy="225935"/>
            </a:xfrm>
            <a:custGeom>
              <a:avLst/>
              <a:gdLst>
                <a:gd name="T0" fmla="*/ 31 w 63"/>
                <a:gd name="T1" fmla="*/ 83 h 87"/>
                <a:gd name="T2" fmla="*/ 5 w 63"/>
                <a:gd name="T3" fmla="*/ 32 h 87"/>
                <a:gd name="T4" fmla="*/ 18 w 63"/>
                <a:gd name="T5" fmla="*/ 7 h 87"/>
                <a:gd name="T6" fmla="*/ 57 w 63"/>
                <a:gd name="T7" fmla="*/ 83 h 87"/>
                <a:gd name="T8" fmla="*/ 31 w 63"/>
                <a:gd name="T9" fmla="*/ 83 h 87"/>
                <a:gd name="T10" fmla="*/ 16 w 63"/>
                <a:gd name="T11" fmla="*/ 3 h 87"/>
                <a:gd name="T12" fmla="*/ 18 w 63"/>
                <a:gd name="T13" fmla="*/ 2 h 87"/>
                <a:gd name="T14" fmla="*/ 16 w 63"/>
                <a:gd name="T15" fmla="*/ 3 h 87"/>
                <a:gd name="T16" fmla="*/ 18 w 63"/>
                <a:gd name="T17" fmla="*/ 0 h 87"/>
                <a:gd name="T18" fmla="*/ 16 w 63"/>
                <a:gd name="T19" fmla="*/ 1 h 87"/>
                <a:gd name="T20" fmla="*/ 16 w 63"/>
                <a:gd name="T21" fmla="*/ 1 h 87"/>
                <a:gd name="T22" fmla="*/ 1 w 63"/>
                <a:gd name="T23" fmla="*/ 31 h 87"/>
                <a:gd name="T24" fmla="*/ 1 w 63"/>
                <a:gd name="T25" fmla="*/ 33 h 87"/>
                <a:gd name="T26" fmla="*/ 28 w 63"/>
                <a:gd name="T27" fmla="*/ 86 h 87"/>
                <a:gd name="T28" fmla="*/ 30 w 63"/>
                <a:gd name="T29" fmla="*/ 87 h 87"/>
                <a:gd name="T30" fmla="*/ 61 w 63"/>
                <a:gd name="T31" fmla="*/ 87 h 87"/>
                <a:gd name="T32" fmla="*/ 62 w 63"/>
                <a:gd name="T33" fmla="*/ 86 h 87"/>
                <a:gd name="T34" fmla="*/ 63 w 63"/>
                <a:gd name="T35" fmla="*/ 84 h 87"/>
                <a:gd name="T36" fmla="*/ 20 w 63"/>
                <a:gd name="T37" fmla="*/ 1 h 87"/>
                <a:gd name="T38" fmla="*/ 18 w 63"/>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87">
                  <a:moveTo>
                    <a:pt x="31" y="83"/>
                  </a:moveTo>
                  <a:cubicBezTo>
                    <a:pt x="5" y="32"/>
                    <a:pt x="5" y="32"/>
                    <a:pt x="5" y="32"/>
                  </a:cubicBezTo>
                  <a:cubicBezTo>
                    <a:pt x="18" y="7"/>
                    <a:pt x="18" y="7"/>
                    <a:pt x="18" y="7"/>
                  </a:cubicBezTo>
                  <a:cubicBezTo>
                    <a:pt x="57" y="83"/>
                    <a:pt x="57" y="83"/>
                    <a:pt x="57" y="83"/>
                  </a:cubicBezTo>
                  <a:cubicBezTo>
                    <a:pt x="31" y="83"/>
                    <a:pt x="31" y="83"/>
                    <a:pt x="31" y="83"/>
                  </a:cubicBezTo>
                  <a:moveTo>
                    <a:pt x="16" y="3"/>
                  </a:moveTo>
                  <a:cubicBezTo>
                    <a:pt x="18" y="2"/>
                    <a:pt x="18" y="2"/>
                    <a:pt x="18" y="2"/>
                  </a:cubicBezTo>
                  <a:cubicBezTo>
                    <a:pt x="16" y="3"/>
                    <a:pt x="16" y="3"/>
                    <a:pt x="16" y="3"/>
                  </a:cubicBezTo>
                  <a:moveTo>
                    <a:pt x="18" y="0"/>
                  </a:moveTo>
                  <a:cubicBezTo>
                    <a:pt x="17" y="0"/>
                    <a:pt x="16" y="1"/>
                    <a:pt x="16" y="1"/>
                  </a:cubicBezTo>
                  <a:cubicBezTo>
                    <a:pt x="16" y="1"/>
                    <a:pt x="16" y="1"/>
                    <a:pt x="16" y="1"/>
                  </a:cubicBezTo>
                  <a:cubicBezTo>
                    <a:pt x="1" y="31"/>
                    <a:pt x="1" y="31"/>
                    <a:pt x="1" y="31"/>
                  </a:cubicBezTo>
                  <a:cubicBezTo>
                    <a:pt x="0" y="32"/>
                    <a:pt x="0" y="32"/>
                    <a:pt x="1" y="33"/>
                  </a:cubicBezTo>
                  <a:cubicBezTo>
                    <a:pt x="28" y="86"/>
                    <a:pt x="28" y="86"/>
                    <a:pt x="28" y="86"/>
                  </a:cubicBezTo>
                  <a:cubicBezTo>
                    <a:pt x="29" y="87"/>
                    <a:pt x="29" y="87"/>
                    <a:pt x="30" y="87"/>
                  </a:cubicBezTo>
                  <a:cubicBezTo>
                    <a:pt x="61" y="87"/>
                    <a:pt x="61" y="87"/>
                    <a:pt x="61" y="87"/>
                  </a:cubicBezTo>
                  <a:cubicBezTo>
                    <a:pt x="61" y="87"/>
                    <a:pt x="62" y="87"/>
                    <a:pt x="62" y="86"/>
                  </a:cubicBezTo>
                  <a:cubicBezTo>
                    <a:pt x="63" y="86"/>
                    <a:pt x="63" y="85"/>
                    <a:pt x="63" y="84"/>
                  </a:cubicBezTo>
                  <a:cubicBezTo>
                    <a:pt x="20" y="1"/>
                    <a:pt x="20" y="1"/>
                    <a:pt x="20" y="1"/>
                  </a:cubicBezTo>
                  <a:cubicBezTo>
                    <a:pt x="19" y="1"/>
                    <a:pt x="19" y="0"/>
                    <a:pt x="18"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9" name="Freeform 170"/>
            <p:cNvSpPr>
              <a:spLocks noEditPoints="1"/>
            </p:cNvSpPr>
            <p:nvPr userDrawn="1"/>
          </p:nvSpPr>
          <p:spPr bwMode="auto">
            <a:xfrm>
              <a:off x="4561604" y="3296439"/>
              <a:ext cx="79742" cy="79742"/>
            </a:xfrm>
            <a:custGeom>
              <a:avLst/>
              <a:gdLst>
                <a:gd name="T0" fmla="*/ 31 w 31"/>
                <a:gd name="T1" fmla="*/ 15 h 31"/>
                <a:gd name="T2" fmla="*/ 31 w 31"/>
                <a:gd name="T3" fmla="*/ 15 h 31"/>
                <a:gd name="T4" fmla="*/ 31 w 31"/>
                <a:gd name="T5" fmla="*/ 15 h 31"/>
                <a:gd name="T6" fmla="*/ 16 w 31"/>
                <a:gd name="T7" fmla="*/ 0 h 31"/>
                <a:gd name="T8" fmla="*/ 0 w 31"/>
                <a:gd name="T9" fmla="*/ 15 h 31"/>
                <a:gd name="T10" fmla="*/ 16 w 31"/>
                <a:gd name="T11" fmla="*/ 31 h 31"/>
                <a:gd name="T12" fmla="*/ 31 w 31"/>
                <a:gd name="T13" fmla="*/ 15 h 31"/>
                <a:gd name="T14" fmla="*/ 29 w 31"/>
                <a:gd name="T15" fmla="*/ 15 h 31"/>
                <a:gd name="T16" fmla="*/ 27 w 31"/>
                <a:gd name="T17" fmla="*/ 15 h 31"/>
                <a:gd name="T18" fmla="*/ 16 w 31"/>
                <a:gd name="T19" fmla="*/ 27 h 31"/>
                <a:gd name="T20" fmla="*/ 4 w 31"/>
                <a:gd name="T21" fmla="*/ 15 h 31"/>
                <a:gd name="T22" fmla="*/ 16 w 31"/>
                <a:gd name="T23" fmla="*/ 4 h 31"/>
                <a:gd name="T24" fmla="*/ 27 w 31"/>
                <a:gd name="T25" fmla="*/ 15 h 31"/>
                <a:gd name="T26" fmla="*/ 29 w 31"/>
                <a:gd name="T27" fmla="*/ 15 h 31"/>
                <a:gd name="T28" fmla="*/ 31 w 31"/>
                <a:gd name="T29" fmla="*/ 15 h 31"/>
                <a:gd name="T30" fmla="*/ 31 w 31"/>
                <a:gd name="T31" fmla="*/ 15 h 31"/>
                <a:gd name="T32" fmla="*/ 16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6" y="0"/>
                  </a:moveTo>
                  <a:cubicBezTo>
                    <a:pt x="7" y="0"/>
                    <a:pt x="0" y="7"/>
                    <a:pt x="0" y="15"/>
                  </a:cubicBezTo>
                  <a:cubicBezTo>
                    <a:pt x="0" y="24"/>
                    <a:pt x="7" y="31"/>
                    <a:pt x="16" y="31"/>
                  </a:cubicBezTo>
                  <a:cubicBezTo>
                    <a:pt x="24" y="31"/>
                    <a:pt x="31" y="24"/>
                    <a:pt x="31" y="15"/>
                  </a:cubicBezTo>
                  <a:cubicBezTo>
                    <a:pt x="29" y="15"/>
                    <a:pt x="29" y="15"/>
                    <a:pt x="29" y="15"/>
                  </a:cubicBezTo>
                  <a:cubicBezTo>
                    <a:pt x="27" y="15"/>
                    <a:pt x="27" y="15"/>
                    <a:pt x="27" y="15"/>
                  </a:cubicBezTo>
                  <a:cubicBezTo>
                    <a:pt x="27" y="22"/>
                    <a:pt x="22" y="27"/>
                    <a:pt x="16" y="27"/>
                  </a:cubicBezTo>
                  <a:cubicBezTo>
                    <a:pt x="9" y="27"/>
                    <a:pt x="4" y="22"/>
                    <a:pt x="4" y="15"/>
                  </a:cubicBezTo>
                  <a:cubicBezTo>
                    <a:pt x="4" y="9"/>
                    <a:pt x="9" y="4"/>
                    <a:pt x="16"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6"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0" name="Oval 200"/>
            <p:cNvSpPr>
              <a:spLocks noChangeArrowheads="1"/>
            </p:cNvSpPr>
            <p:nvPr userDrawn="1"/>
          </p:nvSpPr>
          <p:spPr bwMode="auto">
            <a:xfrm>
              <a:off x="4091458" y="2502342"/>
              <a:ext cx="470146" cy="468484"/>
            </a:xfrm>
            <a:prstGeom prst="ellipse">
              <a:avLst/>
            </a:prstGeom>
            <a:solidFill>
              <a:srgbClr val="FFE29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1" name="Oval 203"/>
            <p:cNvSpPr>
              <a:spLocks noChangeArrowheads="1"/>
            </p:cNvSpPr>
            <p:nvPr userDrawn="1"/>
          </p:nvSpPr>
          <p:spPr bwMode="auto">
            <a:xfrm>
              <a:off x="4754314" y="3985875"/>
              <a:ext cx="913710" cy="915371"/>
            </a:xfrm>
            <a:prstGeom prst="ellipse">
              <a:avLst/>
            </a:prstGeom>
            <a:solidFill>
              <a:srgbClr val="97D3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2" name="Freeform 204"/>
            <p:cNvSpPr>
              <a:spLocks noEditPoints="1"/>
            </p:cNvSpPr>
            <p:nvPr userDrawn="1"/>
          </p:nvSpPr>
          <p:spPr bwMode="auto">
            <a:xfrm>
              <a:off x="4727733" y="3959294"/>
              <a:ext cx="965210" cy="966871"/>
            </a:xfrm>
            <a:custGeom>
              <a:avLst/>
              <a:gdLst>
                <a:gd name="T0" fmla="*/ 186 w 372"/>
                <a:gd name="T1" fmla="*/ 20 h 373"/>
                <a:gd name="T2" fmla="*/ 352 w 372"/>
                <a:gd name="T3" fmla="*/ 186 h 373"/>
                <a:gd name="T4" fmla="*/ 186 w 372"/>
                <a:gd name="T5" fmla="*/ 353 h 373"/>
                <a:gd name="T6" fmla="*/ 20 w 372"/>
                <a:gd name="T7" fmla="*/ 186 h 373"/>
                <a:gd name="T8" fmla="*/ 186 w 372"/>
                <a:gd name="T9" fmla="*/ 20 h 373"/>
                <a:gd name="T10" fmla="*/ 186 w 372"/>
                <a:gd name="T11" fmla="*/ 0 h 373"/>
                <a:gd name="T12" fmla="*/ 0 w 372"/>
                <a:gd name="T13" fmla="*/ 186 h 373"/>
                <a:gd name="T14" fmla="*/ 186 w 372"/>
                <a:gd name="T15" fmla="*/ 373 h 373"/>
                <a:gd name="T16" fmla="*/ 372 w 372"/>
                <a:gd name="T17" fmla="*/ 186 h 373"/>
                <a:gd name="T18" fmla="*/ 186 w 372"/>
                <a:gd name="T1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2" h="373">
                  <a:moveTo>
                    <a:pt x="186" y="20"/>
                  </a:moveTo>
                  <a:cubicBezTo>
                    <a:pt x="278" y="20"/>
                    <a:pt x="352" y="94"/>
                    <a:pt x="352" y="186"/>
                  </a:cubicBezTo>
                  <a:cubicBezTo>
                    <a:pt x="352" y="278"/>
                    <a:pt x="278" y="353"/>
                    <a:pt x="186" y="353"/>
                  </a:cubicBezTo>
                  <a:cubicBezTo>
                    <a:pt x="94" y="353"/>
                    <a:pt x="20" y="278"/>
                    <a:pt x="20" y="186"/>
                  </a:cubicBezTo>
                  <a:cubicBezTo>
                    <a:pt x="20" y="94"/>
                    <a:pt x="94" y="20"/>
                    <a:pt x="186" y="20"/>
                  </a:cubicBezTo>
                  <a:moveTo>
                    <a:pt x="186" y="0"/>
                  </a:moveTo>
                  <a:cubicBezTo>
                    <a:pt x="83" y="0"/>
                    <a:pt x="0" y="84"/>
                    <a:pt x="0" y="186"/>
                  </a:cubicBezTo>
                  <a:cubicBezTo>
                    <a:pt x="0" y="289"/>
                    <a:pt x="83" y="373"/>
                    <a:pt x="186" y="373"/>
                  </a:cubicBezTo>
                  <a:cubicBezTo>
                    <a:pt x="289" y="373"/>
                    <a:pt x="372" y="289"/>
                    <a:pt x="372" y="186"/>
                  </a:cubicBezTo>
                  <a:cubicBezTo>
                    <a:pt x="372" y="84"/>
                    <a:pt x="289" y="0"/>
                    <a:pt x="186"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3" name="Freeform 241"/>
            <p:cNvSpPr/>
            <p:nvPr userDrawn="1"/>
          </p:nvSpPr>
          <p:spPr bwMode="auto">
            <a:xfrm>
              <a:off x="1680927" y="4602449"/>
              <a:ext cx="757548" cy="1446984"/>
            </a:xfrm>
            <a:custGeom>
              <a:avLst/>
              <a:gdLst>
                <a:gd name="T0" fmla="*/ 0 w 292"/>
                <a:gd name="T1" fmla="*/ 46 h 558"/>
                <a:gd name="T2" fmla="*/ 46 w 292"/>
                <a:gd name="T3" fmla="*/ 123 h 558"/>
                <a:gd name="T4" fmla="*/ 129 w 292"/>
                <a:gd name="T5" fmla="*/ 341 h 558"/>
                <a:gd name="T6" fmla="*/ 169 w 292"/>
                <a:gd name="T7" fmla="*/ 557 h 558"/>
                <a:gd name="T8" fmla="*/ 292 w 292"/>
                <a:gd name="T9" fmla="*/ 558 h 558"/>
                <a:gd name="T10" fmla="*/ 255 w 292"/>
                <a:gd name="T11" fmla="*/ 287 h 558"/>
                <a:gd name="T12" fmla="*/ 183 w 292"/>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292" h="558">
                  <a:moveTo>
                    <a:pt x="0" y="46"/>
                  </a:moveTo>
                  <a:cubicBezTo>
                    <a:pt x="10" y="81"/>
                    <a:pt x="46" y="123"/>
                    <a:pt x="46" y="123"/>
                  </a:cubicBezTo>
                  <a:cubicBezTo>
                    <a:pt x="129" y="341"/>
                    <a:pt x="129" y="341"/>
                    <a:pt x="129" y="341"/>
                  </a:cubicBezTo>
                  <a:cubicBezTo>
                    <a:pt x="169" y="557"/>
                    <a:pt x="169" y="557"/>
                    <a:pt x="169" y="557"/>
                  </a:cubicBezTo>
                  <a:cubicBezTo>
                    <a:pt x="292" y="558"/>
                    <a:pt x="292" y="558"/>
                    <a:pt x="292" y="558"/>
                  </a:cubicBezTo>
                  <a:cubicBezTo>
                    <a:pt x="292" y="558"/>
                    <a:pt x="267" y="351"/>
                    <a:pt x="255" y="287"/>
                  </a:cubicBezTo>
                  <a:cubicBezTo>
                    <a:pt x="237" y="194"/>
                    <a:pt x="183" y="0"/>
                    <a:pt x="183" y="0"/>
                  </a:cubicBezTo>
                </a:path>
              </a:pathLst>
            </a:custGeom>
            <a:solidFill>
              <a:srgbClr val="162F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4" name="Freeform 206"/>
            <p:cNvSpPr/>
            <p:nvPr userDrawn="1"/>
          </p:nvSpPr>
          <p:spPr bwMode="auto">
            <a:xfrm>
              <a:off x="4948684" y="4161972"/>
              <a:ext cx="523307" cy="563178"/>
            </a:xfrm>
            <a:custGeom>
              <a:avLst/>
              <a:gdLst>
                <a:gd name="T0" fmla="*/ 315 w 315"/>
                <a:gd name="T1" fmla="*/ 195 h 339"/>
                <a:gd name="T2" fmla="*/ 158 w 315"/>
                <a:gd name="T3" fmla="*/ 0 h 339"/>
                <a:gd name="T4" fmla="*/ 0 w 315"/>
                <a:gd name="T5" fmla="*/ 195 h 339"/>
                <a:gd name="T6" fmla="*/ 90 w 315"/>
                <a:gd name="T7" fmla="*/ 195 h 339"/>
                <a:gd name="T8" fmla="*/ 90 w 315"/>
                <a:gd name="T9" fmla="*/ 339 h 339"/>
                <a:gd name="T10" fmla="*/ 226 w 315"/>
                <a:gd name="T11" fmla="*/ 339 h 339"/>
                <a:gd name="T12" fmla="*/ 226 w 315"/>
                <a:gd name="T13" fmla="*/ 195 h 339"/>
                <a:gd name="T14" fmla="*/ 315 w 315"/>
                <a:gd name="T15" fmla="*/ 195 h 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5" h="339">
                  <a:moveTo>
                    <a:pt x="315" y="195"/>
                  </a:moveTo>
                  <a:lnTo>
                    <a:pt x="158" y="0"/>
                  </a:lnTo>
                  <a:lnTo>
                    <a:pt x="0" y="195"/>
                  </a:lnTo>
                  <a:lnTo>
                    <a:pt x="90" y="195"/>
                  </a:lnTo>
                  <a:lnTo>
                    <a:pt x="90" y="339"/>
                  </a:lnTo>
                  <a:lnTo>
                    <a:pt x="226" y="339"/>
                  </a:lnTo>
                  <a:lnTo>
                    <a:pt x="226" y="195"/>
                  </a:lnTo>
                  <a:lnTo>
                    <a:pt x="315" y="19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5" name="Freeform 218"/>
            <p:cNvSpPr/>
            <p:nvPr userDrawn="1"/>
          </p:nvSpPr>
          <p:spPr bwMode="auto">
            <a:xfrm>
              <a:off x="5521830" y="4259987"/>
              <a:ext cx="192710" cy="106323"/>
            </a:xfrm>
            <a:custGeom>
              <a:avLst/>
              <a:gdLst>
                <a:gd name="T0" fmla="*/ 70 w 74"/>
                <a:gd name="T1" fmla="*/ 1 h 41"/>
                <a:gd name="T2" fmla="*/ 15 w 74"/>
                <a:gd name="T3" fmla="*/ 3 h 41"/>
                <a:gd name="T4" fmla="*/ 27 w 74"/>
                <a:gd name="T5" fmla="*/ 9 h 41"/>
                <a:gd name="T6" fmla="*/ 3 w 74"/>
                <a:gd name="T7" fmla="*/ 13 h 41"/>
                <a:gd name="T8" fmla="*/ 25 w 74"/>
                <a:gd name="T9" fmla="*/ 16 h 41"/>
                <a:gd name="T10" fmla="*/ 0 w 74"/>
                <a:gd name="T11" fmla="*/ 22 h 41"/>
                <a:gd name="T12" fmla="*/ 23 w 74"/>
                <a:gd name="T13" fmla="*/ 24 h 41"/>
                <a:gd name="T14" fmla="*/ 7 w 74"/>
                <a:gd name="T15" fmla="*/ 29 h 41"/>
                <a:gd name="T16" fmla="*/ 30 w 74"/>
                <a:gd name="T17" fmla="*/ 32 h 41"/>
                <a:gd name="T18" fmla="*/ 13 w 74"/>
                <a:gd name="T19" fmla="*/ 36 h 41"/>
                <a:gd name="T20" fmla="*/ 74 w 74"/>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41">
                  <a:moveTo>
                    <a:pt x="70" y="1"/>
                  </a:moveTo>
                  <a:cubicBezTo>
                    <a:pt x="56" y="3"/>
                    <a:pt x="16" y="0"/>
                    <a:pt x="15" y="3"/>
                  </a:cubicBezTo>
                  <a:cubicBezTo>
                    <a:pt x="14" y="6"/>
                    <a:pt x="28" y="7"/>
                    <a:pt x="27" y="9"/>
                  </a:cubicBezTo>
                  <a:cubicBezTo>
                    <a:pt x="25" y="11"/>
                    <a:pt x="3" y="10"/>
                    <a:pt x="3" y="13"/>
                  </a:cubicBezTo>
                  <a:cubicBezTo>
                    <a:pt x="2" y="17"/>
                    <a:pt x="25" y="16"/>
                    <a:pt x="25" y="16"/>
                  </a:cubicBezTo>
                  <a:cubicBezTo>
                    <a:pt x="25" y="16"/>
                    <a:pt x="0" y="18"/>
                    <a:pt x="0" y="22"/>
                  </a:cubicBezTo>
                  <a:cubicBezTo>
                    <a:pt x="1" y="25"/>
                    <a:pt x="16" y="24"/>
                    <a:pt x="23" y="24"/>
                  </a:cubicBezTo>
                  <a:cubicBezTo>
                    <a:pt x="15" y="25"/>
                    <a:pt x="6" y="27"/>
                    <a:pt x="7" y="29"/>
                  </a:cubicBezTo>
                  <a:cubicBezTo>
                    <a:pt x="7" y="32"/>
                    <a:pt x="20" y="32"/>
                    <a:pt x="30" y="32"/>
                  </a:cubicBezTo>
                  <a:cubicBezTo>
                    <a:pt x="24" y="32"/>
                    <a:pt x="12" y="34"/>
                    <a:pt x="13" y="36"/>
                  </a:cubicBezTo>
                  <a:cubicBezTo>
                    <a:pt x="13" y="39"/>
                    <a:pt x="44" y="40"/>
                    <a:pt x="74" y="41"/>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6" name="Freeform 71"/>
            <p:cNvSpPr/>
            <p:nvPr userDrawn="1"/>
          </p:nvSpPr>
          <p:spPr bwMode="auto">
            <a:xfrm>
              <a:off x="2646136" y="5411262"/>
              <a:ext cx="59806" cy="59806"/>
            </a:xfrm>
            <a:custGeom>
              <a:avLst/>
              <a:gdLst>
                <a:gd name="T0" fmla="*/ 21 w 23"/>
                <a:gd name="T1" fmla="*/ 12 h 23"/>
                <a:gd name="T2" fmla="*/ 19 w 23"/>
                <a:gd name="T3" fmla="*/ 12 h 23"/>
                <a:gd name="T4" fmla="*/ 11 w 23"/>
                <a:gd name="T5" fmla="*/ 19 h 23"/>
                <a:gd name="T6" fmla="*/ 4 w 23"/>
                <a:gd name="T7" fmla="*/ 12 h 23"/>
                <a:gd name="T8" fmla="*/ 11 w 23"/>
                <a:gd name="T9" fmla="*/ 4 h 23"/>
                <a:gd name="T10" fmla="*/ 19 w 23"/>
                <a:gd name="T11" fmla="*/ 12 h 23"/>
                <a:gd name="T12" fmla="*/ 21 w 23"/>
                <a:gd name="T13" fmla="*/ 12 h 23"/>
                <a:gd name="T14" fmla="*/ 23 w 23"/>
                <a:gd name="T15" fmla="*/ 12 h 23"/>
                <a:gd name="T16" fmla="*/ 11 w 23"/>
                <a:gd name="T17" fmla="*/ 0 h 23"/>
                <a:gd name="T18" fmla="*/ 0 w 23"/>
                <a:gd name="T19" fmla="*/ 12 h 23"/>
                <a:gd name="T20" fmla="*/ 11 w 23"/>
                <a:gd name="T21" fmla="*/ 23 h 23"/>
                <a:gd name="T22" fmla="*/ 23 w 23"/>
                <a:gd name="T23" fmla="*/ 12 h 23"/>
                <a:gd name="T24" fmla="*/ 21 w 23"/>
                <a:gd name="T2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21" y="12"/>
                  </a:moveTo>
                  <a:cubicBezTo>
                    <a:pt x="19" y="12"/>
                    <a:pt x="19" y="12"/>
                    <a:pt x="19" y="12"/>
                  </a:cubicBezTo>
                  <a:cubicBezTo>
                    <a:pt x="19" y="16"/>
                    <a:pt x="16" y="19"/>
                    <a:pt x="11" y="19"/>
                  </a:cubicBezTo>
                  <a:cubicBezTo>
                    <a:pt x="7" y="19"/>
                    <a:pt x="4" y="16"/>
                    <a:pt x="4" y="12"/>
                  </a:cubicBezTo>
                  <a:cubicBezTo>
                    <a:pt x="4" y="8"/>
                    <a:pt x="7" y="4"/>
                    <a:pt x="11" y="4"/>
                  </a:cubicBezTo>
                  <a:cubicBezTo>
                    <a:pt x="16" y="4"/>
                    <a:pt x="19" y="8"/>
                    <a:pt x="19" y="12"/>
                  </a:cubicBezTo>
                  <a:cubicBezTo>
                    <a:pt x="21" y="12"/>
                    <a:pt x="21" y="12"/>
                    <a:pt x="21" y="12"/>
                  </a:cubicBezTo>
                  <a:cubicBezTo>
                    <a:pt x="23" y="12"/>
                    <a:pt x="23" y="12"/>
                    <a:pt x="23" y="12"/>
                  </a:cubicBezTo>
                  <a:cubicBezTo>
                    <a:pt x="23" y="6"/>
                    <a:pt x="18" y="0"/>
                    <a:pt x="11" y="0"/>
                  </a:cubicBezTo>
                  <a:cubicBezTo>
                    <a:pt x="5" y="0"/>
                    <a:pt x="0" y="6"/>
                    <a:pt x="0" y="12"/>
                  </a:cubicBezTo>
                  <a:cubicBezTo>
                    <a:pt x="0" y="18"/>
                    <a:pt x="5" y="23"/>
                    <a:pt x="11" y="23"/>
                  </a:cubicBezTo>
                  <a:cubicBezTo>
                    <a:pt x="18" y="23"/>
                    <a:pt x="23" y="18"/>
                    <a:pt x="23" y="12"/>
                  </a:cubicBezTo>
                  <a:lnTo>
                    <a:pt x="21" y="12"/>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7" name="Rectangle 251"/>
            <p:cNvSpPr>
              <a:spLocks noChangeArrowheads="1"/>
            </p:cNvSpPr>
            <p:nvPr userDrawn="1"/>
          </p:nvSpPr>
          <p:spPr bwMode="auto">
            <a:xfrm>
              <a:off x="2104555" y="5976336"/>
              <a:ext cx="323952" cy="9968"/>
            </a:xfrm>
            <a:prstGeom prst="rect">
              <a:avLst/>
            </a:prstGeom>
            <a:solidFill>
              <a:srgbClr val="025F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88" name="Freeform 252"/>
            <p:cNvSpPr/>
            <p:nvPr userDrawn="1"/>
          </p:nvSpPr>
          <p:spPr bwMode="auto">
            <a:xfrm>
              <a:off x="2104555" y="5976336"/>
              <a:ext cx="323952" cy="9968"/>
            </a:xfrm>
            <a:custGeom>
              <a:avLst/>
              <a:gdLst>
                <a:gd name="T0" fmla="*/ 0 w 195"/>
                <a:gd name="T1" fmla="*/ 6 h 6"/>
                <a:gd name="T2" fmla="*/ 195 w 195"/>
                <a:gd name="T3" fmla="*/ 6 h 6"/>
                <a:gd name="T4" fmla="*/ 195 w 195"/>
                <a:gd name="T5" fmla="*/ 0 h 6"/>
                <a:gd name="T6" fmla="*/ 0 w 195"/>
                <a:gd name="T7" fmla="*/ 0 h 6"/>
              </a:gdLst>
              <a:ahLst/>
              <a:cxnLst>
                <a:cxn ang="0">
                  <a:pos x="T0" y="T1"/>
                </a:cxn>
                <a:cxn ang="0">
                  <a:pos x="T2" y="T3"/>
                </a:cxn>
                <a:cxn ang="0">
                  <a:pos x="T4" y="T5"/>
                </a:cxn>
                <a:cxn ang="0">
                  <a:pos x="T6" y="T7"/>
                </a:cxn>
              </a:cxnLst>
              <a:rect l="0" t="0" r="r" b="b"/>
              <a:pathLst>
                <a:path w="195" h="6">
                  <a:moveTo>
                    <a:pt x="0" y="6"/>
                  </a:moveTo>
                  <a:lnTo>
                    <a:pt x="195" y="6"/>
                  </a:lnTo>
                  <a:lnTo>
                    <a:pt x="19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9" name="Freeform 175"/>
            <p:cNvSpPr/>
            <p:nvPr userDrawn="1"/>
          </p:nvSpPr>
          <p:spPr bwMode="auto">
            <a:xfrm>
              <a:off x="2506588" y="4255004"/>
              <a:ext cx="18275" cy="4984"/>
            </a:xfrm>
            <a:custGeom>
              <a:avLst/>
              <a:gdLst>
                <a:gd name="T0" fmla="*/ 7 w 7"/>
                <a:gd name="T1" fmla="*/ 0 h 2"/>
                <a:gd name="T2" fmla="*/ 0 w 7"/>
                <a:gd name="T3" fmla="*/ 2 h 2"/>
                <a:gd name="T4" fmla="*/ 7 w 7"/>
                <a:gd name="T5" fmla="*/ 0 h 2"/>
              </a:gdLst>
              <a:ahLst/>
              <a:cxnLst>
                <a:cxn ang="0">
                  <a:pos x="T0" y="T1"/>
                </a:cxn>
                <a:cxn ang="0">
                  <a:pos x="T2" y="T3"/>
                </a:cxn>
                <a:cxn ang="0">
                  <a:pos x="T4" y="T5"/>
                </a:cxn>
              </a:cxnLst>
              <a:rect l="0" t="0" r="r" b="b"/>
              <a:pathLst>
                <a:path w="7" h="2">
                  <a:moveTo>
                    <a:pt x="7" y="0"/>
                  </a:moveTo>
                  <a:cubicBezTo>
                    <a:pt x="4" y="1"/>
                    <a:pt x="2" y="2"/>
                    <a:pt x="0" y="2"/>
                  </a:cubicBezTo>
                  <a:cubicBezTo>
                    <a:pt x="2" y="2"/>
                    <a:pt x="5" y="1"/>
                    <a:pt x="7" y="0"/>
                  </a:cubicBezTo>
                </a:path>
              </a:pathLst>
            </a:custGeom>
            <a:solidFill>
              <a:srgbClr val="93C3F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0" name="Freeform 257"/>
            <p:cNvSpPr/>
            <p:nvPr userDrawn="1"/>
          </p:nvSpPr>
          <p:spPr bwMode="auto">
            <a:xfrm>
              <a:off x="1797217" y="4049240"/>
              <a:ext cx="838952" cy="725984"/>
            </a:xfrm>
            <a:custGeom>
              <a:avLst/>
              <a:gdLst>
                <a:gd name="T0" fmla="*/ 4 w 323"/>
                <a:gd name="T1" fmla="*/ 0 h 280"/>
                <a:gd name="T2" fmla="*/ 90 w 323"/>
                <a:gd name="T3" fmla="*/ 245 h 280"/>
                <a:gd name="T4" fmla="*/ 323 w 323"/>
                <a:gd name="T5" fmla="*/ 209 h 280"/>
                <a:gd name="T6" fmla="*/ 303 w 323"/>
                <a:gd name="T7" fmla="*/ 115 h 280"/>
                <a:gd name="T8" fmla="*/ 141 w 323"/>
                <a:gd name="T9" fmla="*/ 143 h 280"/>
                <a:gd name="T10" fmla="*/ 98 w 323"/>
                <a:gd name="T11" fmla="*/ 10 h 280"/>
              </a:gdLst>
              <a:ahLst/>
              <a:cxnLst>
                <a:cxn ang="0">
                  <a:pos x="T0" y="T1"/>
                </a:cxn>
                <a:cxn ang="0">
                  <a:pos x="T2" y="T3"/>
                </a:cxn>
                <a:cxn ang="0">
                  <a:pos x="T4" y="T5"/>
                </a:cxn>
                <a:cxn ang="0">
                  <a:pos x="T6" y="T7"/>
                </a:cxn>
                <a:cxn ang="0">
                  <a:pos x="T8" y="T9"/>
                </a:cxn>
                <a:cxn ang="0">
                  <a:pos x="T10" y="T11"/>
                </a:cxn>
              </a:cxnLst>
              <a:rect l="0" t="0" r="r" b="b"/>
              <a:pathLst>
                <a:path w="323" h="280">
                  <a:moveTo>
                    <a:pt x="4" y="0"/>
                  </a:moveTo>
                  <a:cubicBezTo>
                    <a:pt x="4" y="0"/>
                    <a:pt x="0" y="207"/>
                    <a:pt x="90" y="245"/>
                  </a:cubicBezTo>
                  <a:cubicBezTo>
                    <a:pt x="171" y="280"/>
                    <a:pt x="323" y="209"/>
                    <a:pt x="323" y="209"/>
                  </a:cubicBezTo>
                  <a:cubicBezTo>
                    <a:pt x="303" y="115"/>
                    <a:pt x="303" y="115"/>
                    <a:pt x="303" y="115"/>
                  </a:cubicBezTo>
                  <a:cubicBezTo>
                    <a:pt x="303" y="115"/>
                    <a:pt x="184" y="165"/>
                    <a:pt x="141" y="143"/>
                  </a:cubicBezTo>
                  <a:cubicBezTo>
                    <a:pt x="112" y="128"/>
                    <a:pt x="98" y="10"/>
                    <a:pt x="98" y="10"/>
                  </a:cubicBezTo>
                </a:path>
              </a:pathLst>
            </a:custGeom>
            <a:solidFill>
              <a:srgbClr val="FFAC0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1" name="Freeform 256"/>
            <p:cNvSpPr/>
            <p:nvPr userDrawn="1"/>
          </p:nvSpPr>
          <p:spPr bwMode="auto">
            <a:xfrm>
              <a:off x="2576362" y="4303416"/>
              <a:ext cx="186065" cy="152839"/>
            </a:xfrm>
            <a:custGeom>
              <a:avLst/>
              <a:gdLst>
                <a:gd name="T0" fmla="*/ 0 w 72"/>
                <a:gd name="T1" fmla="*/ 22 h 59"/>
                <a:gd name="T2" fmla="*/ 51 w 72"/>
                <a:gd name="T3" fmla="*/ 2 h 59"/>
                <a:gd name="T4" fmla="*/ 42 w 72"/>
                <a:gd name="T5" fmla="*/ 12 h 59"/>
                <a:gd name="T6" fmla="*/ 66 w 72"/>
                <a:gd name="T7" fmla="*/ 7 h 59"/>
                <a:gd name="T8" fmla="*/ 47 w 72"/>
                <a:gd name="T9" fmla="*/ 18 h 59"/>
                <a:gd name="T10" fmla="*/ 72 w 72"/>
                <a:gd name="T11" fmla="*/ 15 h 59"/>
                <a:gd name="T12" fmla="*/ 48 w 72"/>
                <a:gd name="T13" fmla="*/ 27 h 59"/>
                <a:gd name="T14" fmla="*/ 69 w 72"/>
                <a:gd name="T15" fmla="*/ 24 h 59"/>
                <a:gd name="T16" fmla="*/ 48 w 72"/>
                <a:gd name="T17" fmla="*/ 35 h 59"/>
                <a:gd name="T18" fmla="*/ 66 w 72"/>
                <a:gd name="T19" fmla="*/ 32 h 59"/>
                <a:gd name="T20" fmla="*/ 10 w 72"/>
                <a:gd name="T2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9">
                  <a:moveTo>
                    <a:pt x="0" y="22"/>
                  </a:moveTo>
                  <a:cubicBezTo>
                    <a:pt x="13" y="18"/>
                    <a:pt x="49" y="0"/>
                    <a:pt x="51" y="2"/>
                  </a:cubicBezTo>
                  <a:cubicBezTo>
                    <a:pt x="53" y="4"/>
                    <a:pt x="40" y="11"/>
                    <a:pt x="42" y="12"/>
                  </a:cubicBezTo>
                  <a:cubicBezTo>
                    <a:pt x="44" y="13"/>
                    <a:pt x="65" y="5"/>
                    <a:pt x="66" y="7"/>
                  </a:cubicBezTo>
                  <a:cubicBezTo>
                    <a:pt x="68" y="11"/>
                    <a:pt x="47" y="18"/>
                    <a:pt x="47" y="18"/>
                  </a:cubicBezTo>
                  <a:cubicBezTo>
                    <a:pt x="47" y="18"/>
                    <a:pt x="71" y="11"/>
                    <a:pt x="72" y="15"/>
                  </a:cubicBezTo>
                  <a:cubicBezTo>
                    <a:pt x="72" y="17"/>
                    <a:pt x="54" y="23"/>
                    <a:pt x="48" y="27"/>
                  </a:cubicBezTo>
                  <a:cubicBezTo>
                    <a:pt x="55" y="24"/>
                    <a:pt x="68" y="21"/>
                    <a:pt x="69" y="24"/>
                  </a:cubicBezTo>
                  <a:cubicBezTo>
                    <a:pt x="69" y="26"/>
                    <a:pt x="57" y="31"/>
                    <a:pt x="48" y="35"/>
                  </a:cubicBezTo>
                  <a:cubicBezTo>
                    <a:pt x="54" y="33"/>
                    <a:pt x="65" y="30"/>
                    <a:pt x="66" y="32"/>
                  </a:cubicBezTo>
                  <a:cubicBezTo>
                    <a:pt x="66" y="35"/>
                    <a:pt x="38" y="48"/>
                    <a:pt x="10" y="59"/>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2" name="Freeform 247"/>
            <p:cNvSpPr/>
            <p:nvPr userDrawn="1"/>
          </p:nvSpPr>
          <p:spPr bwMode="auto">
            <a:xfrm>
              <a:off x="2051394" y="4786852"/>
              <a:ext cx="71436" cy="149516"/>
            </a:xfrm>
            <a:custGeom>
              <a:avLst/>
              <a:gdLst>
                <a:gd name="T0" fmla="*/ 0 w 27"/>
                <a:gd name="T1" fmla="*/ 58 h 58"/>
                <a:gd name="T2" fmla="*/ 0 w 27"/>
                <a:gd name="T3" fmla="*/ 58 h 58"/>
                <a:gd name="T4" fmla="*/ 9 w 27"/>
                <a:gd name="T5" fmla="*/ 56 h 58"/>
                <a:gd name="T6" fmla="*/ 16 w 27"/>
                <a:gd name="T7" fmla="*/ 53 h 58"/>
                <a:gd name="T8" fmla="*/ 20 w 27"/>
                <a:gd name="T9" fmla="*/ 47 h 58"/>
                <a:gd name="T10" fmla="*/ 24 w 27"/>
                <a:gd name="T11" fmla="*/ 20 h 58"/>
                <a:gd name="T12" fmla="*/ 27 w 27"/>
                <a:gd name="T13" fmla="*/ 0 h 58"/>
                <a:gd name="T14" fmla="*/ 23 w 27"/>
                <a:gd name="T15" fmla="*/ 0 h 58"/>
                <a:gd name="T16" fmla="*/ 23 w 27"/>
                <a:gd name="T17" fmla="*/ 6 h 58"/>
                <a:gd name="T18" fmla="*/ 19 w 27"/>
                <a:gd name="T19" fmla="*/ 27 h 58"/>
                <a:gd name="T20" fmla="*/ 16 w 27"/>
                <a:gd name="T21" fmla="*/ 46 h 58"/>
                <a:gd name="T22" fmla="*/ 13 w 27"/>
                <a:gd name="T23" fmla="*/ 50 h 58"/>
                <a:gd name="T24" fmla="*/ 6 w 27"/>
                <a:gd name="T25" fmla="*/ 53 h 58"/>
                <a:gd name="T26" fmla="*/ 0 w 27"/>
                <a:gd name="T27" fmla="*/ 54 h 58"/>
                <a:gd name="T28" fmla="*/ 0 w 27"/>
                <a:gd name="T29" fmla="*/ 54 h 58"/>
                <a:gd name="T30" fmla="*/ 0 w 27"/>
                <a:gd name="T3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58">
                  <a:moveTo>
                    <a:pt x="0" y="58"/>
                  </a:moveTo>
                  <a:cubicBezTo>
                    <a:pt x="0" y="58"/>
                    <a:pt x="0" y="58"/>
                    <a:pt x="0" y="58"/>
                  </a:cubicBezTo>
                  <a:cubicBezTo>
                    <a:pt x="1" y="58"/>
                    <a:pt x="5" y="58"/>
                    <a:pt x="9" y="56"/>
                  </a:cubicBezTo>
                  <a:cubicBezTo>
                    <a:pt x="12" y="56"/>
                    <a:pt x="14" y="55"/>
                    <a:pt x="16" y="53"/>
                  </a:cubicBezTo>
                  <a:cubicBezTo>
                    <a:pt x="18" y="52"/>
                    <a:pt x="19" y="50"/>
                    <a:pt x="20" y="47"/>
                  </a:cubicBezTo>
                  <a:cubicBezTo>
                    <a:pt x="21" y="42"/>
                    <a:pt x="23" y="31"/>
                    <a:pt x="24" y="20"/>
                  </a:cubicBezTo>
                  <a:cubicBezTo>
                    <a:pt x="26" y="10"/>
                    <a:pt x="27" y="0"/>
                    <a:pt x="27" y="0"/>
                  </a:cubicBezTo>
                  <a:cubicBezTo>
                    <a:pt x="23" y="0"/>
                    <a:pt x="23" y="0"/>
                    <a:pt x="23" y="0"/>
                  </a:cubicBezTo>
                  <a:cubicBezTo>
                    <a:pt x="23" y="0"/>
                    <a:pt x="23" y="2"/>
                    <a:pt x="23" y="6"/>
                  </a:cubicBezTo>
                  <a:cubicBezTo>
                    <a:pt x="22" y="11"/>
                    <a:pt x="21" y="20"/>
                    <a:pt x="19" y="27"/>
                  </a:cubicBezTo>
                  <a:cubicBezTo>
                    <a:pt x="18" y="35"/>
                    <a:pt x="17" y="43"/>
                    <a:pt x="16" y="46"/>
                  </a:cubicBezTo>
                  <a:cubicBezTo>
                    <a:pt x="16" y="48"/>
                    <a:pt x="15" y="49"/>
                    <a:pt x="13" y="50"/>
                  </a:cubicBezTo>
                  <a:cubicBezTo>
                    <a:pt x="11" y="52"/>
                    <a:pt x="8" y="53"/>
                    <a:pt x="6" y="53"/>
                  </a:cubicBezTo>
                  <a:cubicBezTo>
                    <a:pt x="3" y="54"/>
                    <a:pt x="1" y="54"/>
                    <a:pt x="0" y="54"/>
                  </a:cubicBezTo>
                  <a:cubicBezTo>
                    <a:pt x="0" y="54"/>
                    <a:pt x="0" y="54"/>
                    <a:pt x="0" y="54"/>
                  </a:cubicBezTo>
                  <a:cubicBezTo>
                    <a:pt x="0" y="58"/>
                    <a:pt x="0" y="58"/>
                    <a:pt x="0" y="58"/>
                  </a:cubicBezTo>
                  <a:close/>
                </a:path>
              </a:pathLst>
            </a:custGeom>
            <a:solidFill>
              <a:srgbClr val="025FB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3" name="Freeform 260"/>
            <p:cNvSpPr/>
            <p:nvPr userDrawn="1"/>
          </p:nvSpPr>
          <p:spPr bwMode="auto">
            <a:xfrm>
              <a:off x="2529846" y="4366545"/>
              <a:ext cx="59806" cy="250855"/>
            </a:xfrm>
            <a:custGeom>
              <a:avLst/>
              <a:gdLst>
                <a:gd name="T0" fmla="*/ 0 w 36"/>
                <a:gd name="T1" fmla="*/ 1 h 151"/>
                <a:gd name="T2" fmla="*/ 29 w 36"/>
                <a:gd name="T3" fmla="*/ 151 h 151"/>
                <a:gd name="T4" fmla="*/ 36 w 36"/>
                <a:gd name="T5" fmla="*/ 150 h 151"/>
                <a:gd name="T6" fmla="*/ 6 w 36"/>
                <a:gd name="T7" fmla="*/ 0 h 151"/>
                <a:gd name="T8" fmla="*/ 0 w 36"/>
                <a:gd name="T9" fmla="*/ 1 h 151"/>
              </a:gdLst>
              <a:ahLst/>
              <a:cxnLst>
                <a:cxn ang="0">
                  <a:pos x="T0" y="T1"/>
                </a:cxn>
                <a:cxn ang="0">
                  <a:pos x="T2" y="T3"/>
                </a:cxn>
                <a:cxn ang="0">
                  <a:pos x="T4" y="T5"/>
                </a:cxn>
                <a:cxn ang="0">
                  <a:pos x="T6" y="T7"/>
                </a:cxn>
                <a:cxn ang="0">
                  <a:pos x="T8" y="T9"/>
                </a:cxn>
              </a:cxnLst>
              <a:rect l="0" t="0" r="r" b="b"/>
              <a:pathLst>
                <a:path w="36" h="151">
                  <a:moveTo>
                    <a:pt x="0" y="1"/>
                  </a:moveTo>
                  <a:lnTo>
                    <a:pt x="29" y="151"/>
                  </a:lnTo>
                  <a:lnTo>
                    <a:pt x="36" y="150"/>
                  </a:lnTo>
                  <a:lnTo>
                    <a:pt x="6" y="0"/>
                  </a:lnTo>
                  <a:lnTo>
                    <a:pt x="0" y="1"/>
                  </a:ln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4" name="Freeform 250"/>
            <p:cNvSpPr/>
            <p:nvPr userDrawn="1"/>
          </p:nvSpPr>
          <p:spPr bwMode="auto">
            <a:xfrm>
              <a:off x="1657669" y="4745320"/>
              <a:ext cx="162806" cy="106323"/>
            </a:xfrm>
            <a:custGeom>
              <a:avLst/>
              <a:gdLst>
                <a:gd name="T0" fmla="*/ 0 w 63"/>
                <a:gd name="T1" fmla="*/ 41 h 41"/>
                <a:gd name="T2" fmla="*/ 17 w 63"/>
                <a:gd name="T3" fmla="*/ 40 h 41"/>
                <a:gd name="T4" fmla="*/ 31 w 63"/>
                <a:gd name="T5" fmla="*/ 38 h 41"/>
                <a:gd name="T6" fmla="*/ 41 w 63"/>
                <a:gd name="T7" fmla="*/ 36 h 41"/>
                <a:gd name="T8" fmla="*/ 41 w 63"/>
                <a:gd name="T9" fmla="*/ 36 h 41"/>
                <a:gd name="T10" fmla="*/ 45 w 63"/>
                <a:gd name="T11" fmla="*/ 33 h 41"/>
                <a:gd name="T12" fmla="*/ 57 w 63"/>
                <a:gd name="T13" fmla="*/ 14 h 41"/>
                <a:gd name="T14" fmla="*/ 63 w 63"/>
                <a:gd name="T15" fmla="*/ 1 h 41"/>
                <a:gd name="T16" fmla="*/ 59 w 63"/>
                <a:gd name="T17" fmla="*/ 0 h 41"/>
                <a:gd name="T18" fmla="*/ 59 w 63"/>
                <a:gd name="T19" fmla="*/ 1 h 41"/>
                <a:gd name="T20" fmla="*/ 50 w 63"/>
                <a:gd name="T21" fmla="*/ 18 h 41"/>
                <a:gd name="T22" fmla="*/ 45 w 63"/>
                <a:gd name="T23" fmla="*/ 27 h 41"/>
                <a:gd name="T24" fmla="*/ 40 w 63"/>
                <a:gd name="T25" fmla="*/ 32 h 41"/>
                <a:gd name="T26" fmla="*/ 40 w 63"/>
                <a:gd name="T27" fmla="*/ 32 h 41"/>
                <a:gd name="T28" fmla="*/ 30 w 63"/>
                <a:gd name="T29" fmla="*/ 34 h 41"/>
                <a:gd name="T30" fmla="*/ 10 w 63"/>
                <a:gd name="T31" fmla="*/ 36 h 41"/>
                <a:gd name="T32" fmla="*/ 0 w 63"/>
                <a:gd name="T33" fmla="*/ 37 h 41"/>
                <a:gd name="T34" fmla="*/ 0 w 63"/>
                <a:gd name="T3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41">
                  <a:moveTo>
                    <a:pt x="0" y="41"/>
                  </a:moveTo>
                  <a:cubicBezTo>
                    <a:pt x="0" y="41"/>
                    <a:pt x="8" y="41"/>
                    <a:pt x="17" y="40"/>
                  </a:cubicBezTo>
                  <a:cubicBezTo>
                    <a:pt x="22" y="39"/>
                    <a:pt x="26" y="39"/>
                    <a:pt x="31" y="38"/>
                  </a:cubicBezTo>
                  <a:cubicBezTo>
                    <a:pt x="35" y="37"/>
                    <a:pt x="39" y="37"/>
                    <a:pt x="41" y="36"/>
                  </a:cubicBezTo>
                  <a:cubicBezTo>
                    <a:pt x="41" y="36"/>
                    <a:pt x="41" y="36"/>
                    <a:pt x="41" y="36"/>
                  </a:cubicBezTo>
                  <a:cubicBezTo>
                    <a:pt x="43" y="35"/>
                    <a:pt x="44" y="34"/>
                    <a:pt x="45" y="33"/>
                  </a:cubicBezTo>
                  <a:cubicBezTo>
                    <a:pt x="49" y="29"/>
                    <a:pt x="54" y="21"/>
                    <a:pt x="57" y="14"/>
                  </a:cubicBezTo>
                  <a:cubicBezTo>
                    <a:pt x="60" y="7"/>
                    <a:pt x="63" y="1"/>
                    <a:pt x="63" y="1"/>
                  </a:cubicBezTo>
                  <a:cubicBezTo>
                    <a:pt x="59" y="0"/>
                    <a:pt x="59" y="0"/>
                    <a:pt x="59" y="0"/>
                  </a:cubicBezTo>
                  <a:cubicBezTo>
                    <a:pt x="59" y="0"/>
                    <a:pt x="59" y="0"/>
                    <a:pt x="59" y="1"/>
                  </a:cubicBezTo>
                  <a:cubicBezTo>
                    <a:pt x="57" y="4"/>
                    <a:pt x="54" y="11"/>
                    <a:pt x="50" y="18"/>
                  </a:cubicBezTo>
                  <a:cubicBezTo>
                    <a:pt x="49" y="21"/>
                    <a:pt x="47" y="25"/>
                    <a:pt x="45" y="27"/>
                  </a:cubicBezTo>
                  <a:cubicBezTo>
                    <a:pt x="43" y="30"/>
                    <a:pt x="41" y="32"/>
                    <a:pt x="40" y="32"/>
                  </a:cubicBezTo>
                  <a:cubicBezTo>
                    <a:pt x="40" y="32"/>
                    <a:pt x="40" y="32"/>
                    <a:pt x="40" y="32"/>
                  </a:cubicBezTo>
                  <a:cubicBezTo>
                    <a:pt x="38" y="33"/>
                    <a:pt x="34" y="33"/>
                    <a:pt x="30" y="34"/>
                  </a:cubicBezTo>
                  <a:cubicBezTo>
                    <a:pt x="24" y="35"/>
                    <a:pt x="16" y="36"/>
                    <a:pt x="10" y="36"/>
                  </a:cubicBezTo>
                  <a:cubicBezTo>
                    <a:pt x="4" y="37"/>
                    <a:pt x="0" y="37"/>
                    <a:pt x="0" y="37"/>
                  </a:cubicBezTo>
                  <a:cubicBezTo>
                    <a:pt x="0" y="41"/>
                    <a:pt x="0" y="41"/>
                    <a:pt x="0" y="41"/>
                  </a:cubicBezTo>
                  <a:close/>
                </a:path>
              </a:pathLst>
            </a:custGeom>
            <a:solidFill>
              <a:srgbClr val="4378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5" name="Freeform 261"/>
            <p:cNvSpPr/>
            <p:nvPr userDrawn="1"/>
          </p:nvSpPr>
          <p:spPr bwMode="auto">
            <a:xfrm>
              <a:off x="2529846" y="4366545"/>
              <a:ext cx="59806" cy="250855"/>
            </a:xfrm>
            <a:custGeom>
              <a:avLst/>
              <a:gdLst>
                <a:gd name="T0" fmla="*/ 0 w 36"/>
                <a:gd name="T1" fmla="*/ 1 h 151"/>
                <a:gd name="T2" fmla="*/ 29 w 36"/>
                <a:gd name="T3" fmla="*/ 151 h 151"/>
                <a:gd name="T4" fmla="*/ 36 w 36"/>
                <a:gd name="T5" fmla="*/ 150 h 151"/>
                <a:gd name="T6" fmla="*/ 6 w 36"/>
                <a:gd name="T7" fmla="*/ 0 h 151"/>
              </a:gdLst>
              <a:ahLst/>
              <a:cxnLst>
                <a:cxn ang="0">
                  <a:pos x="T0" y="T1"/>
                </a:cxn>
                <a:cxn ang="0">
                  <a:pos x="T2" y="T3"/>
                </a:cxn>
                <a:cxn ang="0">
                  <a:pos x="T4" y="T5"/>
                </a:cxn>
                <a:cxn ang="0">
                  <a:pos x="T6" y="T7"/>
                </a:cxn>
              </a:cxnLst>
              <a:rect l="0" t="0" r="r" b="b"/>
              <a:pathLst>
                <a:path w="36" h="151">
                  <a:moveTo>
                    <a:pt x="0" y="1"/>
                  </a:moveTo>
                  <a:lnTo>
                    <a:pt x="29" y="151"/>
                  </a:lnTo>
                  <a:lnTo>
                    <a:pt x="36" y="15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6" name="Rectangle 242"/>
            <p:cNvSpPr>
              <a:spLocks noChangeArrowheads="1"/>
            </p:cNvSpPr>
            <p:nvPr userDrawn="1"/>
          </p:nvSpPr>
          <p:spPr bwMode="auto">
            <a:xfrm>
              <a:off x="1380233" y="6230513"/>
              <a:ext cx="397049" cy="14952"/>
            </a:xfrm>
            <a:prstGeom prst="rect">
              <a:avLst/>
            </a:prstGeom>
            <a:solidFill>
              <a:srgbClr val="FFAC0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697" name="Freeform 243"/>
            <p:cNvSpPr/>
            <p:nvPr userDrawn="1"/>
          </p:nvSpPr>
          <p:spPr bwMode="auto">
            <a:xfrm>
              <a:off x="1380233" y="6087642"/>
              <a:ext cx="397049" cy="142871"/>
            </a:xfrm>
            <a:custGeom>
              <a:avLst/>
              <a:gdLst>
                <a:gd name="T0" fmla="*/ 28 w 153"/>
                <a:gd name="T1" fmla="*/ 0 h 55"/>
                <a:gd name="T2" fmla="*/ 15 w 153"/>
                <a:gd name="T3" fmla="*/ 3 h 55"/>
                <a:gd name="T4" fmla="*/ 5 w 153"/>
                <a:gd name="T5" fmla="*/ 30 h 55"/>
                <a:gd name="T6" fmla="*/ 0 w 153"/>
                <a:gd name="T7" fmla="*/ 55 h 55"/>
                <a:gd name="T8" fmla="*/ 153 w 153"/>
                <a:gd name="T9" fmla="*/ 55 h 55"/>
                <a:gd name="T10" fmla="*/ 114 w 153"/>
                <a:gd name="T11" fmla="*/ 21 h 55"/>
                <a:gd name="T12" fmla="*/ 94 w 153"/>
                <a:gd name="T13" fmla="*/ 4 h 55"/>
                <a:gd name="T14" fmla="*/ 28 w 153"/>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55">
                  <a:moveTo>
                    <a:pt x="28" y="0"/>
                  </a:moveTo>
                  <a:cubicBezTo>
                    <a:pt x="15" y="3"/>
                    <a:pt x="15" y="3"/>
                    <a:pt x="15" y="3"/>
                  </a:cubicBezTo>
                  <a:cubicBezTo>
                    <a:pt x="15" y="3"/>
                    <a:pt x="7" y="20"/>
                    <a:pt x="5" y="30"/>
                  </a:cubicBezTo>
                  <a:cubicBezTo>
                    <a:pt x="1" y="42"/>
                    <a:pt x="0" y="55"/>
                    <a:pt x="0" y="55"/>
                  </a:cubicBezTo>
                  <a:cubicBezTo>
                    <a:pt x="153" y="55"/>
                    <a:pt x="153" y="55"/>
                    <a:pt x="153" y="55"/>
                  </a:cubicBezTo>
                  <a:cubicBezTo>
                    <a:pt x="153" y="55"/>
                    <a:pt x="149" y="42"/>
                    <a:pt x="114" y="21"/>
                  </a:cubicBezTo>
                  <a:cubicBezTo>
                    <a:pt x="100" y="13"/>
                    <a:pt x="94" y="4"/>
                    <a:pt x="94" y="4"/>
                  </a:cubicBezTo>
                  <a:lnTo>
                    <a:pt x="28" y="0"/>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8" name="Freeform 244"/>
            <p:cNvSpPr/>
            <p:nvPr userDrawn="1"/>
          </p:nvSpPr>
          <p:spPr bwMode="auto">
            <a:xfrm>
              <a:off x="1418443" y="5909884"/>
              <a:ext cx="277436" cy="206000"/>
            </a:xfrm>
            <a:custGeom>
              <a:avLst/>
              <a:gdLst>
                <a:gd name="T0" fmla="*/ 21 w 107"/>
                <a:gd name="T1" fmla="*/ 7 h 80"/>
                <a:gd name="T2" fmla="*/ 0 w 107"/>
                <a:gd name="T3" fmla="*/ 72 h 80"/>
                <a:gd name="T4" fmla="*/ 31 w 107"/>
                <a:gd name="T5" fmla="*/ 80 h 80"/>
                <a:gd name="T6" fmla="*/ 79 w 107"/>
                <a:gd name="T7" fmla="*/ 73 h 80"/>
                <a:gd name="T8" fmla="*/ 107 w 107"/>
                <a:gd name="T9" fmla="*/ 0 h 80"/>
              </a:gdLst>
              <a:ahLst/>
              <a:cxnLst>
                <a:cxn ang="0">
                  <a:pos x="T0" y="T1"/>
                </a:cxn>
                <a:cxn ang="0">
                  <a:pos x="T2" y="T3"/>
                </a:cxn>
                <a:cxn ang="0">
                  <a:pos x="T4" y="T5"/>
                </a:cxn>
                <a:cxn ang="0">
                  <a:pos x="T6" y="T7"/>
                </a:cxn>
                <a:cxn ang="0">
                  <a:pos x="T8" y="T9"/>
                </a:cxn>
              </a:cxnLst>
              <a:rect l="0" t="0" r="r" b="b"/>
              <a:pathLst>
                <a:path w="107" h="80">
                  <a:moveTo>
                    <a:pt x="21" y="7"/>
                  </a:moveTo>
                  <a:cubicBezTo>
                    <a:pt x="0" y="72"/>
                    <a:pt x="0" y="72"/>
                    <a:pt x="0" y="72"/>
                  </a:cubicBezTo>
                  <a:cubicBezTo>
                    <a:pt x="0" y="72"/>
                    <a:pt x="6" y="80"/>
                    <a:pt x="31" y="80"/>
                  </a:cubicBezTo>
                  <a:cubicBezTo>
                    <a:pt x="56" y="80"/>
                    <a:pt x="79" y="73"/>
                    <a:pt x="79" y="73"/>
                  </a:cubicBezTo>
                  <a:cubicBezTo>
                    <a:pt x="107" y="0"/>
                    <a:pt x="107" y="0"/>
                    <a:pt x="107" y="0"/>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9" name="Oval 6"/>
            <p:cNvSpPr>
              <a:spLocks noChangeArrowheads="1"/>
            </p:cNvSpPr>
            <p:nvPr userDrawn="1"/>
          </p:nvSpPr>
          <p:spPr bwMode="auto">
            <a:xfrm>
              <a:off x="1021394" y="4755052"/>
              <a:ext cx="142871" cy="146194"/>
            </a:xfrm>
            <a:prstGeom prst="ellipse">
              <a:avLst/>
            </a:prstGeom>
            <a:solidFill>
              <a:srgbClr val="D7F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0" name="Rectangle 50"/>
            <p:cNvSpPr>
              <a:spLocks noChangeArrowheads="1"/>
            </p:cNvSpPr>
            <p:nvPr userDrawn="1"/>
          </p:nvSpPr>
          <p:spPr bwMode="auto">
            <a:xfrm>
              <a:off x="1330394" y="5278594"/>
              <a:ext cx="9968" cy="63129"/>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01" name="Freeform 51"/>
            <p:cNvSpPr/>
            <p:nvPr userDrawn="1"/>
          </p:nvSpPr>
          <p:spPr bwMode="auto">
            <a:xfrm>
              <a:off x="1330394" y="5278594"/>
              <a:ext cx="9968" cy="63129"/>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2" name="Rectangle 52"/>
            <p:cNvSpPr>
              <a:spLocks noChangeArrowheads="1"/>
            </p:cNvSpPr>
            <p:nvPr userDrawn="1"/>
          </p:nvSpPr>
          <p:spPr bwMode="auto">
            <a:xfrm>
              <a:off x="1305475" y="5305175"/>
              <a:ext cx="58146"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03" name="Freeform 53"/>
            <p:cNvSpPr/>
            <p:nvPr userDrawn="1"/>
          </p:nvSpPr>
          <p:spPr bwMode="auto">
            <a:xfrm>
              <a:off x="1305475" y="5305175"/>
              <a:ext cx="58146" cy="9968"/>
            </a:xfrm>
            <a:custGeom>
              <a:avLst/>
              <a:gdLst>
                <a:gd name="T0" fmla="*/ 35 w 35"/>
                <a:gd name="T1" fmla="*/ 0 h 6"/>
                <a:gd name="T2" fmla="*/ 0 w 35"/>
                <a:gd name="T3" fmla="*/ 0 h 6"/>
                <a:gd name="T4" fmla="*/ 0 w 35"/>
                <a:gd name="T5" fmla="*/ 6 h 6"/>
                <a:gd name="T6" fmla="*/ 35 w 35"/>
                <a:gd name="T7" fmla="*/ 6 h 6"/>
              </a:gdLst>
              <a:ahLst/>
              <a:cxnLst>
                <a:cxn ang="0">
                  <a:pos x="T0" y="T1"/>
                </a:cxn>
                <a:cxn ang="0">
                  <a:pos x="T2" y="T3"/>
                </a:cxn>
                <a:cxn ang="0">
                  <a:pos x="T4" y="T5"/>
                </a:cxn>
                <a:cxn ang="0">
                  <a:pos x="T6" y="T7"/>
                </a:cxn>
              </a:cxnLst>
              <a:rect l="0" t="0" r="r" b="b"/>
              <a:pathLst>
                <a:path w="35" h="6">
                  <a:moveTo>
                    <a:pt x="35" y="0"/>
                  </a:moveTo>
                  <a:lnTo>
                    <a:pt x="0" y="0"/>
                  </a:lnTo>
                  <a:lnTo>
                    <a:pt x="0" y="6"/>
                  </a:lnTo>
                  <a:lnTo>
                    <a:pt x="35"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4" name="Freeform 245"/>
            <p:cNvSpPr/>
            <p:nvPr userDrawn="1"/>
          </p:nvSpPr>
          <p:spPr bwMode="auto">
            <a:xfrm>
              <a:off x="1380233" y="4620723"/>
              <a:ext cx="694419" cy="1428709"/>
            </a:xfrm>
            <a:custGeom>
              <a:avLst/>
              <a:gdLst>
                <a:gd name="T0" fmla="*/ 89 w 268"/>
                <a:gd name="T1" fmla="*/ 50 h 551"/>
                <a:gd name="T2" fmla="*/ 91 w 268"/>
                <a:gd name="T3" fmla="*/ 129 h 551"/>
                <a:gd name="T4" fmla="*/ 68 w 268"/>
                <a:gd name="T5" fmla="*/ 288 h 551"/>
                <a:gd name="T6" fmla="*/ 0 w 268"/>
                <a:gd name="T7" fmla="*/ 549 h 551"/>
                <a:gd name="T8" fmla="*/ 134 w 268"/>
                <a:gd name="T9" fmla="*/ 551 h 551"/>
                <a:gd name="T10" fmla="*/ 219 w 268"/>
                <a:gd name="T11" fmla="*/ 318 h 551"/>
                <a:gd name="T12" fmla="*/ 268 w 268"/>
                <a:gd name="T13" fmla="*/ 0 h 551"/>
              </a:gdLst>
              <a:ahLst/>
              <a:cxnLst>
                <a:cxn ang="0">
                  <a:pos x="T0" y="T1"/>
                </a:cxn>
                <a:cxn ang="0">
                  <a:pos x="T2" y="T3"/>
                </a:cxn>
                <a:cxn ang="0">
                  <a:pos x="T4" y="T5"/>
                </a:cxn>
                <a:cxn ang="0">
                  <a:pos x="T6" y="T7"/>
                </a:cxn>
                <a:cxn ang="0">
                  <a:pos x="T8" y="T9"/>
                </a:cxn>
                <a:cxn ang="0">
                  <a:pos x="T10" y="T11"/>
                </a:cxn>
                <a:cxn ang="0">
                  <a:pos x="T12" y="T13"/>
                </a:cxn>
              </a:cxnLst>
              <a:rect l="0" t="0" r="r" b="b"/>
              <a:pathLst>
                <a:path w="268" h="551">
                  <a:moveTo>
                    <a:pt x="89" y="50"/>
                  </a:moveTo>
                  <a:cubicBezTo>
                    <a:pt x="76" y="90"/>
                    <a:pt x="91" y="129"/>
                    <a:pt x="91" y="129"/>
                  </a:cubicBezTo>
                  <a:cubicBezTo>
                    <a:pt x="68" y="288"/>
                    <a:pt x="68" y="288"/>
                    <a:pt x="68" y="288"/>
                  </a:cubicBezTo>
                  <a:cubicBezTo>
                    <a:pt x="0" y="549"/>
                    <a:pt x="0" y="549"/>
                    <a:pt x="0" y="549"/>
                  </a:cubicBezTo>
                  <a:cubicBezTo>
                    <a:pt x="134" y="551"/>
                    <a:pt x="134" y="551"/>
                    <a:pt x="134" y="551"/>
                  </a:cubicBezTo>
                  <a:cubicBezTo>
                    <a:pt x="134" y="551"/>
                    <a:pt x="193" y="384"/>
                    <a:pt x="219" y="318"/>
                  </a:cubicBezTo>
                  <a:cubicBezTo>
                    <a:pt x="251" y="238"/>
                    <a:pt x="268" y="0"/>
                    <a:pt x="268" y="0"/>
                  </a:cubicBezTo>
                </a:path>
              </a:pathLst>
            </a:custGeom>
            <a:solidFill>
              <a:srgbClr val="103B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5" name="Rectangle 253"/>
            <p:cNvSpPr>
              <a:spLocks noChangeArrowheads="1"/>
            </p:cNvSpPr>
            <p:nvPr userDrawn="1"/>
          </p:nvSpPr>
          <p:spPr bwMode="auto">
            <a:xfrm>
              <a:off x="1398508" y="5976336"/>
              <a:ext cx="355516" cy="9968"/>
            </a:xfrm>
            <a:prstGeom prst="rect">
              <a:avLst/>
            </a:prstGeom>
            <a:solidFill>
              <a:srgbClr val="4378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06" name="Freeform 254"/>
            <p:cNvSpPr/>
            <p:nvPr userDrawn="1"/>
          </p:nvSpPr>
          <p:spPr bwMode="auto">
            <a:xfrm>
              <a:off x="1398508" y="5976336"/>
              <a:ext cx="355516" cy="9968"/>
            </a:xfrm>
            <a:custGeom>
              <a:avLst/>
              <a:gdLst>
                <a:gd name="T0" fmla="*/ 0 w 214"/>
                <a:gd name="T1" fmla="*/ 6 h 6"/>
                <a:gd name="T2" fmla="*/ 214 w 214"/>
                <a:gd name="T3" fmla="*/ 6 h 6"/>
                <a:gd name="T4" fmla="*/ 214 w 214"/>
                <a:gd name="T5" fmla="*/ 0 h 6"/>
                <a:gd name="T6" fmla="*/ 0 w 214"/>
                <a:gd name="T7" fmla="*/ 0 h 6"/>
              </a:gdLst>
              <a:ahLst/>
              <a:cxnLst>
                <a:cxn ang="0">
                  <a:pos x="T0" y="T1"/>
                </a:cxn>
                <a:cxn ang="0">
                  <a:pos x="T2" y="T3"/>
                </a:cxn>
                <a:cxn ang="0">
                  <a:pos x="T4" y="T5"/>
                </a:cxn>
                <a:cxn ang="0">
                  <a:pos x="T6" y="T7"/>
                </a:cxn>
              </a:cxnLst>
              <a:rect l="0" t="0" r="r" b="b"/>
              <a:pathLst>
                <a:path w="214" h="6">
                  <a:moveTo>
                    <a:pt x="0" y="6"/>
                  </a:moveTo>
                  <a:lnTo>
                    <a:pt x="214" y="6"/>
                  </a:lnTo>
                  <a:lnTo>
                    <a:pt x="21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7" name="Freeform 249"/>
            <p:cNvSpPr/>
            <p:nvPr userDrawn="1"/>
          </p:nvSpPr>
          <p:spPr bwMode="auto">
            <a:xfrm>
              <a:off x="1435056" y="4773562"/>
              <a:ext cx="249194" cy="1270887"/>
            </a:xfrm>
            <a:custGeom>
              <a:avLst/>
              <a:gdLst>
                <a:gd name="T0" fmla="*/ 3 w 96"/>
                <a:gd name="T1" fmla="*/ 490 h 490"/>
                <a:gd name="T2" fmla="*/ 74 w 96"/>
                <a:gd name="T3" fmla="*/ 229 h 490"/>
                <a:gd name="T4" fmla="*/ 74 w 96"/>
                <a:gd name="T5" fmla="*/ 229 h 490"/>
                <a:gd name="T6" fmla="*/ 96 w 96"/>
                <a:gd name="T7" fmla="*/ 76 h 490"/>
                <a:gd name="T8" fmla="*/ 96 w 96"/>
                <a:gd name="T9" fmla="*/ 72 h 490"/>
                <a:gd name="T10" fmla="*/ 95 w 96"/>
                <a:gd name="T11" fmla="*/ 63 h 490"/>
                <a:gd name="T12" fmla="*/ 87 w 96"/>
                <a:gd name="T13" fmla="*/ 25 h 490"/>
                <a:gd name="T14" fmla="*/ 92 w 96"/>
                <a:gd name="T15" fmla="*/ 2 h 490"/>
                <a:gd name="T16" fmla="*/ 88 w 96"/>
                <a:gd name="T17" fmla="*/ 0 h 490"/>
                <a:gd name="T18" fmla="*/ 83 w 96"/>
                <a:gd name="T19" fmla="*/ 25 h 490"/>
                <a:gd name="T20" fmla="*/ 91 w 96"/>
                <a:gd name="T21" fmla="*/ 64 h 490"/>
                <a:gd name="T22" fmla="*/ 92 w 96"/>
                <a:gd name="T23" fmla="*/ 72 h 490"/>
                <a:gd name="T24" fmla="*/ 92 w 96"/>
                <a:gd name="T25" fmla="*/ 76 h 490"/>
                <a:gd name="T26" fmla="*/ 71 w 96"/>
                <a:gd name="T27" fmla="*/ 229 h 490"/>
                <a:gd name="T28" fmla="*/ 0 w 96"/>
                <a:gd name="T29" fmla="*/ 489 h 490"/>
                <a:gd name="T30" fmla="*/ 3 w 96"/>
                <a:gd name="T31" fmla="*/ 49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490">
                  <a:moveTo>
                    <a:pt x="3" y="490"/>
                  </a:moveTo>
                  <a:cubicBezTo>
                    <a:pt x="74" y="229"/>
                    <a:pt x="74" y="229"/>
                    <a:pt x="74" y="229"/>
                  </a:cubicBezTo>
                  <a:cubicBezTo>
                    <a:pt x="74" y="229"/>
                    <a:pt x="74" y="229"/>
                    <a:pt x="74" y="229"/>
                  </a:cubicBezTo>
                  <a:cubicBezTo>
                    <a:pt x="96" y="76"/>
                    <a:pt x="96" y="76"/>
                    <a:pt x="96" y="76"/>
                  </a:cubicBezTo>
                  <a:cubicBezTo>
                    <a:pt x="96" y="75"/>
                    <a:pt x="96" y="74"/>
                    <a:pt x="96" y="72"/>
                  </a:cubicBezTo>
                  <a:cubicBezTo>
                    <a:pt x="96" y="69"/>
                    <a:pt x="96" y="66"/>
                    <a:pt x="95" y="63"/>
                  </a:cubicBezTo>
                  <a:cubicBezTo>
                    <a:pt x="92" y="55"/>
                    <a:pt x="87" y="40"/>
                    <a:pt x="87" y="25"/>
                  </a:cubicBezTo>
                  <a:cubicBezTo>
                    <a:pt x="87" y="17"/>
                    <a:pt x="88" y="9"/>
                    <a:pt x="92" y="2"/>
                  </a:cubicBezTo>
                  <a:cubicBezTo>
                    <a:pt x="88" y="0"/>
                    <a:pt x="88" y="0"/>
                    <a:pt x="88" y="0"/>
                  </a:cubicBezTo>
                  <a:cubicBezTo>
                    <a:pt x="84" y="8"/>
                    <a:pt x="83" y="16"/>
                    <a:pt x="83" y="25"/>
                  </a:cubicBezTo>
                  <a:cubicBezTo>
                    <a:pt x="83" y="41"/>
                    <a:pt x="88" y="56"/>
                    <a:pt x="91" y="64"/>
                  </a:cubicBezTo>
                  <a:cubicBezTo>
                    <a:pt x="92" y="67"/>
                    <a:pt x="92" y="69"/>
                    <a:pt x="92" y="72"/>
                  </a:cubicBezTo>
                  <a:cubicBezTo>
                    <a:pt x="92" y="73"/>
                    <a:pt x="92" y="75"/>
                    <a:pt x="92" y="76"/>
                  </a:cubicBezTo>
                  <a:cubicBezTo>
                    <a:pt x="71" y="229"/>
                    <a:pt x="71" y="229"/>
                    <a:pt x="71" y="229"/>
                  </a:cubicBezTo>
                  <a:cubicBezTo>
                    <a:pt x="0" y="489"/>
                    <a:pt x="0" y="489"/>
                    <a:pt x="0" y="489"/>
                  </a:cubicBezTo>
                  <a:cubicBezTo>
                    <a:pt x="3" y="490"/>
                    <a:pt x="3" y="490"/>
                    <a:pt x="3" y="490"/>
                  </a:cubicBezTo>
                  <a:close/>
                </a:path>
              </a:pathLst>
            </a:custGeom>
            <a:solidFill>
              <a:srgbClr val="4378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8" name="Freeform 26"/>
            <p:cNvSpPr/>
            <p:nvPr userDrawn="1"/>
          </p:nvSpPr>
          <p:spPr bwMode="auto">
            <a:xfrm>
              <a:off x="1084523" y="3764923"/>
              <a:ext cx="440242" cy="440242"/>
            </a:xfrm>
            <a:custGeom>
              <a:avLst/>
              <a:gdLst>
                <a:gd name="T0" fmla="*/ 154 w 170"/>
                <a:gd name="T1" fmla="*/ 170 h 170"/>
                <a:gd name="T2" fmla="*/ 16 w 170"/>
                <a:gd name="T3" fmla="*/ 170 h 170"/>
                <a:gd name="T4" fmla="*/ 0 w 170"/>
                <a:gd name="T5" fmla="*/ 154 h 170"/>
                <a:gd name="T6" fmla="*/ 0 w 170"/>
                <a:gd name="T7" fmla="*/ 17 h 170"/>
                <a:gd name="T8" fmla="*/ 16 w 170"/>
                <a:gd name="T9" fmla="*/ 0 h 170"/>
                <a:gd name="T10" fmla="*/ 154 w 170"/>
                <a:gd name="T11" fmla="*/ 0 h 170"/>
                <a:gd name="T12" fmla="*/ 170 w 170"/>
                <a:gd name="T13" fmla="*/ 17 h 170"/>
                <a:gd name="T14" fmla="*/ 170 w 170"/>
                <a:gd name="T15" fmla="*/ 154 h 170"/>
                <a:gd name="T16" fmla="*/ 154 w 170"/>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170">
                  <a:moveTo>
                    <a:pt x="154" y="170"/>
                  </a:moveTo>
                  <a:cubicBezTo>
                    <a:pt x="16" y="170"/>
                    <a:pt x="16" y="170"/>
                    <a:pt x="16" y="170"/>
                  </a:cubicBezTo>
                  <a:cubicBezTo>
                    <a:pt x="7" y="170"/>
                    <a:pt x="0" y="163"/>
                    <a:pt x="0" y="154"/>
                  </a:cubicBezTo>
                  <a:cubicBezTo>
                    <a:pt x="0" y="17"/>
                    <a:pt x="0" y="17"/>
                    <a:pt x="0" y="17"/>
                  </a:cubicBezTo>
                  <a:cubicBezTo>
                    <a:pt x="0" y="8"/>
                    <a:pt x="7" y="0"/>
                    <a:pt x="16" y="0"/>
                  </a:cubicBezTo>
                  <a:cubicBezTo>
                    <a:pt x="154" y="0"/>
                    <a:pt x="154" y="0"/>
                    <a:pt x="154" y="0"/>
                  </a:cubicBezTo>
                  <a:cubicBezTo>
                    <a:pt x="163" y="0"/>
                    <a:pt x="170" y="8"/>
                    <a:pt x="170" y="17"/>
                  </a:cubicBezTo>
                  <a:cubicBezTo>
                    <a:pt x="170" y="154"/>
                    <a:pt x="170" y="154"/>
                    <a:pt x="170" y="154"/>
                  </a:cubicBezTo>
                  <a:cubicBezTo>
                    <a:pt x="170" y="163"/>
                    <a:pt x="163" y="170"/>
                    <a:pt x="154" y="170"/>
                  </a:cubicBezTo>
                  <a:close/>
                </a:path>
              </a:pathLst>
            </a:custGeom>
            <a:solidFill>
              <a:srgbClr val="B3E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9" name="Freeform 27"/>
            <p:cNvSpPr/>
            <p:nvPr userDrawn="1"/>
          </p:nvSpPr>
          <p:spPr bwMode="auto">
            <a:xfrm>
              <a:off x="1180878" y="3851310"/>
              <a:ext cx="247533" cy="269129"/>
            </a:xfrm>
            <a:custGeom>
              <a:avLst/>
              <a:gdLst>
                <a:gd name="T0" fmla="*/ 149 w 149"/>
                <a:gd name="T1" fmla="*/ 93 h 162"/>
                <a:gd name="T2" fmla="*/ 75 w 149"/>
                <a:gd name="T3" fmla="*/ 0 h 162"/>
                <a:gd name="T4" fmla="*/ 0 w 149"/>
                <a:gd name="T5" fmla="*/ 93 h 162"/>
                <a:gd name="T6" fmla="*/ 42 w 149"/>
                <a:gd name="T7" fmla="*/ 93 h 162"/>
                <a:gd name="T8" fmla="*/ 42 w 149"/>
                <a:gd name="T9" fmla="*/ 162 h 162"/>
                <a:gd name="T10" fmla="*/ 107 w 149"/>
                <a:gd name="T11" fmla="*/ 162 h 162"/>
                <a:gd name="T12" fmla="*/ 107 w 149"/>
                <a:gd name="T13" fmla="*/ 93 h 162"/>
                <a:gd name="T14" fmla="*/ 149 w 149"/>
                <a:gd name="T15" fmla="*/ 93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162">
                  <a:moveTo>
                    <a:pt x="149" y="93"/>
                  </a:moveTo>
                  <a:lnTo>
                    <a:pt x="75" y="0"/>
                  </a:lnTo>
                  <a:lnTo>
                    <a:pt x="0" y="93"/>
                  </a:lnTo>
                  <a:lnTo>
                    <a:pt x="42" y="93"/>
                  </a:lnTo>
                  <a:lnTo>
                    <a:pt x="42" y="162"/>
                  </a:lnTo>
                  <a:lnTo>
                    <a:pt x="107" y="162"/>
                  </a:lnTo>
                  <a:lnTo>
                    <a:pt x="107" y="93"/>
                  </a:lnTo>
                  <a:lnTo>
                    <a:pt x="149" y="9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0" name="Rectangle 30"/>
            <p:cNvSpPr>
              <a:spLocks noChangeArrowheads="1"/>
            </p:cNvSpPr>
            <p:nvPr userDrawn="1"/>
          </p:nvSpPr>
          <p:spPr bwMode="auto">
            <a:xfrm>
              <a:off x="1117749" y="3655278"/>
              <a:ext cx="152839" cy="11630"/>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11" name="Freeform 31"/>
            <p:cNvSpPr/>
            <p:nvPr userDrawn="1"/>
          </p:nvSpPr>
          <p:spPr bwMode="auto">
            <a:xfrm>
              <a:off x="1117749" y="3655278"/>
              <a:ext cx="152839" cy="11630"/>
            </a:xfrm>
            <a:custGeom>
              <a:avLst/>
              <a:gdLst>
                <a:gd name="T0" fmla="*/ 0 w 92"/>
                <a:gd name="T1" fmla="*/ 7 h 7"/>
                <a:gd name="T2" fmla="*/ 92 w 92"/>
                <a:gd name="T3" fmla="*/ 7 h 7"/>
                <a:gd name="T4" fmla="*/ 92 w 92"/>
                <a:gd name="T5" fmla="*/ 0 h 7"/>
                <a:gd name="T6" fmla="*/ 0 w 92"/>
                <a:gd name="T7" fmla="*/ 0 h 7"/>
              </a:gdLst>
              <a:ahLst/>
              <a:cxnLst>
                <a:cxn ang="0">
                  <a:pos x="T0" y="T1"/>
                </a:cxn>
                <a:cxn ang="0">
                  <a:pos x="T2" y="T3"/>
                </a:cxn>
                <a:cxn ang="0">
                  <a:pos x="T4" y="T5"/>
                </a:cxn>
                <a:cxn ang="0">
                  <a:pos x="T6" y="T7"/>
                </a:cxn>
              </a:cxnLst>
              <a:rect l="0" t="0" r="r" b="b"/>
              <a:pathLst>
                <a:path w="92" h="7">
                  <a:moveTo>
                    <a:pt x="0" y="7"/>
                  </a:moveTo>
                  <a:lnTo>
                    <a:pt x="92" y="7"/>
                  </a:lnTo>
                  <a:lnTo>
                    <a:pt x="9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2" name="Rectangle 32"/>
            <p:cNvSpPr>
              <a:spLocks noChangeArrowheads="1"/>
            </p:cNvSpPr>
            <p:nvPr userDrawn="1"/>
          </p:nvSpPr>
          <p:spPr bwMode="auto">
            <a:xfrm>
              <a:off x="983185" y="3655278"/>
              <a:ext cx="83065" cy="11630"/>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13" name="Freeform 33"/>
            <p:cNvSpPr/>
            <p:nvPr userDrawn="1"/>
          </p:nvSpPr>
          <p:spPr bwMode="auto">
            <a:xfrm>
              <a:off x="983185" y="3655278"/>
              <a:ext cx="83065" cy="11630"/>
            </a:xfrm>
            <a:custGeom>
              <a:avLst/>
              <a:gdLst>
                <a:gd name="T0" fmla="*/ 0 w 50"/>
                <a:gd name="T1" fmla="*/ 7 h 7"/>
                <a:gd name="T2" fmla="*/ 50 w 50"/>
                <a:gd name="T3" fmla="*/ 7 h 7"/>
                <a:gd name="T4" fmla="*/ 50 w 50"/>
                <a:gd name="T5" fmla="*/ 0 h 7"/>
                <a:gd name="T6" fmla="*/ 0 w 50"/>
                <a:gd name="T7" fmla="*/ 0 h 7"/>
              </a:gdLst>
              <a:ahLst/>
              <a:cxnLst>
                <a:cxn ang="0">
                  <a:pos x="T0" y="T1"/>
                </a:cxn>
                <a:cxn ang="0">
                  <a:pos x="T2" y="T3"/>
                </a:cxn>
                <a:cxn ang="0">
                  <a:pos x="T4" y="T5"/>
                </a:cxn>
                <a:cxn ang="0">
                  <a:pos x="T6" y="T7"/>
                </a:cxn>
              </a:cxnLst>
              <a:rect l="0" t="0" r="r" b="b"/>
              <a:pathLst>
                <a:path w="50" h="7">
                  <a:moveTo>
                    <a:pt x="0" y="7"/>
                  </a:moveTo>
                  <a:lnTo>
                    <a:pt x="50" y="7"/>
                  </a:lnTo>
                  <a:lnTo>
                    <a:pt x="5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4" name="Freeform 255"/>
            <p:cNvSpPr/>
            <p:nvPr userDrawn="1"/>
          </p:nvSpPr>
          <p:spPr bwMode="auto">
            <a:xfrm>
              <a:off x="1556330" y="3917997"/>
              <a:ext cx="684452" cy="880484"/>
            </a:xfrm>
            <a:custGeom>
              <a:avLst/>
              <a:gdLst>
                <a:gd name="T0" fmla="*/ 149 w 264"/>
                <a:gd name="T1" fmla="*/ 0 h 340"/>
                <a:gd name="T2" fmla="*/ 48 w 264"/>
                <a:gd name="T3" fmla="*/ 95 h 340"/>
                <a:gd name="T4" fmla="*/ 0 w 264"/>
                <a:gd name="T5" fmla="*/ 340 h 340"/>
                <a:gd name="T6" fmla="*/ 264 w 264"/>
                <a:gd name="T7" fmla="*/ 340 h 340"/>
                <a:gd name="T8" fmla="*/ 241 w 264"/>
                <a:gd name="T9" fmla="*/ 82 h 340"/>
                <a:gd name="T10" fmla="*/ 188 w 264"/>
                <a:gd name="T11" fmla="*/ 2 h 340"/>
                <a:gd name="T12" fmla="*/ 149 w 264"/>
                <a:gd name="T13" fmla="*/ 0 h 340"/>
              </a:gdLst>
              <a:ahLst/>
              <a:cxnLst>
                <a:cxn ang="0">
                  <a:pos x="T0" y="T1"/>
                </a:cxn>
                <a:cxn ang="0">
                  <a:pos x="T2" y="T3"/>
                </a:cxn>
                <a:cxn ang="0">
                  <a:pos x="T4" y="T5"/>
                </a:cxn>
                <a:cxn ang="0">
                  <a:pos x="T6" y="T7"/>
                </a:cxn>
                <a:cxn ang="0">
                  <a:pos x="T8" y="T9"/>
                </a:cxn>
                <a:cxn ang="0">
                  <a:pos x="T10" y="T11"/>
                </a:cxn>
                <a:cxn ang="0">
                  <a:pos x="T12" y="T13"/>
                </a:cxn>
              </a:cxnLst>
              <a:rect l="0" t="0" r="r" b="b"/>
              <a:pathLst>
                <a:path w="264" h="340">
                  <a:moveTo>
                    <a:pt x="149" y="0"/>
                  </a:moveTo>
                  <a:cubicBezTo>
                    <a:pt x="149" y="0"/>
                    <a:pt x="83" y="2"/>
                    <a:pt x="48" y="95"/>
                  </a:cubicBezTo>
                  <a:cubicBezTo>
                    <a:pt x="19" y="173"/>
                    <a:pt x="0" y="340"/>
                    <a:pt x="0" y="340"/>
                  </a:cubicBezTo>
                  <a:cubicBezTo>
                    <a:pt x="264" y="340"/>
                    <a:pt x="264" y="340"/>
                    <a:pt x="264" y="340"/>
                  </a:cubicBezTo>
                  <a:cubicBezTo>
                    <a:pt x="264" y="340"/>
                    <a:pt x="262" y="151"/>
                    <a:pt x="241" y="82"/>
                  </a:cubicBezTo>
                  <a:cubicBezTo>
                    <a:pt x="221" y="16"/>
                    <a:pt x="188" y="2"/>
                    <a:pt x="188" y="2"/>
                  </a:cubicBezTo>
                  <a:lnTo>
                    <a:pt x="149" y="0"/>
                  </a:lnTo>
                  <a:close/>
                </a:path>
              </a:pathLst>
            </a:custGeom>
            <a:solidFill>
              <a:srgbClr val="FFAC0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5" name="Freeform 259"/>
            <p:cNvSpPr/>
            <p:nvPr userDrawn="1"/>
          </p:nvSpPr>
          <p:spPr bwMode="auto">
            <a:xfrm>
              <a:off x="1802201" y="4067513"/>
              <a:ext cx="436920" cy="654548"/>
            </a:xfrm>
            <a:custGeom>
              <a:avLst/>
              <a:gdLst>
                <a:gd name="T0" fmla="*/ 1 w 168"/>
                <a:gd name="T1" fmla="*/ 0 h 252"/>
                <a:gd name="T2" fmla="*/ 0 w 168"/>
                <a:gd name="T3" fmla="*/ 19 h 252"/>
                <a:gd name="T4" fmla="*/ 45 w 168"/>
                <a:gd name="T5" fmla="*/ 207 h 252"/>
                <a:gd name="T6" fmla="*/ 86 w 168"/>
                <a:gd name="T7" fmla="*/ 241 h 252"/>
                <a:gd name="T8" fmla="*/ 141 w 168"/>
                <a:gd name="T9" fmla="*/ 252 h 252"/>
                <a:gd name="T10" fmla="*/ 168 w 168"/>
                <a:gd name="T11" fmla="*/ 250 h 252"/>
                <a:gd name="T12" fmla="*/ 168 w 168"/>
                <a:gd name="T13" fmla="*/ 246 h 252"/>
                <a:gd name="T14" fmla="*/ 141 w 168"/>
                <a:gd name="T15" fmla="*/ 248 h 252"/>
                <a:gd name="T16" fmla="*/ 88 w 168"/>
                <a:gd name="T17" fmla="*/ 238 h 252"/>
                <a:gd name="T18" fmla="*/ 49 w 168"/>
                <a:gd name="T19" fmla="*/ 205 h 252"/>
                <a:gd name="T20" fmla="*/ 4 w 168"/>
                <a:gd name="T21" fmla="*/ 19 h 252"/>
                <a:gd name="T22" fmla="*/ 4 w 168"/>
                <a:gd name="T23" fmla="*/ 6 h 252"/>
                <a:gd name="T24" fmla="*/ 5 w 168"/>
                <a:gd name="T25" fmla="*/ 1 h 252"/>
                <a:gd name="T26" fmla="*/ 1 w 168"/>
                <a:gd name="T2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252">
                  <a:moveTo>
                    <a:pt x="1" y="0"/>
                  </a:moveTo>
                  <a:cubicBezTo>
                    <a:pt x="1" y="0"/>
                    <a:pt x="0" y="7"/>
                    <a:pt x="0" y="19"/>
                  </a:cubicBezTo>
                  <a:cubicBezTo>
                    <a:pt x="0" y="58"/>
                    <a:pt x="5" y="147"/>
                    <a:pt x="45" y="207"/>
                  </a:cubicBezTo>
                  <a:cubicBezTo>
                    <a:pt x="56" y="223"/>
                    <a:pt x="70" y="234"/>
                    <a:pt x="86" y="241"/>
                  </a:cubicBezTo>
                  <a:cubicBezTo>
                    <a:pt x="103" y="248"/>
                    <a:pt x="121" y="252"/>
                    <a:pt x="141" y="252"/>
                  </a:cubicBezTo>
                  <a:cubicBezTo>
                    <a:pt x="150" y="252"/>
                    <a:pt x="159" y="251"/>
                    <a:pt x="168" y="250"/>
                  </a:cubicBezTo>
                  <a:cubicBezTo>
                    <a:pt x="168" y="246"/>
                    <a:pt x="168" y="246"/>
                    <a:pt x="168" y="246"/>
                  </a:cubicBezTo>
                  <a:cubicBezTo>
                    <a:pt x="159" y="247"/>
                    <a:pt x="150" y="248"/>
                    <a:pt x="141" y="248"/>
                  </a:cubicBezTo>
                  <a:cubicBezTo>
                    <a:pt x="122" y="248"/>
                    <a:pt x="104" y="244"/>
                    <a:pt x="88" y="238"/>
                  </a:cubicBezTo>
                  <a:cubicBezTo>
                    <a:pt x="72" y="231"/>
                    <a:pt x="59" y="220"/>
                    <a:pt x="49" y="205"/>
                  </a:cubicBezTo>
                  <a:cubicBezTo>
                    <a:pt x="9" y="146"/>
                    <a:pt x="4" y="57"/>
                    <a:pt x="4" y="19"/>
                  </a:cubicBezTo>
                  <a:cubicBezTo>
                    <a:pt x="4" y="13"/>
                    <a:pt x="4" y="9"/>
                    <a:pt x="4" y="6"/>
                  </a:cubicBezTo>
                  <a:cubicBezTo>
                    <a:pt x="5" y="2"/>
                    <a:pt x="5" y="1"/>
                    <a:pt x="5" y="1"/>
                  </a:cubicBezTo>
                  <a:cubicBezTo>
                    <a:pt x="1" y="0"/>
                    <a:pt x="1" y="0"/>
                    <a:pt x="1" y="0"/>
                  </a:cubicBez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6" name="Freeform 262"/>
            <p:cNvSpPr/>
            <p:nvPr userDrawn="1"/>
          </p:nvSpPr>
          <p:spPr bwMode="auto">
            <a:xfrm>
              <a:off x="1911846" y="3919659"/>
              <a:ext cx="181081" cy="78081"/>
            </a:xfrm>
            <a:custGeom>
              <a:avLst/>
              <a:gdLst>
                <a:gd name="T0" fmla="*/ 0 w 70"/>
                <a:gd name="T1" fmla="*/ 1 h 30"/>
                <a:gd name="T2" fmla="*/ 6 w 70"/>
                <a:gd name="T3" fmla="*/ 15 h 30"/>
                <a:gd name="T4" fmla="*/ 39 w 70"/>
                <a:gd name="T5" fmla="*/ 30 h 30"/>
                <a:gd name="T6" fmla="*/ 62 w 70"/>
                <a:gd name="T7" fmla="*/ 23 h 30"/>
                <a:gd name="T8" fmla="*/ 70 w 70"/>
                <a:gd name="T9" fmla="*/ 16 h 30"/>
                <a:gd name="T10" fmla="*/ 67 w 70"/>
                <a:gd name="T11" fmla="*/ 13 h 30"/>
                <a:gd name="T12" fmla="*/ 67 w 70"/>
                <a:gd name="T13" fmla="*/ 13 h 30"/>
                <a:gd name="T14" fmla="*/ 59 w 70"/>
                <a:gd name="T15" fmla="*/ 20 h 30"/>
                <a:gd name="T16" fmla="*/ 39 w 70"/>
                <a:gd name="T17" fmla="*/ 26 h 30"/>
                <a:gd name="T18" fmla="*/ 9 w 70"/>
                <a:gd name="T19" fmla="*/ 13 h 30"/>
                <a:gd name="T20" fmla="*/ 5 w 70"/>
                <a:gd name="T21" fmla="*/ 4 h 30"/>
                <a:gd name="T22" fmla="*/ 4 w 70"/>
                <a:gd name="T23" fmla="*/ 1 h 30"/>
                <a:gd name="T24" fmla="*/ 4 w 70"/>
                <a:gd name="T25" fmla="*/ 0 h 30"/>
                <a:gd name="T26" fmla="*/ 4 w 70"/>
                <a:gd name="T27" fmla="*/ 0 h 30"/>
                <a:gd name="T28" fmla="*/ 4 w 70"/>
                <a:gd name="T29" fmla="*/ 0 h 30"/>
                <a:gd name="T30" fmla="*/ 0 w 70"/>
                <a:gd name="T31"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30">
                  <a:moveTo>
                    <a:pt x="0" y="1"/>
                  </a:moveTo>
                  <a:cubicBezTo>
                    <a:pt x="0" y="1"/>
                    <a:pt x="0" y="8"/>
                    <a:pt x="6" y="15"/>
                  </a:cubicBezTo>
                  <a:cubicBezTo>
                    <a:pt x="11" y="23"/>
                    <a:pt x="21" y="30"/>
                    <a:pt x="39" y="30"/>
                  </a:cubicBezTo>
                  <a:cubicBezTo>
                    <a:pt x="49" y="30"/>
                    <a:pt x="56" y="26"/>
                    <a:pt x="62" y="23"/>
                  </a:cubicBezTo>
                  <a:cubicBezTo>
                    <a:pt x="67" y="19"/>
                    <a:pt x="70" y="16"/>
                    <a:pt x="70" y="16"/>
                  </a:cubicBezTo>
                  <a:cubicBezTo>
                    <a:pt x="67" y="13"/>
                    <a:pt x="67" y="13"/>
                    <a:pt x="67" y="13"/>
                  </a:cubicBezTo>
                  <a:cubicBezTo>
                    <a:pt x="67" y="13"/>
                    <a:pt x="67" y="13"/>
                    <a:pt x="67" y="13"/>
                  </a:cubicBezTo>
                  <a:cubicBezTo>
                    <a:pt x="66" y="14"/>
                    <a:pt x="63" y="17"/>
                    <a:pt x="59" y="20"/>
                  </a:cubicBezTo>
                  <a:cubicBezTo>
                    <a:pt x="54" y="23"/>
                    <a:pt x="47" y="26"/>
                    <a:pt x="39" y="26"/>
                  </a:cubicBezTo>
                  <a:cubicBezTo>
                    <a:pt x="22" y="26"/>
                    <a:pt x="13" y="19"/>
                    <a:pt x="9" y="13"/>
                  </a:cubicBezTo>
                  <a:cubicBezTo>
                    <a:pt x="7" y="10"/>
                    <a:pt x="5" y="7"/>
                    <a:pt x="5" y="4"/>
                  </a:cubicBezTo>
                  <a:cubicBezTo>
                    <a:pt x="4" y="3"/>
                    <a:pt x="4" y="2"/>
                    <a:pt x="4" y="1"/>
                  </a:cubicBezTo>
                  <a:cubicBezTo>
                    <a:pt x="4" y="0"/>
                    <a:pt x="4" y="0"/>
                    <a:pt x="4" y="0"/>
                  </a:cubicBezTo>
                  <a:cubicBezTo>
                    <a:pt x="4" y="0"/>
                    <a:pt x="4" y="0"/>
                    <a:pt x="4" y="0"/>
                  </a:cubicBezTo>
                  <a:cubicBezTo>
                    <a:pt x="4" y="0"/>
                    <a:pt x="4" y="0"/>
                    <a:pt x="4" y="0"/>
                  </a:cubicBezTo>
                  <a:cubicBezTo>
                    <a:pt x="0" y="1"/>
                    <a:pt x="0" y="1"/>
                    <a:pt x="0" y="1"/>
                  </a:cubicBez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7" name="Freeform 263"/>
            <p:cNvSpPr/>
            <p:nvPr userDrawn="1"/>
          </p:nvSpPr>
          <p:spPr bwMode="auto">
            <a:xfrm>
              <a:off x="1915168" y="3655513"/>
              <a:ext cx="237565" cy="259161"/>
            </a:xfrm>
            <a:custGeom>
              <a:avLst/>
              <a:gdLst>
                <a:gd name="T0" fmla="*/ 83 w 92"/>
                <a:gd name="T1" fmla="*/ 39 h 100"/>
                <a:gd name="T2" fmla="*/ 71 w 92"/>
                <a:gd name="T3" fmla="*/ 93 h 100"/>
                <a:gd name="T4" fmla="*/ 8 w 92"/>
                <a:gd name="T5" fmla="*/ 64 h 100"/>
                <a:gd name="T6" fmla="*/ 31 w 92"/>
                <a:gd name="T7" fmla="*/ 6 h 100"/>
                <a:gd name="T8" fmla="*/ 83 w 92"/>
                <a:gd name="T9" fmla="*/ 39 h 100"/>
              </a:gdLst>
              <a:ahLst/>
              <a:cxnLst>
                <a:cxn ang="0">
                  <a:pos x="T0" y="T1"/>
                </a:cxn>
                <a:cxn ang="0">
                  <a:pos x="T2" y="T3"/>
                </a:cxn>
                <a:cxn ang="0">
                  <a:pos x="T4" y="T5"/>
                </a:cxn>
                <a:cxn ang="0">
                  <a:pos x="T6" y="T7"/>
                </a:cxn>
                <a:cxn ang="0">
                  <a:pos x="T8" y="T9"/>
                </a:cxn>
              </a:cxnLst>
              <a:rect l="0" t="0" r="r" b="b"/>
              <a:pathLst>
                <a:path w="92" h="100">
                  <a:moveTo>
                    <a:pt x="83" y="39"/>
                  </a:moveTo>
                  <a:cubicBezTo>
                    <a:pt x="92" y="63"/>
                    <a:pt x="92" y="86"/>
                    <a:pt x="71" y="93"/>
                  </a:cubicBezTo>
                  <a:cubicBezTo>
                    <a:pt x="50" y="100"/>
                    <a:pt x="20" y="99"/>
                    <a:pt x="8" y="64"/>
                  </a:cubicBezTo>
                  <a:cubicBezTo>
                    <a:pt x="0" y="39"/>
                    <a:pt x="10" y="13"/>
                    <a:pt x="31" y="6"/>
                  </a:cubicBezTo>
                  <a:cubicBezTo>
                    <a:pt x="52" y="0"/>
                    <a:pt x="75" y="14"/>
                    <a:pt x="83" y="39"/>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8" name="Freeform 264"/>
            <p:cNvSpPr/>
            <p:nvPr userDrawn="1"/>
          </p:nvSpPr>
          <p:spPr bwMode="auto">
            <a:xfrm>
              <a:off x="1943411" y="3800046"/>
              <a:ext cx="142871" cy="169452"/>
            </a:xfrm>
            <a:custGeom>
              <a:avLst/>
              <a:gdLst>
                <a:gd name="T0" fmla="*/ 48 w 55"/>
                <a:gd name="T1" fmla="*/ 53 h 65"/>
                <a:gd name="T2" fmla="*/ 19 w 55"/>
                <a:gd name="T3" fmla="*/ 61 h 65"/>
                <a:gd name="T4" fmla="*/ 0 w 55"/>
                <a:gd name="T5" fmla="*/ 45 h 65"/>
                <a:gd name="T6" fmla="*/ 12 w 55"/>
                <a:gd name="T7" fmla="*/ 0 h 65"/>
                <a:gd name="T8" fmla="*/ 55 w 55"/>
                <a:gd name="T9" fmla="*/ 11 h 65"/>
                <a:gd name="T10" fmla="*/ 48 w 55"/>
                <a:gd name="T11" fmla="*/ 53 h 65"/>
              </a:gdLst>
              <a:ahLst/>
              <a:cxnLst>
                <a:cxn ang="0">
                  <a:pos x="T0" y="T1"/>
                </a:cxn>
                <a:cxn ang="0">
                  <a:pos x="T2" y="T3"/>
                </a:cxn>
                <a:cxn ang="0">
                  <a:pos x="T4" y="T5"/>
                </a:cxn>
                <a:cxn ang="0">
                  <a:pos x="T6" y="T7"/>
                </a:cxn>
                <a:cxn ang="0">
                  <a:pos x="T8" y="T9"/>
                </a:cxn>
                <a:cxn ang="0">
                  <a:pos x="T10" y="T11"/>
                </a:cxn>
              </a:cxnLst>
              <a:rect l="0" t="0" r="r" b="b"/>
              <a:pathLst>
                <a:path w="55" h="65">
                  <a:moveTo>
                    <a:pt x="48" y="53"/>
                  </a:moveTo>
                  <a:cubicBezTo>
                    <a:pt x="48" y="53"/>
                    <a:pt x="35" y="65"/>
                    <a:pt x="19" y="61"/>
                  </a:cubicBezTo>
                  <a:cubicBezTo>
                    <a:pt x="0" y="56"/>
                    <a:pt x="0" y="45"/>
                    <a:pt x="0" y="45"/>
                  </a:cubicBezTo>
                  <a:cubicBezTo>
                    <a:pt x="12" y="0"/>
                    <a:pt x="12" y="0"/>
                    <a:pt x="12" y="0"/>
                  </a:cubicBezTo>
                  <a:cubicBezTo>
                    <a:pt x="55" y="11"/>
                    <a:pt x="55" y="11"/>
                    <a:pt x="55" y="11"/>
                  </a:cubicBezTo>
                  <a:lnTo>
                    <a:pt x="48" y="53"/>
                  </a:ln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9" name="Freeform 265"/>
            <p:cNvSpPr/>
            <p:nvPr userDrawn="1"/>
          </p:nvSpPr>
          <p:spPr bwMode="auto">
            <a:xfrm>
              <a:off x="2127813" y="3760175"/>
              <a:ext cx="33226" cy="56484"/>
            </a:xfrm>
            <a:custGeom>
              <a:avLst/>
              <a:gdLst>
                <a:gd name="T0" fmla="*/ 0 w 13"/>
                <a:gd name="T1" fmla="*/ 0 h 22"/>
                <a:gd name="T2" fmla="*/ 13 w 13"/>
                <a:gd name="T3" fmla="*/ 17 h 22"/>
                <a:gd name="T4" fmla="*/ 6 w 13"/>
                <a:gd name="T5" fmla="*/ 22 h 22"/>
              </a:gdLst>
              <a:ahLst/>
              <a:cxnLst>
                <a:cxn ang="0">
                  <a:pos x="T0" y="T1"/>
                </a:cxn>
                <a:cxn ang="0">
                  <a:pos x="T2" y="T3"/>
                </a:cxn>
                <a:cxn ang="0">
                  <a:pos x="T4" y="T5"/>
                </a:cxn>
              </a:cxnLst>
              <a:rect l="0" t="0" r="r" b="b"/>
              <a:pathLst>
                <a:path w="13" h="22">
                  <a:moveTo>
                    <a:pt x="0" y="0"/>
                  </a:moveTo>
                  <a:cubicBezTo>
                    <a:pt x="0" y="0"/>
                    <a:pt x="13" y="14"/>
                    <a:pt x="13" y="17"/>
                  </a:cubicBezTo>
                  <a:cubicBezTo>
                    <a:pt x="13" y="20"/>
                    <a:pt x="6" y="22"/>
                    <a:pt x="6" y="22"/>
                  </a:cubicBezTo>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0" name="Freeform 266"/>
            <p:cNvSpPr/>
            <p:nvPr userDrawn="1"/>
          </p:nvSpPr>
          <p:spPr bwMode="auto">
            <a:xfrm>
              <a:off x="2096249" y="3761836"/>
              <a:ext cx="14952" cy="14952"/>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4"/>
                    <a:pt x="4" y="6"/>
                    <a:pt x="3" y="6"/>
                  </a:cubicBezTo>
                  <a:cubicBezTo>
                    <a:pt x="1" y="6"/>
                    <a:pt x="0" y="4"/>
                    <a:pt x="0" y="3"/>
                  </a:cubicBezTo>
                  <a:cubicBezTo>
                    <a:pt x="0" y="1"/>
                    <a:pt x="2" y="0"/>
                    <a:pt x="3" y="0"/>
                  </a:cubicBezTo>
                  <a:cubicBezTo>
                    <a:pt x="5" y="0"/>
                    <a:pt x="6" y="1"/>
                    <a:pt x="6" y="3"/>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1" name="Freeform 267"/>
            <p:cNvSpPr/>
            <p:nvPr userDrawn="1"/>
          </p:nvSpPr>
          <p:spPr bwMode="auto">
            <a:xfrm>
              <a:off x="2072991" y="3728610"/>
              <a:ext cx="33226" cy="28242"/>
            </a:xfrm>
            <a:custGeom>
              <a:avLst/>
              <a:gdLst>
                <a:gd name="T0" fmla="*/ 11 w 13"/>
                <a:gd name="T1" fmla="*/ 2 h 11"/>
                <a:gd name="T2" fmla="*/ 3 w 13"/>
                <a:gd name="T3" fmla="*/ 4 h 11"/>
                <a:gd name="T4" fmla="*/ 1 w 13"/>
                <a:gd name="T5" fmla="*/ 7 h 11"/>
                <a:gd name="T6" fmla="*/ 0 w 13"/>
                <a:gd name="T7" fmla="*/ 11 h 11"/>
                <a:gd name="T8" fmla="*/ 3 w 13"/>
                <a:gd name="T9" fmla="*/ 9 h 11"/>
                <a:gd name="T10" fmla="*/ 12 w 13"/>
                <a:gd name="T11" fmla="*/ 5 h 11"/>
                <a:gd name="T12" fmla="*/ 12 w 13"/>
                <a:gd name="T13" fmla="*/ 5 h 11"/>
                <a:gd name="T14" fmla="*/ 13 w 13"/>
                <a:gd name="T15" fmla="*/ 4 h 11"/>
                <a:gd name="T16" fmla="*/ 11 w 13"/>
                <a:gd name="T1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1">
                  <a:moveTo>
                    <a:pt x="11" y="2"/>
                  </a:moveTo>
                  <a:cubicBezTo>
                    <a:pt x="8" y="0"/>
                    <a:pt x="6" y="2"/>
                    <a:pt x="3" y="4"/>
                  </a:cubicBezTo>
                  <a:cubicBezTo>
                    <a:pt x="2" y="5"/>
                    <a:pt x="1" y="6"/>
                    <a:pt x="1" y="7"/>
                  </a:cubicBezTo>
                  <a:cubicBezTo>
                    <a:pt x="0" y="8"/>
                    <a:pt x="0" y="10"/>
                    <a:pt x="0" y="11"/>
                  </a:cubicBezTo>
                  <a:cubicBezTo>
                    <a:pt x="1" y="11"/>
                    <a:pt x="3" y="9"/>
                    <a:pt x="3" y="9"/>
                  </a:cubicBezTo>
                  <a:cubicBezTo>
                    <a:pt x="6" y="7"/>
                    <a:pt x="9" y="5"/>
                    <a:pt x="12" y="5"/>
                  </a:cubicBezTo>
                  <a:cubicBezTo>
                    <a:pt x="12" y="5"/>
                    <a:pt x="12" y="5"/>
                    <a:pt x="12" y="5"/>
                  </a:cubicBezTo>
                  <a:cubicBezTo>
                    <a:pt x="13" y="4"/>
                    <a:pt x="13" y="4"/>
                    <a:pt x="13" y="4"/>
                  </a:cubicBezTo>
                  <a:cubicBezTo>
                    <a:pt x="12" y="3"/>
                    <a:pt x="12" y="2"/>
                    <a:pt x="11" y="2"/>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2" name="Freeform 268"/>
            <p:cNvSpPr/>
            <p:nvPr userDrawn="1"/>
          </p:nvSpPr>
          <p:spPr bwMode="auto">
            <a:xfrm>
              <a:off x="2086282" y="3831610"/>
              <a:ext cx="51501" cy="33226"/>
            </a:xfrm>
            <a:custGeom>
              <a:avLst/>
              <a:gdLst>
                <a:gd name="T0" fmla="*/ 20 w 20"/>
                <a:gd name="T1" fmla="*/ 0 h 13"/>
                <a:gd name="T2" fmla="*/ 0 w 20"/>
                <a:gd name="T3" fmla="*/ 1 h 13"/>
                <a:gd name="T4" fmla="*/ 13 w 20"/>
                <a:gd name="T5" fmla="*/ 11 h 13"/>
                <a:gd name="T6" fmla="*/ 20 w 20"/>
                <a:gd name="T7" fmla="*/ 0 h 13"/>
              </a:gdLst>
              <a:ahLst/>
              <a:cxnLst>
                <a:cxn ang="0">
                  <a:pos x="T0" y="T1"/>
                </a:cxn>
                <a:cxn ang="0">
                  <a:pos x="T2" y="T3"/>
                </a:cxn>
                <a:cxn ang="0">
                  <a:pos x="T4" y="T5"/>
                </a:cxn>
                <a:cxn ang="0">
                  <a:pos x="T6" y="T7"/>
                </a:cxn>
              </a:cxnLst>
              <a:rect l="0" t="0" r="r" b="b"/>
              <a:pathLst>
                <a:path w="20" h="13">
                  <a:moveTo>
                    <a:pt x="20" y="0"/>
                  </a:moveTo>
                  <a:cubicBezTo>
                    <a:pt x="0" y="1"/>
                    <a:pt x="0" y="1"/>
                    <a:pt x="0" y="1"/>
                  </a:cubicBezTo>
                  <a:cubicBezTo>
                    <a:pt x="0" y="1"/>
                    <a:pt x="2" y="13"/>
                    <a:pt x="13" y="11"/>
                  </a:cubicBezTo>
                  <a:cubicBezTo>
                    <a:pt x="19" y="11"/>
                    <a:pt x="20" y="0"/>
                    <a:pt x="2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3" name="Freeform 269"/>
            <p:cNvSpPr/>
            <p:nvPr userDrawn="1"/>
          </p:nvSpPr>
          <p:spPr bwMode="auto">
            <a:xfrm>
              <a:off x="1837088" y="3594046"/>
              <a:ext cx="292387" cy="300694"/>
            </a:xfrm>
            <a:custGeom>
              <a:avLst/>
              <a:gdLst>
                <a:gd name="T0" fmla="*/ 59 w 113"/>
                <a:gd name="T1" fmla="*/ 108 h 116"/>
                <a:gd name="T2" fmla="*/ 35 w 113"/>
                <a:gd name="T3" fmla="*/ 107 h 116"/>
                <a:gd name="T4" fmla="*/ 18 w 113"/>
                <a:gd name="T5" fmla="*/ 86 h 116"/>
                <a:gd name="T6" fmla="*/ 14 w 113"/>
                <a:gd name="T7" fmla="*/ 75 h 116"/>
                <a:gd name="T8" fmla="*/ 17 w 113"/>
                <a:gd name="T9" fmla="*/ 65 h 116"/>
                <a:gd name="T10" fmla="*/ 5 w 113"/>
                <a:gd name="T11" fmla="*/ 56 h 116"/>
                <a:gd name="T12" fmla="*/ 1 w 113"/>
                <a:gd name="T13" fmla="*/ 43 h 116"/>
                <a:gd name="T14" fmla="*/ 7 w 113"/>
                <a:gd name="T15" fmla="*/ 33 h 116"/>
                <a:gd name="T16" fmla="*/ 34 w 113"/>
                <a:gd name="T17" fmla="*/ 19 h 116"/>
                <a:gd name="T18" fmla="*/ 32 w 113"/>
                <a:gd name="T19" fmla="*/ 11 h 116"/>
                <a:gd name="T20" fmla="*/ 41 w 113"/>
                <a:gd name="T21" fmla="*/ 6 h 116"/>
                <a:gd name="T22" fmla="*/ 97 w 113"/>
                <a:gd name="T23" fmla="*/ 15 h 116"/>
                <a:gd name="T24" fmla="*/ 110 w 113"/>
                <a:gd name="T25" fmla="*/ 38 h 116"/>
                <a:gd name="T26" fmla="*/ 98 w 113"/>
                <a:gd name="T27" fmla="*/ 48 h 116"/>
                <a:gd name="T28" fmla="*/ 73 w 113"/>
                <a:gd name="T29" fmla="*/ 58 h 116"/>
                <a:gd name="T30" fmla="*/ 65 w 113"/>
                <a:gd name="T31" fmla="*/ 75 h 116"/>
                <a:gd name="T32" fmla="*/ 51 w 113"/>
                <a:gd name="T33" fmla="*/ 70 h 116"/>
                <a:gd name="T34" fmla="*/ 48 w 113"/>
                <a:gd name="T35" fmla="*/ 87 h 116"/>
                <a:gd name="T36" fmla="*/ 61 w 113"/>
                <a:gd name="T37" fmla="*/ 97 h 116"/>
                <a:gd name="T38" fmla="*/ 59 w 113"/>
                <a:gd name="T39"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16">
                  <a:moveTo>
                    <a:pt x="59" y="108"/>
                  </a:moveTo>
                  <a:cubicBezTo>
                    <a:pt x="54" y="116"/>
                    <a:pt x="41" y="111"/>
                    <a:pt x="35" y="107"/>
                  </a:cubicBezTo>
                  <a:cubicBezTo>
                    <a:pt x="27" y="102"/>
                    <a:pt x="22" y="93"/>
                    <a:pt x="18" y="86"/>
                  </a:cubicBezTo>
                  <a:cubicBezTo>
                    <a:pt x="16" y="82"/>
                    <a:pt x="14" y="79"/>
                    <a:pt x="14" y="75"/>
                  </a:cubicBezTo>
                  <a:cubicBezTo>
                    <a:pt x="13" y="71"/>
                    <a:pt x="14" y="67"/>
                    <a:pt x="17" y="65"/>
                  </a:cubicBezTo>
                  <a:cubicBezTo>
                    <a:pt x="13" y="62"/>
                    <a:pt x="8" y="60"/>
                    <a:pt x="5" y="56"/>
                  </a:cubicBezTo>
                  <a:cubicBezTo>
                    <a:pt x="2" y="53"/>
                    <a:pt x="0" y="48"/>
                    <a:pt x="1" y="43"/>
                  </a:cubicBezTo>
                  <a:cubicBezTo>
                    <a:pt x="2" y="39"/>
                    <a:pt x="4" y="36"/>
                    <a:pt x="7" y="33"/>
                  </a:cubicBezTo>
                  <a:cubicBezTo>
                    <a:pt x="15" y="27"/>
                    <a:pt x="24" y="22"/>
                    <a:pt x="34" y="19"/>
                  </a:cubicBezTo>
                  <a:cubicBezTo>
                    <a:pt x="31" y="18"/>
                    <a:pt x="30" y="14"/>
                    <a:pt x="32" y="11"/>
                  </a:cubicBezTo>
                  <a:cubicBezTo>
                    <a:pt x="34" y="8"/>
                    <a:pt x="37" y="7"/>
                    <a:pt x="41" y="6"/>
                  </a:cubicBezTo>
                  <a:cubicBezTo>
                    <a:pt x="62" y="0"/>
                    <a:pt x="79" y="2"/>
                    <a:pt x="97" y="15"/>
                  </a:cubicBezTo>
                  <a:cubicBezTo>
                    <a:pt x="104" y="21"/>
                    <a:pt x="113" y="30"/>
                    <a:pt x="110" y="38"/>
                  </a:cubicBezTo>
                  <a:cubicBezTo>
                    <a:pt x="107" y="44"/>
                    <a:pt x="105" y="46"/>
                    <a:pt x="98" y="48"/>
                  </a:cubicBezTo>
                  <a:cubicBezTo>
                    <a:pt x="91" y="50"/>
                    <a:pt x="75" y="50"/>
                    <a:pt x="73" y="58"/>
                  </a:cubicBezTo>
                  <a:cubicBezTo>
                    <a:pt x="71" y="64"/>
                    <a:pt x="75" y="73"/>
                    <a:pt x="65" y="75"/>
                  </a:cubicBezTo>
                  <a:cubicBezTo>
                    <a:pt x="57" y="77"/>
                    <a:pt x="61" y="67"/>
                    <a:pt x="51" y="70"/>
                  </a:cubicBezTo>
                  <a:cubicBezTo>
                    <a:pt x="47" y="71"/>
                    <a:pt x="44" y="79"/>
                    <a:pt x="48" y="87"/>
                  </a:cubicBezTo>
                  <a:cubicBezTo>
                    <a:pt x="50" y="93"/>
                    <a:pt x="57" y="97"/>
                    <a:pt x="61" y="97"/>
                  </a:cubicBezTo>
                  <a:cubicBezTo>
                    <a:pt x="63" y="99"/>
                    <a:pt x="62" y="104"/>
                    <a:pt x="59" y="108"/>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4" name="Freeform 270"/>
            <p:cNvSpPr/>
            <p:nvPr userDrawn="1"/>
          </p:nvSpPr>
          <p:spPr bwMode="auto">
            <a:xfrm>
              <a:off x="2004878" y="3891416"/>
              <a:ext cx="68113" cy="18275"/>
            </a:xfrm>
            <a:custGeom>
              <a:avLst/>
              <a:gdLst>
                <a:gd name="T0" fmla="*/ 26 w 26"/>
                <a:gd name="T1" fmla="*/ 5 h 7"/>
                <a:gd name="T2" fmla="*/ 22 w 26"/>
                <a:gd name="T3" fmla="*/ 4 h 7"/>
                <a:gd name="T4" fmla="*/ 1 w 26"/>
                <a:gd name="T5" fmla="*/ 0 h 7"/>
                <a:gd name="T6" fmla="*/ 0 w 26"/>
                <a:gd name="T7" fmla="*/ 2 h 7"/>
                <a:gd name="T8" fmla="*/ 15 w 26"/>
                <a:gd name="T9" fmla="*/ 6 h 7"/>
                <a:gd name="T10" fmla="*/ 22 w 26"/>
                <a:gd name="T11" fmla="*/ 7 h 7"/>
                <a:gd name="T12" fmla="*/ 25 w 26"/>
                <a:gd name="T13" fmla="*/ 7 h 7"/>
                <a:gd name="T14" fmla="*/ 26 w 26"/>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7">
                  <a:moveTo>
                    <a:pt x="26" y="5"/>
                  </a:moveTo>
                  <a:cubicBezTo>
                    <a:pt x="25" y="4"/>
                    <a:pt x="24" y="4"/>
                    <a:pt x="22" y="4"/>
                  </a:cubicBezTo>
                  <a:cubicBezTo>
                    <a:pt x="17" y="4"/>
                    <a:pt x="7" y="3"/>
                    <a:pt x="1" y="0"/>
                  </a:cubicBezTo>
                  <a:cubicBezTo>
                    <a:pt x="0" y="2"/>
                    <a:pt x="0" y="2"/>
                    <a:pt x="0" y="2"/>
                  </a:cubicBezTo>
                  <a:cubicBezTo>
                    <a:pt x="4" y="5"/>
                    <a:pt x="10" y="6"/>
                    <a:pt x="15" y="6"/>
                  </a:cubicBezTo>
                  <a:cubicBezTo>
                    <a:pt x="18" y="7"/>
                    <a:pt x="20" y="7"/>
                    <a:pt x="22" y="7"/>
                  </a:cubicBezTo>
                  <a:cubicBezTo>
                    <a:pt x="23" y="7"/>
                    <a:pt x="25" y="7"/>
                    <a:pt x="25" y="7"/>
                  </a:cubicBezTo>
                  <a:cubicBezTo>
                    <a:pt x="26" y="5"/>
                    <a:pt x="26" y="5"/>
                    <a:pt x="26" y="5"/>
                  </a:cubicBezTo>
                  <a:close/>
                </a:path>
              </a:pathLst>
            </a:custGeom>
            <a:solidFill>
              <a:srgbClr val="EA99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5" name="Rectangle 42"/>
            <p:cNvSpPr>
              <a:spLocks noChangeArrowheads="1"/>
            </p:cNvSpPr>
            <p:nvPr userDrawn="1"/>
          </p:nvSpPr>
          <p:spPr bwMode="auto">
            <a:xfrm>
              <a:off x="876862" y="4588923"/>
              <a:ext cx="144533" cy="11630"/>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26" name="Freeform 43"/>
            <p:cNvSpPr/>
            <p:nvPr userDrawn="1"/>
          </p:nvSpPr>
          <p:spPr bwMode="auto">
            <a:xfrm>
              <a:off x="876862" y="4588923"/>
              <a:ext cx="144533" cy="11630"/>
            </a:xfrm>
            <a:custGeom>
              <a:avLst/>
              <a:gdLst>
                <a:gd name="T0" fmla="*/ 0 w 87"/>
                <a:gd name="T1" fmla="*/ 7 h 7"/>
                <a:gd name="T2" fmla="*/ 87 w 87"/>
                <a:gd name="T3" fmla="*/ 7 h 7"/>
                <a:gd name="T4" fmla="*/ 87 w 87"/>
                <a:gd name="T5" fmla="*/ 0 h 7"/>
                <a:gd name="T6" fmla="*/ 0 w 87"/>
                <a:gd name="T7" fmla="*/ 0 h 7"/>
              </a:gdLst>
              <a:ahLst/>
              <a:cxnLst>
                <a:cxn ang="0">
                  <a:pos x="T0" y="T1"/>
                </a:cxn>
                <a:cxn ang="0">
                  <a:pos x="T2" y="T3"/>
                </a:cxn>
                <a:cxn ang="0">
                  <a:pos x="T4" y="T5"/>
                </a:cxn>
                <a:cxn ang="0">
                  <a:pos x="T6" y="T7"/>
                </a:cxn>
              </a:cxnLst>
              <a:rect l="0" t="0" r="r" b="b"/>
              <a:pathLst>
                <a:path w="87" h="7">
                  <a:moveTo>
                    <a:pt x="0" y="7"/>
                  </a:moveTo>
                  <a:lnTo>
                    <a:pt x="87" y="7"/>
                  </a:lnTo>
                  <a:lnTo>
                    <a:pt x="8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7" name="Freeform 246"/>
            <p:cNvSpPr/>
            <p:nvPr userDrawn="1"/>
          </p:nvSpPr>
          <p:spPr bwMode="auto">
            <a:xfrm>
              <a:off x="1966669" y="4796820"/>
              <a:ext cx="106323" cy="574806"/>
            </a:xfrm>
            <a:custGeom>
              <a:avLst/>
              <a:gdLst>
                <a:gd name="T0" fmla="*/ 37 w 41"/>
                <a:gd name="T1" fmla="*/ 0 h 222"/>
                <a:gd name="T2" fmla="*/ 0 w 41"/>
                <a:gd name="T3" fmla="*/ 221 h 222"/>
                <a:gd name="T4" fmla="*/ 4 w 41"/>
                <a:gd name="T5" fmla="*/ 222 h 222"/>
                <a:gd name="T6" fmla="*/ 41 w 41"/>
                <a:gd name="T7" fmla="*/ 1 h 222"/>
                <a:gd name="T8" fmla="*/ 37 w 41"/>
                <a:gd name="T9" fmla="*/ 0 h 222"/>
              </a:gdLst>
              <a:ahLst/>
              <a:cxnLst>
                <a:cxn ang="0">
                  <a:pos x="T0" y="T1"/>
                </a:cxn>
                <a:cxn ang="0">
                  <a:pos x="T2" y="T3"/>
                </a:cxn>
                <a:cxn ang="0">
                  <a:pos x="T4" y="T5"/>
                </a:cxn>
                <a:cxn ang="0">
                  <a:pos x="T6" y="T7"/>
                </a:cxn>
                <a:cxn ang="0">
                  <a:pos x="T8" y="T9"/>
                </a:cxn>
              </a:cxnLst>
              <a:rect l="0" t="0" r="r" b="b"/>
              <a:pathLst>
                <a:path w="41" h="222">
                  <a:moveTo>
                    <a:pt x="37" y="0"/>
                  </a:moveTo>
                  <a:cubicBezTo>
                    <a:pt x="29" y="82"/>
                    <a:pt x="9" y="185"/>
                    <a:pt x="0" y="221"/>
                  </a:cubicBezTo>
                  <a:cubicBezTo>
                    <a:pt x="4" y="222"/>
                    <a:pt x="4" y="222"/>
                    <a:pt x="4" y="222"/>
                  </a:cubicBezTo>
                  <a:cubicBezTo>
                    <a:pt x="13" y="186"/>
                    <a:pt x="32" y="82"/>
                    <a:pt x="41" y="1"/>
                  </a:cubicBezTo>
                  <a:cubicBezTo>
                    <a:pt x="37" y="0"/>
                    <a:pt x="37" y="0"/>
                    <a:pt x="37" y="0"/>
                  </a:cubicBezTo>
                  <a:close/>
                </a:path>
              </a:pathLst>
            </a:custGeom>
            <a:solidFill>
              <a:srgbClr val="025FB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8" name="Freeform 248"/>
            <p:cNvSpPr/>
            <p:nvPr userDrawn="1"/>
          </p:nvSpPr>
          <p:spPr bwMode="auto">
            <a:xfrm>
              <a:off x="1991588" y="5253674"/>
              <a:ext cx="192710" cy="790774"/>
            </a:xfrm>
            <a:custGeom>
              <a:avLst/>
              <a:gdLst>
                <a:gd name="T0" fmla="*/ 0 w 74"/>
                <a:gd name="T1" fmla="*/ 1 h 305"/>
                <a:gd name="T2" fmla="*/ 30 w 74"/>
                <a:gd name="T3" fmla="*/ 82 h 305"/>
                <a:gd name="T4" fmla="*/ 31 w 74"/>
                <a:gd name="T5" fmla="*/ 86 h 305"/>
                <a:gd name="T6" fmla="*/ 70 w 74"/>
                <a:gd name="T7" fmla="*/ 305 h 305"/>
                <a:gd name="T8" fmla="*/ 74 w 74"/>
                <a:gd name="T9" fmla="*/ 304 h 305"/>
                <a:gd name="T10" fmla="*/ 35 w 74"/>
                <a:gd name="T11" fmla="*/ 86 h 305"/>
                <a:gd name="T12" fmla="*/ 33 w 74"/>
                <a:gd name="T13" fmla="*/ 81 h 305"/>
                <a:gd name="T14" fmla="*/ 4 w 74"/>
                <a:gd name="T15" fmla="*/ 0 h 305"/>
                <a:gd name="T16" fmla="*/ 0 w 74"/>
                <a:gd name="T17" fmla="*/ 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05">
                  <a:moveTo>
                    <a:pt x="0" y="1"/>
                  </a:moveTo>
                  <a:cubicBezTo>
                    <a:pt x="30" y="82"/>
                    <a:pt x="30" y="82"/>
                    <a:pt x="30" y="82"/>
                  </a:cubicBezTo>
                  <a:cubicBezTo>
                    <a:pt x="30" y="83"/>
                    <a:pt x="31" y="85"/>
                    <a:pt x="31" y="86"/>
                  </a:cubicBezTo>
                  <a:cubicBezTo>
                    <a:pt x="70" y="305"/>
                    <a:pt x="70" y="305"/>
                    <a:pt x="70" y="305"/>
                  </a:cubicBezTo>
                  <a:cubicBezTo>
                    <a:pt x="74" y="304"/>
                    <a:pt x="74" y="304"/>
                    <a:pt x="74" y="304"/>
                  </a:cubicBezTo>
                  <a:cubicBezTo>
                    <a:pt x="35" y="86"/>
                    <a:pt x="35" y="86"/>
                    <a:pt x="35" y="86"/>
                  </a:cubicBezTo>
                  <a:cubicBezTo>
                    <a:pt x="34" y="84"/>
                    <a:pt x="34" y="82"/>
                    <a:pt x="33" y="81"/>
                  </a:cubicBezTo>
                  <a:cubicBezTo>
                    <a:pt x="4" y="0"/>
                    <a:pt x="4" y="0"/>
                    <a:pt x="4" y="0"/>
                  </a:cubicBezTo>
                  <a:cubicBezTo>
                    <a:pt x="0" y="1"/>
                    <a:pt x="0" y="1"/>
                    <a:pt x="0" y="1"/>
                  </a:cubicBezTo>
                  <a:close/>
                </a:path>
              </a:pathLst>
            </a:custGeom>
            <a:solidFill>
              <a:srgbClr val="025FB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9" name="Freeform 258"/>
            <p:cNvSpPr/>
            <p:nvPr userDrawn="1"/>
          </p:nvSpPr>
          <p:spPr bwMode="auto">
            <a:xfrm>
              <a:off x="2056378" y="4089110"/>
              <a:ext cx="166129" cy="347210"/>
            </a:xfrm>
            <a:custGeom>
              <a:avLst/>
              <a:gdLst>
                <a:gd name="T0" fmla="*/ 64 w 64"/>
                <a:gd name="T1" fmla="*/ 130 h 134"/>
                <a:gd name="T2" fmla="*/ 31 w 64"/>
                <a:gd name="T3" fmla="*/ 116 h 134"/>
                <a:gd name="T4" fmla="*/ 9 w 64"/>
                <a:gd name="T5" fmla="*/ 59 h 134"/>
                <a:gd name="T6" fmla="*/ 4 w 64"/>
                <a:gd name="T7" fmla="*/ 0 h 134"/>
                <a:gd name="T8" fmla="*/ 0 w 64"/>
                <a:gd name="T9" fmla="*/ 1 h 134"/>
                <a:gd name="T10" fmla="*/ 10 w 64"/>
                <a:gd name="T11" fmla="*/ 82 h 134"/>
                <a:gd name="T12" fmla="*/ 28 w 64"/>
                <a:gd name="T13" fmla="*/ 118 h 134"/>
                <a:gd name="T14" fmla="*/ 64 w 64"/>
                <a:gd name="T15" fmla="*/ 134 h 134"/>
                <a:gd name="T16" fmla="*/ 64 w 64"/>
                <a:gd name="T17" fmla="*/ 13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4">
                  <a:moveTo>
                    <a:pt x="64" y="130"/>
                  </a:moveTo>
                  <a:cubicBezTo>
                    <a:pt x="50" y="130"/>
                    <a:pt x="39" y="125"/>
                    <a:pt x="31" y="116"/>
                  </a:cubicBezTo>
                  <a:cubicBezTo>
                    <a:pt x="19" y="103"/>
                    <a:pt x="13" y="81"/>
                    <a:pt x="9" y="59"/>
                  </a:cubicBezTo>
                  <a:cubicBezTo>
                    <a:pt x="6" y="38"/>
                    <a:pt x="5" y="15"/>
                    <a:pt x="4" y="0"/>
                  </a:cubicBezTo>
                  <a:cubicBezTo>
                    <a:pt x="0" y="1"/>
                    <a:pt x="0" y="1"/>
                    <a:pt x="0" y="1"/>
                  </a:cubicBezTo>
                  <a:cubicBezTo>
                    <a:pt x="1" y="21"/>
                    <a:pt x="2" y="54"/>
                    <a:pt x="10" y="82"/>
                  </a:cubicBezTo>
                  <a:cubicBezTo>
                    <a:pt x="14" y="96"/>
                    <a:pt x="20" y="109"/>
                    <a:pt x="28" y="118"/>
                  </a:cubicBezTo>
                  <a:cubicBezTo>
                    <a:pt x="37" y="128"/>
                    <a:pt x="49" y="134"/>
                    <a:pt x="64" y="134"/>
                  </a:cubicBezTo>
                  <a:cubicBezTo>
                    <a:pt x="64" y="130"/>
                    <a:pt x="64" y="130"/>
                    <a:pt x="64" y="130"/>
                  </a:cubicBezTo>
                  <a:close/>
                </a:path>
              </a:pathLst>
            </a:custGeom>
            <a:solidFill>
              <a:srgbClr val="BC4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0" name="Oval 28"/>
            <p:cNvSpPr>
              <a:spLocks noChangeArrowheads="1"/>
            </p:cNvSpPr>
            <p:nvPr userDrawn="1"/>
          </p:nvSpPr>
          <p:spPr bwMode="auto">
            <a:xfrm>
              <a:off x="6995394" y="3921084"/>
              <a:ext cx="104662" cy="103000"/>
            </a:xfrm>
            <a:prstGeom prst="ellipse">
              <a:avLst/>
            </a:prstGeom>
            <a:solidFill>
              <a:srgbClr val="D7F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1" name="Rectangle 44"/>
            <p:cNvSpPr>
              <a:spLocks noChangeArrowheads="1"/>
            </p:cNvSpPr>
            <p:nvPr userDrawn="1"/>
          </p:nvSpPr>
          <p:spPr bwMode="auto">
            <a:xfrm>
              <a:off x="6809329" y="4246697"/>
              <a:ext cx="79742" cy="11630"/>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32" name="Freeform 45"/>
            <p:cNvSpPr/>
            <p:nvPr userDrawn="1"/>
          </p:nvSpPr>
          <p:spPr bwMode="auto">
            <a:xfrm>
              <a:off x="6809329" y="4246697"/>
              <a:ext cx="79742" cy="11630"/>
            </a:xfrm>
            <a:custGeom>
              <a:avLst/>
              <a:gdLst>
                <a:gd name="T0" fmla="*/ 0 w 48"/>
                <a:gd name="T1" fmla="*/ 7 h 7"/>
                <a:gd name="T2" fmla="*/ 48 w 48"/>
                <a:gd name="T3" fmla="*/ 7 h 7"/>
                <a:gd name="T4" fmla="*/ 48 w 48"/>
                <a:gd name="T5" fmla="*/ 0 h 7"/>
                <a:gd name="T6" fmla="*/ 0 w 48"/>
                <a:gd name="T7" fmla="*/ 0 h 7"/>
              </a:gdLst>
              <a:ahLst/>
              <a:cxnLst>
                <a:cxn ang="0">
                  <a:pos x="T0" y="T1"/>
                </a:cxn>
                <a:cxn ang="0">
                  <a:pos x="T2" y="T3"/>
                </a:cxn>
                <a:cxn ang="0">
                  <a:pos x="T4" y="T5"/>
                </a:cxn>
                <a:cxn ang="0">
                  <a:pos x="T6" y="T7"/>
                </a:cxn>
              </a:cxnLst>
              <a:rect l="0" t="0" r="r" b="b"/>
              <a:pathLst>
                <a:path w="48" h="7">
                  <a:moveTo>
                    <a:pt x="0" y="7"/>
                  </a:moveTo>
                  <a:lnTo>
                    <a:pt x="48" y="7"/>
                  </a:lnTo>
                  <a:lnTo>
                    <a:pt x="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3" name="Rectangle 58"/>
            <p:cNvSpPr>
              <a:spLocks noChangeArrowheads="1"/>
            </p:cNvSpPr>
            <p:nvPr userDrawn="1"/>
          </p:nvSpPr>
          <p:spPr bwMode="auto">
            <a:xfrm>
              <a:off x="6619942" y="3668568"/>
              <a:ext cx="9968" cy="63129"/>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34" name="Freeform 59"/>
            <p:cNvSpPr/>
            <p:nvPr userDrawn="1"/>
          </p:nvSpPr>
          <p:spPr bwMode="auto">
            <a:xfrm>
              <a:off x="6619942" y="3668568"/>
              <a:ext cx="9968" cy="63129"/>
            </a:xfrm>
            <a:custGeom>
              <a:avLst/>
              <a:gdLst>
                <a:gd name="T0" fmla="*/ 0 w 6"/>
                <a:gd name="T1" fmla="*/ 0 h 38"/>
                <a:gd name="T2" fmla="*/ 0 w 6"/>
                <a:gd name="T3" fmla="*/ 38 h 38"/>
                <a:gd name="T4" fmla="*/ 6 w 6"/>
                <a:gd name="T5" fmla="*/ 38 h 38"/>
                <a:gd name="T6" fmla="*/ 6 w 6"/>
                <a:gd name="T7" fmla="*/ 0 h 38"/>
              </a:gdLst>
              <a:ahLst/>
              <a:cxnLst>
                <a:cxn ang="0">
                  <a:pos x="T0" y="T1"/>
                </a:cxn>
                <a:cxn ang="0">
                  <a:pos x="T2" y="T3"/>
                </a:cxn>
                <a:cxn ang="0">
                  <a:pos x="T4" y="T5"/>
                </a:cxn>
                <a:cxn ang="0">
                  <a:pos x="T6" y="T7"/>
                </a:cxn>
              </a:cxnLst>
              <a:rect l="0" t="0" r="r" b="b"/>
              <a:pathLst>
                <a:path w="6" h="38">
                  <a:moveTo>
                    <a:pt x="0" y="0"/>
                  </a:moveTo>
                  <a:lnTo>
                    <a:pt x="0" y="38"/>
                  </a:lnTo>
                  <a:lnTo>
                    <a:pt x="6" y="3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5" name="Rectangle 60"/>
            <p:cNvSpPr>
              <a:spLocks noChangeArrowheads="1"/>
            </p:cNvSpPr>
            <p:nvPr userDrawn="1"/>
          </p:nvSpPr>
          <p:spPr bwMode="auto">
            <a:xfrm>
              <a:off x="6596684" y="3695149"/>
              <a:ext cx="59806"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36" name="Freeform 61"/>
            <p:cNvSpPr/>
            <p:nvPr userDrawn="1"/>
          </p:nvSpPr>
          <p:spPr bwMode="auto">
            <a:xfrm>
              <a:off x="6596684" y="3695149"/>
              <a:ext cx="59806" cy="9968"/>
            </a:xfrm>
            <a:custGeom>
              <a:avLst/>
              <a:gdLst>
                <a:gd name="T0" fmla="*/ 36 w 36"/>
                <a:gd name="T1" fmla="*/ 0 h 6"/>
                <a:gd name="T2" fmla="*/ 0 w 36"/>
                <a:gd name="T3" fmla="*/ 0 h 6"/>
                <a:gd name="T4" fmla="*/ 0 w 36"/>
                <a:gd name="T5" fmla="*/ 6 h 6"/>
                <a:gd name="T6" fmla="*/ 36 w 36"/>
                <a:gd name="T7" fmla="*/ 6 h 6"/>
              </a:gdLst>
              <a:ahLst/>
              <a:cxnLst>
                <a:cxn ang="0">
                  <a:pos x="T0" y="T1"/>
                </a:cxn>
                <a:cxn ang="0">
                  <a:pos x="T2" y="T3"/>
                </a:cxn>
                <a:cxn ang="0">
                  <a:pos x="T4" y="T5"/>
                </a:cxn>
                <a:cxn ang="0">
                  <a:pos x="T6" y="T7"/>
                </a:cxn>
              </a:cxnLst>
              <a:rect l="0" t="0" r="r" b="b"/>
              <a:pathLst>
                <a:path w="36" h="6">
                  <a:moveTo>
                    <a:pt x="36" y="0"/>
                  </a:moveTo>
                  <a:lnTo>
                    <a:pt x="0" y="0"/>
                  </a:lnTo>
                  <a:lnTo>
                    <a:pt x="0" y="6"/>
                  </a:lnTo>
                  <a:lnTo>
                    <a:pt x="3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7" name="Rectangle 62"/>
            <p:cNvSpPr>
              <a:spLocks noChangeArrowheads="1"/>
            </p:cNvSpPr>
            <p:nvPr userDrawn="1"/>
          </p:nvSpPr>
          <p:spPr bwMode="auto">
            <a:xfrm>
              <a:off x="6772781" y="5230181"/>
              <a:ext cx="9968" cy="59806"/>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38" name="Freeform 63"/>
            <p:cNvSpPr/>
            <p:nvPr userDrawn="1"/>
          </p:nvSpPr>
          <p:spPr bwMode="auto">
            <a:xfrm>
              <a:off x="6772781" y="5230181"/>
              <a:ext cx="9968" cy="59806"/>
            </a:xfrm>
            <a:custGeom>
              <a:avLst/>
              <a:gdLst>
                <a:gd name="T0" fmla="*/ 0 w 6"/>
                <a:gd name="T1" fmla="*/ 0 h 36"/>
                <a:gd name="T2" fmla="*/ 0 w 6"/>
                <a:gd name="T3" fmla="*/ 36 h 36"/>
                <a:gd name="T4" fmla="*/ 6 w 6"/>
                <a:gd name="T5" fmla="*/ 36 h 36"/>
                <a:gd name="T6" fmla="*/ 6 w 6"/>
                <a:gd name="T7" fmla="*/ 0 h 36"/>
              </a:gdLst>
              <a:ahLst/>
              <a:cxnLst>
                <a:cxn ang="0">
                  <a:pos x="T0" y="T1"/>
                </a:cxn>
                <a:cxn ang="0">
                  <a:pos x="T2" y="T3"/>
                </a:cxn>
                <a:cxn ang="0">
                  <a:pos x="T4" y="T5"/>
                </a:cxn>
                <a:cxn ang="0">
                  <a:pos x="T6" y="T7"/>
                </a:cxn>
              </a:cxnLst>
              <a:rect l="0" t="0" r="r" b="b"/>
              <a:pathLst>
                <a:path w="6" h="36">
                  <a:moveTo>
                    <a:pt x="0" y="0"/>
                  </a:moveTo>
                  <a:lnTo>
                    <a:pt x="0" y="36"/>
                  </a:lnTo>
                  <a:lnTo>
                    <a:pt x="6" y="3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9" name="Rectangle 64"/>
            <p:cNvSpPr>
              <a:spLocks noChangeArrowheads="1"/>
            </p:cNvSpPr>
            <p:nvPr userDrawn="1"/>
          </p:nvSpPr>
          <p:spPr bwMode="auto">
            <a:xfrm>
              <a:off x="6746200" y="5256761"/>
              <a:ext cx="63129" cy="9968"/>
            </a:xfrm>
            <a:prstGeom prst="rect">
              <a:avLst/>
            </a:prstGeom>
            <a:solidFill>
              <a:srgbClr val="B7D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40" name="Freeform 65"/>
            <p:cNvSpPr/>
            <p:nvPr userDrawn="1"/>
          </p:nvSpPr>
          <p:spPr bwMode="auto">
            <a:xfrm>
              <a:off x="6746200" y="5256761"/>
              <a:ext cx="63129" cy="9968"/>
            </a:xfrm>
            <a:custGeom>
              <a:avLst/>
              <a:gdLst>
                <a:gd name="T0" fmla="*/ 38 w 38"/>
                <a:gd name="T1" fmla="*/ 0 h 6"/>
                <a:gd name="T2" fmla="*/ 0 w 38"/>
                <a:gd name="T3" fmla="*/ 0 h 6"/>
                <a:gd name="T4" fmla="*/ 0 w 38"/>
                <a:gd name="T5" fmla="*/ 6 h 6"/>
                <a:gd name="T6" fmla="*/ 38 w 38"/>
                <a:gd name="T7" fmla="*/ 6 h 6"/>
              </a:gdLst>
              <a:ahLst/>
              <a:cxnLst>
                <a:cxn ang="0">
                  <a:pos x="T0" y="T1"/>
                </a:cxn>
                <a:cxn ang="0">
                  <a:pos x="T2" y="T3"/>
                </a:cxn>
                <a:cxn ang="0">
                  <a:pos x="T4" y="T5"/>
                </a:cxn>
                <a:cxn ang="0">
                  <a:pos x="T6" y="T7"/>
                </a:cxn>
              </a:cxnLst>
              <a:rect l="0" t="0" r="r" b="b"/>
              <a:pathLst>
                <a:path w="38" h="6">
                  <a:moveTo>
                    <a:pt x="38" y="0"/>
                  </a:moveTo>
                  <a:lnTo>
                    <a:pt x="0" y="0"/>
                  </a:lnTo>
                  <a:lnTo>
                    <a:pt x="0" y="6"/>
                  </a:lnTo>
                  <a:lnTo>
                    <a:pt x="3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1" name="Freeform 70"/>
            <p:cNvSpPr/>
            <p:nvPr userDrawn="1"/>
          </p:nvSpPr>
          <p:spPr bwMode="auto">
            <a:xfrm>
              <a:off x="6920636" y="5012552"/>
              <a:ext cx="59806" cy="59806"/>
            </a:xfrm>
            <a:custGeom>
              <a:avLst/>
              <a:gdLst>
                <a:gd name="T0" fmla="*/ 21 w 23"/>
                <a:gd name="T1" fmla="*/ 11 h 23"/>
                <a:gd name="T2" fmla="*/ 19 w 23"/>
                <a:gd name="T3" fmla="*/ 11 h 23"/>
                <a:gd name="T4" fmla="*/ 12 w 23"/>
                <a:gd name="T5" fmla="*/ 19 h 23"/>
                <a:gd name="T6" fmla="*/ 4 w 23"/>
                <a:gd name="T7" fmla="*/ 11 h 23"/>
                <a:gd name="T8" fmla="*/ 12 w 23"/>
                <a:gd name="T9" fmla="*/ 4 h 23"/>
                <a:gd name="T10" fmla="*/ 19 w 23"/>
                <a:gd name="T11" fmla="*/ 11 h 23"/>
                <a:gd name="T12" fmla="*/ 21 w 23"/>
                <a:gd name="T13" fmla="*/ 11 h 23"/>
                <a:gd name="T14" fmla="*/ 23 w 23"/>
                <a:gd name="T15" fmla="*/ 11 h 23"/>
                <a:gd name="T16" fmla="*/ 12 w 23"/>
                <a:gd name="T17" fmla="*/ 0 h 23"/>
                <a:gd name="T18" fmla="*/ 0 w 23"/>
                <a:gd name="T19" fmla="*/ 11 h 23"/>
                <a:gd name="T20" fmla="*/ 12 w 23"/>
                <a:gd name="T21" fmla="*/ 23 h 23"/>
                <a:gd name="T22" fmla="*/ 23 w 23"/>
                <a:gd name="T23" fmla="*/ 11 h 23"/>
                <a:gd name="T24" fmla="*/ 21 w 23"/>
                <a:gd name="T25"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21" y="11"/>
                  </a:moveTo>
                  <a:cubicBezTo>
                    <a:pt x="19" y="11"/>
                    <a:pt x="19" y="11"/>
                    <a:pt x="19" y="11"/>
                  </a:cubicBezTo>
                  <a:cubicBezTo>
                    <a:pt x="19" y="15"/>
                    <a:pt x="16" y="19"/>
                    <a:pt x="12" y="19"/>
                  </a:cubicBezTo>
                  <a:cubicBezTo>
                    <a:pt x="7" y="19"/>
                    <a:pt x="4" y="15"/>
                    <a:pt x="4" y="11"/>
                  </a:cubicBezTo>
                  <a:cubicBezTo>
                    <a:pt x="4" y="7"/>
                    <a:pt x="7" y="4"/>
                    <a:pt x="12" y="4"/>
                  </a:cubicBezTo>
                  <a:cubicBezTo>
                    <a:pt x="16" y="4"/>
                    <a:pt x="19" y="7"/>
                    <a:pt x="19" y="11"/>
                  </a:cubicBezTo>
                  <a:cubicBezTo>
                    <a:pt x="21" y="11"/>
                    <a:pt x="21" y="11"/>
                    <a:pt x="21" y="11"/>
                  </a:cubicBezTo>
                  <a:cubicBezTo>
                    <a:pt x="23" y="11"/>
                    <a:pt x="23" y="11"/>
                    <a:pt x="23" y="11"/>
                  </a:cubicBezTo>
                  <a:cubicBezTo>
                    <a:pt x="23" y="5"/>
                    <a:pt x="18" y="0"/>
                    <a:pt x="12" y="0"/>
                  </a:cubicBezTo>
                  <a:cubicBezTo>
                    <a:pt x="5" y="0"/>
                    <a:pt x="0" y="5"/>
                    <a:pt x="0" y="11"/>
                  </a:cubicBezTo>
                  <a:cubicBezTo>
                    <a:pt x="0" y="18"/>
                    <a:pt x="5" y="23"/>
                    <a:pt x="12" y="23"/>
                  </a:cubicBezTo>
                  <a:cubicBezTo>
                    <a:pt x="18" y="23"/>
                    <a:pt x="23" y="18"/>
                    <a:pt x="23" y="11"/>
                  </a:cubicBezTo>
                  <a:lnTo>
                    <a:pt x="21" y="11"/>
                  </a:lnTo>
                  <a:close/>
                </a:path>
              </a:pathLst>
            </a:custGeom>
            <a:solidFill>
              <a:srgbClr val="B7D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2" name="Freeform 87"/>
            <p:cNvSpPr>
              <a:spLocks noEditPoints="1"/>
            </p:cNvSpPr>
            <p:nvPr userDrawn="1"/>
          </p:nvSpPr>
          <p:spPr bwMode="auto">
            <a:xfrm>
              <a:off x="5553394" y="3389471"/>
              <a:ext cx="161146" cy="225935"/>
            </a:xfrm>
            <a:custGeom>
              <a:avLst/>
              <a:gdLst>
                <a:gd name="T0" fmla="*/ 31 w 62"/>
                <a:gd name="T1" fmla="*/ 83 h 87"/>
                <a:gd name="T2" fmla="*/ 4 w 62"/>
                <a:gd name="T3" fmla="*/ 32 h 87"/>
                <a:gd name="T4" fmla="*/ 17 w 62"/>
                <a:gd name="T5" fmla="*/ 7 h 87"/>
                <a:gd name="T6" fmla="*/ 57 w 62"/>
                <a:gd name="T7" fmla="*/ 83 h 87"/>
                <a:gd name="T8" fmla="*/ 31 w 62"/>
                <a:gd name="T9" fmla="*/ 83 h 87"/>
                <a:gd name="T10" fmla="*/ 16 w 62"/>
                <a:gd name="T11" fmla="*/ 3 h 87"/>
                <a:gd name="T12" fmla="*/ 17 w 62"/>
                <a:gd name="T13" fmla="*/ 2 h 87"/>
                <a:gd name="T14" fmla="*/ 16 w 62"/>
                <a:gd name="T15" fmla="*/ 3 h 87"/>
                <a:gd name="T16" fmla="*/ 17 w 62"/>
                <a:gd name="T17" fmla="*/ 0 h 87"/>
                <a:gd name="T18" fmla="*/ 16 w 62"/>
                <a:gd name="T19" fmla="*/ 1 h 87"/>
                <a:gd name="T20" fmla="*/ 16 w 62"/>
                <a:gd name="T21" fmla="*/ 1 h 87"/>
                <a:gd name="T22" fmla="*/ 0 w 62"/>
                <a:gd name="T23" fmla="*/ 31 h 87"/>
                <a:gd name="T24" fmla="*/ 0 w 62"/>
                <a:gd name="T25" fmla="*/ 33 h 87"/>
                <a:gd name="T26" fmla="*/ 28 w 62"/>
                <a:gd name="T27" fmla="*/ 86 h 87"/>
                <a:gd name="T28" fmla="*/ 30 w 62"/>
                <a:gd name="T29" fmla="*/ 87 h 87"/>
                <a:gd name="T30" fmla="*/ 60 w 62"/>
                <a:gd name="T31" fmla="*/ 87 h 87"/>
                <a:gd name="T32" fmla="*/ 62 w 62"/>
                <a:gd name="T33" fmla="*/ 86 h 87"/>
                <a:gd name="T34" fmla="*/ 62 w 62"/>
                <a:gd name="T35" fmla="*/ 84 h 87"/>
                <a:gd name="T36" fmla="*/ 19 w 62"/>
                <a:gd name="T37" fmla="*/ 1 h 87"/>
                <a:gd name="T38" fmla="*/ 17 w 62"/>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87">
                  <a:moveTo>
                    <a:pt x="31" y="83"/>
                  </a:moveTo>
                  <a:cubicBezTo>
                    <a:pt x="4" y="32"/>
                    <a:pt x="4" y="32"/>
                    <a:pt x="4" y="32"/>
                  </a:cubicBezTo>
                  <a:cubicBezTo>
                    <a:pt x="17" y="7"/>
                    <a:pt x="17" y="7"/>
                    <a:pt x="17" y="7"/>
                  </a:cubicBezTo>
                  <a:cubicBezTo>
                    <a:pt x="57" y="83"/>
                    <a:pt x="57" y="83"/>
                    <a:pt x="57" y="83"/>
                  </a:cubicBezTo>
                  <a:cubicBezTo>
                    <a:pt x="31" y="83"/>
                    <a:pt x="31" y="83"/>
                    <a:pt x="31" y="83"/>
                  </a:cubicBezTo>
                  <a:moveTo>
                    <a:pt x="16" y="3"/>
                  </a:moveTo>
                  <a:cubicBezTo>
                    <a:pt x="17" y="2"/>
                    <a:pt x="17" y="2"/>
                    <a:pt x="17" y="2"/>
                  </a:cubicBezTo>
                  <a:cubicBezTo>
                    <a:pt x="16" y="3"/>
                    <a:pt x="16" y="3"/>
                    <a:pt x="16" y="3"/>
                  </a:cubicBezTo>
                  <a:moveTo>
                    <a:pt x="17" y="0"/>
                  </a:moveTo>
                  <a:cubicBezTo>
                    <a:pt x="17" y="0"/>
                    <a:pt x="16" y="1"/>
                    <a:pt x="16" y="1"/>
                  </a:cubicBezTo>
                  <a:cubicBezTo>
                    <a:pt x="16" y="1"/>
                    <a:pt x="16" y="1"/>
                    <a:pt x="16" y="1"/>
                  </a:cubicBezTo>
                  <a:cubicBezTo>
                    <a:pt x="0" y="31"/>
                    <a:pt x="0" y="31"/>
                    <a:pt x="0" y="31"/>
                  </a:cubicBezTo>
                  <a:cubicBezTo>
                    <a:pt x="0" y="32"/>
                    <a:pt x="0" y="32"/>
                    <a:pt x="0" y="33"/>
                  </a:cubicBezTo>
                  <a:cubicBezTo>
                    <a:pt x="28" y="86"/>
                    <a:pt x="28" y="86"/>
                    <a:pt x="28" y="86"/>
                  </a:cubicBezTo>
                  <a:cubicBezTo>
                    <a:pt x="28" y="87"/>
                    <a:pt x="29" y="87"/>
                    <a:pt x="30" y="87"/>
                  </a:cubicBezTo>
                  <a:cubicBezTo>
                    <a:pt x="60" y="87"/>
                    <a:pt x="60" y="87"/>
                    <a:pt x="60" y="87"/>
                  </a:cubicBezTo>
                  <a:cubicBezTo>
                    <a:pt x="61" y="87"/>
                    <a:pt x="62" y="87"/>
                    <a:pt x="62" y="86"/>
                  </a:cubicBezTo>
                  <a:cubicBezTo>
                    <a:pt x="62" y="86"/>
                    <a:pt x="62" y="85"/>
                    <a:pt x="62" y="84"/>
                  </a:cubicBezTo>
                  <a:cubicBezTo>
                    <a:pt x="19" y="1"/>
                    <a:pt x="19" y="1"/>
                    <a:pt x="19" y="1"/>
                  </a:cubicBezTo>
                  <a:cubicBezTo>
                    <a:pt x="19" y="1"/>
                    <a:pt x="18" y="0"/>
                    <a:pt x="17"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3" name="Freeform 88"/>
            <p:cNvSpPr>
              <a:spLocks noEditPoints="1"/>
            </p:cNvSpPr>
            <p:nvPr userDrawn="1"/>
          </p:nvSpPr>
          <p:spPr bwMode="auto">
            <a:xfrm>
              <a:off x="5613200" y="3296439"/>
              <a:ext cx="79742" cy="79742"/>
            </a:xfrm>
            <a:custGeom>
              <a:avLst/>
              <a:gdLst>
                <a:gd name="T0" fmla="*/ 31 w 31"/>
                <a:gd name="T1" fmla="*/ 15 h 31"/>
                <a:gd name="T2" fmla="*/ 31 w 31"/>
                <a:gd name="T3" fmla="*/ 15 h 31"/>
                <a:gd name="T4" fmla="*/ 31 w 31"/>
                <a:gd name="T5" fmla="*/ 15 h 31"/>
                <a:gd name="T6" fmla="*/ 15 w 31"/>
                <a:gd name="T7" fmla="*/ 0 h 31"/>
                <a:gd name="T8" fmla="*/ 0 w 31"/>
                <a:gd name="T9" fmla="*/ 15 h 31"/>
                <a:gd name="T10" fmla="*/ 15 w 31"/>
                <a:gd name="T11" fmla="*/ 31 h 31"/>
                <a:gd name="T12" fmla="*/ 31 w 31"/>
                <a:gd name="T13" fmla="*/ 15 h 31"/>
                <a:gd name="T14" fmla="*/ 29 w 31"/>
                <a:gd name="T15" fmla="*/ 15 h 31"/>
                <a:gd name="T16" fmla="*/ 27 w 31"/>
                <a:gd name="T17" fmla="*/ 15 h 31"/>
                <a:gd name="T18" fmla="*/ 15 w 31"/>
                <a:gd name="T19" fmla="*/ 27 h 31"/>
                <a:gd name="T20" fmla="*/ 4 w 31"/>
                <a:gd name="T21" fmla="*/ 15 h 31"/>
                <a:gd name="T22" fmla="*/ 15 w 31"/>
                <a:gd name="T23" fmla="*/ 4 h 31"/>
                <a:gd name="T24" fmla="*/ 27 w 31"/>
                <a:gd name="T25" fmla="*/ 15 h 31"/>
                <a:gd name="T26" fmla="*/ 29 w 31"/>
                <a:gd name="T27" fmla="*/ 15 h 31"/>
                <a:gd name="T28" fmla="*/ 31 w 31"/>
                <a:gd name="T29" fmla="*/ 15 h 31"/>
                <a:gd name="T30" fmla="*/ 31 w 31"/>
                <a:gd name="T31" fmla="*/ 15 h 31"/>
                <a:gd name="T32" fmla="*/ 15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5" y="0"/>
                  </a:moveTo>
                  <a:cubicBezTo>
                    <a:pt x="7" y="0"/>
                    <a:pt x="0" y="7"/>
                    <a:pt x="0" y="15"/>
                  </a:cubicBezTo>
                  <a:cubicBezTo>
                    <a:pt x="0" y="24"/>
                    <a:pt x="7" y="31"/>
                    <a:pt x="15" y="31"/>
                  </a:cubicBezTo>
                  <a:cubicBezTo>
                    <a:pt x="24" y="31"/>
                    <a:pt x="31" y="24"/>
                    <a:pt x="31" y="15"/>
                  </a:cubicBezTo>
                  <a:cubicBezTo>
                    <a:pt x="29" y="15"/>
                    <a:pt x="29" y="15"/>
                    <a:pt x="29" y="15"/>
                  </a:cubicBezTo>
                  <a:cubicBezTo>
                    <a:pt x="27" y="15"/>
                    <a:pt x="27" y="15"/>
                    <a:pt x="27" y="15"/>
                  </a:cubicBezTo>
                  <a:cubicBezTo>
                    <a:pt x="27" y="22"/>
                    <a:pt x="22" y="27"/>
                    <a:pt x="15" y="27"/>
                  </a:cubicBezTo>
                  <a:cubicBezTo>
                    <a:pt x="9" y="27"/>
                    <a:pt x="4" y="22"/>
                    <a:pt x="4" y="15"/>
                  </a:cubicBezTo>
                  <a:cubicBezTo>
                    <a:pt x="4" y="9"/>
                    <a:pt x="9" y="4"/>
                    <a:pt x="15"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5"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4" name="Freeform 209"/>
            <p:cNvSpPr/>
            <p:nvPr userDrawn="1"/>
          </p:nvSpPr>
          <p:spPr bwMode="auto">
            <a:xfrm>
              <a:off x="5947120" y="3384488"/>
              <a:ext cx="225935" cy="279097"/>
            </a:xfrm>
            <a:custGeom>
              <a:avLst/>
              <a:gdLst>
                <a:gd name="T0" fmla="*/ 54 w 87"/>
                <a:gd name="T1" fmla="*/ 0 h 108"/>
                <a:gd name="T2" fmla="*/ 26 w 87"/>
                <a:gd name="T3" fmla="*/ 16 h 108"/>
                <a:gd name="T4" fmla="*/ 19 w 87"/>
                <a:gd name="T5" fmla="*/ 35 h 108"/>
                <a:gd name="T6" fmla="*/ 15 w 87"/>
                <a:gd name="T7" fmla="*/ 55 h 108"/>
                <a:gd name="T8" fmla="*/ 0 w 87"/>
                <a:gd name="T9" fmla="*/ 94 h 108"/>
                <a:gd name="T10" fmla="*/ 87 w 87"/>
                <a:gd name="T11" fmla="*/ 97 h 108"/>
              </a:gdLst>
              <a:ahLst/>
              <a:cxnLst>
                <a:cxn ang="0">
                  <a:pos x="T0" y="T1"/>
                </a:cxn>
                <a:cxn ang="0">
                  <a:pos x="T2" y="T3"/>
                </a:cxn>
                <a:cxn ang="0">
                  <a:pos x="T4" y="T5"/>
                </a:cxn>
                <a:cxn ang="0">
                  <a:pos x="T6" y="T7"/>
                </a:cxn>
                <a:cxn ang="0">
                  <a:pos x="T8" y="T9"/>
                </a:cxn>
                <a:cxn ang="0">
                  <a:pos x="T10" y="T11"/>
                </a:cxn>
              </a:cxnLst>
              <a:rect l="0" t="0" r="r" b="b"/>
              <a:pathLst>
                <a:path w="87" h="108">
                  <a:moveTo>
                    <a:pt x="54" y="0"/>
                  </a:moveTo>
                  <a:cubicBezTo>
                    <a:pt x="42" y="2"/>
                    <a:pt x="32" y="6"/>
                    <a:pt x="26" y="16"/>
                  </a:cubicBezTo>
                  <a:cubicBezTo>
                    <a:pt x="22" y="22"/>
                    <a:pt x="20" y="29"/>
                    <a:pt x="19" y="35"/>
                  </a:cubicBezTo>
                  <a:cubicBezTo>
                    <a:pt x="17" y="42"/>
                    <a:pt x="17" y="49"/>
                    <a:pt x="15" y="55"/>
                  </a:cubicBezTo>
                  <a:cubicBezTo>
                    <a:pt x="11" y="69"/>
                    <a:pt x="6" y="81"/>
                    <a:pt x="0" y="94"/>
                  </a:cubicBezTo>
                  <a:cubicBezTo>
                    <a:pt x="22" y="108"/>
                    <a:pt x="61" y="103"/>
                    <a:pt x="87" y="97"/>
                  </a:cubicBezTo>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5" name="Freeform 210"/>
            <p:cNvSpPr/>
            <p:nvPr userDrawn="1"/>
          </p:nvSpPr>
          <p:spPr bwMode="auto">
            <a:xfrm>
              <a:off x="6103281" y="3381165"/>
              <a:ext cx="235903" cy="272452"/>
            </a:xfrm>
            <a:custGeom>
              <a:avLst/>
              <a:gdLst>
                <a:gd name="T0" fmla="*/ 80 w 91"/>
                <a:gd name="T1" fmla="*/ 71 h 105"/>
                <a:gd name="T2" fmla="*/ 62 w 91"/>
                <a:gd name="T3" fmla="*/ 29 h 105"/>
                <a:gd name="T4" fmla="*/ 50 w 91"/>
                <a:gd name="T5" fmla="*/ 7 h 105"/>
                <a:gd name="T6" fmla="*/ 37 w 91"/>
                <a:gd name="T7" fmla="*/ 1 h 105"/>
                <a:gd name="T8" fmla="*/ 0 w 91"/>
                <a:gd name="T9" fmla="*/ 102 h 105"/>
                <a:gd name="T10" fmla="*/ 91 w 91"/>
                <a:gd name="T11" fmla="*/ 87 h 105"/>
                <a:gd name="T12" fmla="*/ 80 w 91"/>
                <a:gd name="T13" fmla="*/ 71 h 105"/>
              </a:gdLst>
              <a:ahLst/>
              <a:cxnLst>
                <a:cxn ang="0">
                  <a:pos x="T0" y="T1"/>
                </a:cxn>
                <a:cxn ang="0">
                  <a:pos x="T2" y="T3"/>
                </a:cxn>
                <a:cxn ang="0">
                  <a:pos x="T4" y="T5"/>
                </a:cxn>
                <a:cxn ang="0">
                  <a:pos x="T6" y="T7"/>
                </a:cxn>
                <a:cxn ang="0">
                  <a:pos x="T8" y="T9"/>
                </a:cxn>
                <a:cxn ang="0">
                  <a:pos x="T10" y="T11"/>
                </a:cxn>
                <a:cxn ang="0">
                  <a:pos x="T12" y="T13"/>
                </a:cxn>
              </a:cxnLst>
              <a:rect l="0" t="0" r="r" b="b"/>
              <a:pathLst>
                <a:path w="91" h="105">
                  <a:moveTo>
                    <a:pt x="80" y="71"/>
                  </a:moveTo>
                  <a:cubicBezTo>
                    <a:pt x="73" y="57"/>
                    <a:pt x="67" y="43"/>
                    <a:pt x="62" y="29"/>
                  </a:cubicBezTo>
                  <a:cubicBezTo>
                    <a:pt x="59" y="21"/>
                    <a:pt x="55" y="13"/>
                    <a:pt x="50" y="7"/>
                  </a:cubicBezTo>
                  <a:cubicBezTo>
                    <a:pt x="46" y="3"/>
                    <a:pt x="42" y="0"/>
                    <a:pt x="37" y="1"/>
                  </a:cubicBezTo>
                  <a:cubicBezTo>
                    <a:pt x="0" y="102"/>
                    <a:pt x="0" y="102"/>
                    <a:pt x="0" y="102"/>
                  </a:cubicBezTo>
                  <a:cubicBezTo>
                    <a:pt x="16" y="105"/>
                    <a:pt x="79" y="99"/>
                    <a:pt x="91" y="87"/>
                  </a:cubicBezTo>
                  <a:cubicBezTo>
                    <a:pt x="86" y="83"/>
                    <a:pt x="82" y="77"/>
                    <a:pt x="80" y="71"/>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6" name="Freeform 211"/>
            <p:cNvSpPr/>
            <p:nvPr userDrawn="1"/>
          </p:nvSpPr>
          <p:spPr bwMode="auto">
            <a:xfrm>
              <a:off x="5711217" y="5035810"/>
              <a:ext cx="448548" cy="928662"/>
            </a:xfrm>
            <a:custGeom>
              <a:avLst/>
              <a:gdLst>
                <a:gd name="T0" fmla="*/ 59 w 173"/>
                <a:gd name="T1" fmla="*/ 27 h 358"/>
                <a:gd name="T2" fmla="*/ 42 w 173"/>
                <a:gd name="T3" fmla="*/ 325 h 358"/>
                <a:gd name="T4" fmla="*/ 0 w 173"/>
                <a:gd name="T5" fmla="*/ 352 h 358"/>
                <a:gd name="T6" fmla="*/ 119 w 173"/>
                <a:gd name="T7" fmla="*/ 355 h 358"/>
                <a:gd name="T8" fmla="*/ 114 w 173"/>
                <a:gd name="T9" fmla="*/ 325 h 358"/>
                <a:gd name="T10" fmla="*/ 160 w 173"/>
                <a:gd name="T11" fmla="*/ 145 h 358"/>
                <a:gd name="T12" fmla="*/ 173 w 173"/>
                <a:gd name="T13" fmla="*/ 32 h 358"/>
                <a:gd name="T14" fmla="*/ 59 w 173"/>
                <a:gd name="T15" fmla="*/ 27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58">
                  <a:moveTo>
                    <a:pt x="59" y="27"/>
                  </a:moveTo>
                  <a:cubicBezTo>
                    <a:pt x="40" y="81"/>
                    <a:pt x="42" y="325"/>
                    <a:pt x="42" y="325"/>
                  </a:cubicBezTo>
                  <a:cubicBezTo>
                    <a:pt x="0" y="352"/>
                    <a:pt x="0" y="352"/>
                    <a:pt x="0" y="352"/>
                  </a:cubicBezTo>
                  <a:cubicBezTo>
                    <a:pt x="0" y="352"/>
                    <a:pt x="115" y="358"/>
                    <a:pt x="119" y="355"/>
                  </a:cubicBezTo>
                  <a:cubicBezTo>
                    <a:pt x="122" y="351"/>
                    <a:pt x="114" y="325"/>
                    <a:pt x="114" y="325"/>
                  </a:cubicBezTo>
                  <a:cubicBezTo>
                    <a:pt x="114" y="325"/>
                    <a:pt x="153" y="187"/>
                    <a:pt x="160" y="145"/>
                  </a:cubicBezTo>
                  <a:cubicBezTo>
                    <a:pt x="165" y="116"/>
                    <a:pt x="173" y="32"/>
                    <a:pt x="173" y="32"/>
                  </a:cubicBezTo>
                  <a:cubicBezTo>
                    <a:pt x="173" y="32"/>
                    <a:pt x="69" y="0"/>
                    <a:pt x="59" y="27"/>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7" name="Freeform 213"/>
            <p:cNvSpPr/>
            <p:nvPr userDrawn="1"/>
          </p:nvSpPr>
          <p:spPr bwMode="auto">
            <a:xfrm>
              <a:off x="6237845" y="4952746"/>
              <a:ext cx="480113" cy="1011726"/>
            </a:xfrm>
            <a:custGeom>
              <a:avLst/>
              <a:gdLst>
                <a:gd name="T0" fmla="*/ 20 w 185"/>
                <a:gd name="T1" fmla="*/ 27 h 390"/>
                <a:gd name="T2" fmla="*/ 104 w 185"/>
                <a:gd name="T3" fmla="*/ 357 h 390"/>
                <a:gd name="T4" fmla="*/ 62 w 185"/>
                <a:gd name="T5" fmla="*/ 384 h 390"/>
                <a:gd name="T6" fmla="*/ 181 w 185"/>
                <a:gd name="T7" fmla="*/ 387 h 390"/>
                <a:gd name="T8" fmla="*/ 176 w 185"/>
                <a:gd name="T9" fmla="*/ 357 h 390"/>
                <a:gd name="T10" fmla="*/ 156 w 185"/>
                <a:gd name="T11" fmla="*/ 140 h 390"/>
                <a:gd name="T12" fmla="*/ 126 w 185"/>
                <a:gd name="T13" fmla="*/ 33 h 390"/>
                <a:gd name="T14" fmla="*/ 20 w 185"/>
                <a:gd name="T15" fmla="*/ 27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390">
                  <a:moveTo>
                    <a:pt x="20" y="27"/>
                  </a:moveTo>
                  <a:cubicBezTo>
                    <a:pt x="0" y="81"/>
                    <a:pt x="104" y="357"/>
                    <a:pt x="104" y="357"/>
                  </a:cubicBezTo>
                  <a:cubicBezTo>
                    <a:pt x="62" y="384"/>
                    <a:pt x="62" y="384"/>
                    <a:pt x="62" y="384"/>
                  </a:cubicBezTo>
                  <a:cubicBezTo>
                    <a:pt x="62" y="384"/>
                    <a:pt x="177" y="390"/>
                    <a:pt x="181" y="387"/>
                  </a:cubicBezTo>
                  <a:cubicBezTo>
                    <a:pt x="185" y="383"/>
                    <a:pt x="176" y="357"/>
                    <a:pt x="176" y="357"/>
                  </a:cubicBezTo>
                  <a:cubicBezTo>
                    <a:pt x="176" y="357"/>
                    <a:pt x="160" y="167"/>
                    <a:pt x="156" y="140"/>
                  </a:cubicBezTo>
                  <a:cubicBezTo>
                    <a:pt x="144" y="74"/>
                    <a:pt x="126" y="33"/>
                    <a:pt x="126" y="33"/>
                  </a:cubicBezTo>
                  <a:cubicBezTo>
                    <a:pt x="126" y="33"/>
                    <a:pt x="29" y="0"/>
                    <a:pt x="20" y="27"/>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8" name="Freeform 214"/>
            <p:cNvSpPr/>
            <p:nvPr userDrawn="1"/>
          </p:nvSpPr>
          <p:spPr bwMode="auto">
            <a:xfrm>
              <a:off x="6349152" y="5886391"/>
              <a:ext cx="373791" cy="119613"/>
            </a:xfrm>
            <a:custGeom>
              <a:avLst/>
              <a:gdLst>
                <a:gd name="T0" fmla="*/ 123 w 144"/>
                <a:gd name="T1" fmla="*/ 26 h 46"/>
                <a:gd name="T2" fmla="*/ 141 w 144"/>
                <a:gd name="T3" fmla="*/ 9 h 46"/>
                <a:gd name="T4" fmla="*/ 138 w 144"/>
                <a:gd name="T5" fmla="*/ 0 h 46"/>
                <a:gd name="T6" fmla="*/ 112 w 144"/>
                <a:gd name="T7" fmla="*/ 26 h 46"/>
                <a:gd name="T8" fmla="*/ 99 w 144"/>
                <a:gd name="T9" fmla="*/ 26 h 46"/>
                <a:gd name="T10" fmla="*/ 55 w 144"/>
                <a:gd name="T11" fmla="*/ 4 h 46"/>
                <a:gd name="T12" fmla="*/ 6 w 144"/>
                <a:gd name="T13" fmla="*/ 34 h 46"/>
                <a:gd name="T14" fmla="*/ 9 w 144"/>
                <a:gd name="T15" fmla="*/ 46 h 46"/>
                <a:gd name="T16" fmla="*/ 75 w 144"/>
                <a:gd name="T17" fmla="*/ 46 h 46"/>
                <a:gd name="T18" fmla="*/ 95 w 144"/>
                <a:gd name="T19" fmla="*/ 32 h 46"/>
                <a:gd name="T20" fmla="*/ 101 w 144"/>
                <a:gd name="T21" fmla="*/ 32 h 46"/>
                <a:gd name="T22" fmla="*/ 101 w 144"/>
                <a:gd name="T23" fmla="*/ 46 h 46"/>
                <a:gd name="T24" fmla="*/ 144 w 144"/>
                <a:gd name="T25" fmla="*/ 46 h 46"/>
                <a:gd name="T26" fmla="*/ 144 w 144"/>
                <a:gd name="T27" fmla="*/ 26 h 46"/>
                <a:gd name="T28" fmla="*/ 123 w 144"/>
                <a:gd name="T29" fmla="*/ 2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46">
                  <a:moveTo>
                    <a:pt x="123" y="26"/>
                  </a:moveTo>
                  <a:cubicBezTo>
                    <a:pt x="141" y="9"/>
                    <a:pt x="141" y="9"/>
                    <a:pt x="141" y="9"/>
                  </a:cubicBezTo>
                  <a:cubicBezTo>
                    <a:pt x="138" y="0"/>
                    <a:pt x="138" y="0"/>
                    <a:pt x="138" y="0"/>
                  </a:cubicBezTo>
                  <a:cubicBezTo>
                    <a:pt x="112" y="26"/>
                    <a:pt x="112" y="26"/>
                    <a:pt x="112" y="26"/>
                  </a:cubicBezTo>
                  <a:cubicBezTo>
                    <a:pt x="99" y="26"/>
                    <a:pt x="99" y="26"/>
                    <a:pt x="99" y="26"/>
                  </a:cubicBezTo>
                  <a:cubicBezTo>
                    <a:pt x="55" y="4"/>
                    <a:pt x="55" y="4"/>
                    <a:pt x="55" y="4"/>
                  </a:cubicBezTo>
                  <a:cubicBezTo>
                    <a:pt x="6" y="34"/>
                    <a:pt x="6" y="34"/>
                    <a:pt x="6" y="34"/>
                  </a:cubicBezTo>
                  <a:cubicBezTo>
                    <a:pt x="0" y="38"/>
                    <a:pt x="3" y="46"/>
                    <a:pt x="9" y="46"/>
                  </a:cubicBezTo>
                  <a:cubicBezTo>
                    <a:pt x="75" y="46"/>
                    <a:pt x="75" y="46"/>
                    <a:pt x="75" y="46"/>
                  </a:cubicBezTo>
                  <a:cubicBezTo>
                    <a:pt x="95" y="32"/>
                    <a:pt x="95" y="32"/>
                    <a:pt x="95" y="32"/>
                  </a:cubicBezTo>
                  <a:cubicBezTo>
                    <a:pt x="101" y="32"/>
                    <a:pt x="101" y="32"/>
                    <a:pt x="101" y="32"/>
                  </a:cubicBezTo>
                  <a:cubicBezTo>
                    <a:pt x="101" y="46"/>
                    <a:pt x="101" y="46"/>
                    <a:pt x="101" y="46"/>
                  </a:cubicBezTo>
                  <a:cubicBezTo>
                    <a:pt x="144" y="46"/>
                    <a:pt x="144" y="46"/>
                    <a:pt x="144" y="46"/>
                  </a:cubicBezTo>
                  <a:cubicBezTo>
                    <a:pt x="144" y="26"/>
                    <a:pt x="144" y="26"/>
                    <a:pt x="144" y="26"/>
                  </a:cubicBezTo>
                  <a:lnTo>
                    <a:pt x="123" y="26"/>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9" name="Freeform 215"/>
            <p:cNvSpPr/>
            <p:nvPr userDrawn="1"/>
          </p:nvSpPr>
          <p:spPr bwMode="auto">
            <a:xfrm>
              <a:off x="5845781" y="4211810"/>
              <a:ext cx="797419" cy="1074855"/>
            </a:xfrm>
            <a:custGeom>
              <a:avLst/>
              <a:gdLst>
                <a:gd name="T0" fmla="*/ 237 w 307"/>
                <a:gd name="T1" fmla="*/ 51 h 415"/>
                <a:gd name="T2" fmla="*/ 248 w 307"/>
                <a:gd name="T3" fmla="*/ 80 h 415"/>
                <a:gd name="T4" fmla="*/ 304 w 307"/>
                <a:gd name="T5" fmla="*/ 389 h 415"/>
                <a:gd name="T6" fmla="*/ 150 w 307"/>
                <a:gd name="T7" fmla="*/ 412 h 415"/>
                <a:gd name="T8" fmla="*/ 0 w 307"/>
                <a:gd name="T9" fmla="*/ 392 h 415"/>
                <a:gd name="T10" fmla="*/ 44 w 307"/>
                <a:gd name="T11" fmla="*/ 41 h 415"/>
                <a:gd name="T12" fmla="*/ 237 w 307"/>
                <a:gd name="T13" fmla="*/ 51 h 415"/>
              </a:gdLst>
              <a:ahLst/>
              <a:cxnLst>
                <a:cxn ang="0">
                  <a:pos x="T0" y="T1"/>
                </a:cxn>
                <a:cxn ang="0">
                  <a:pos x="T2" y="T3"/>
                </a:cxn>
                <a:cxn ang="0">
                  <a:pos x="T4" y="T5"/>
                </a:cxn>
                <a:cxn ang="0">
                  <a:pos x="T6" y="T7"/>
                </a:cxn>
                <a:cxn ang="0">
                  <a:pos x="T8" y="T9"/>
                </a:cxn>
                <a:cxn ang="0">
                  <a:pos x="T10" y="T11"/>
                </a:cxn>
                <a:cxn ang="0">
                  <a:pos x="T12" y="T13"/>
                </a:cxn>
              </a:cxnLst>
              <a:rect l="0" t="0" r="r" b="b"/>
              <a:pathLst>
                <a:path w="307" h="415">
                  <a:moveTo>
                    <a:pt x="237" y="51"/>
                  </a:moveTo>
                  <a:cubicBezTo>
                    <a:pt x="243" y="63"/>
                    <a:pt x="243" y="65"/>
                    <a:pt x="248" y="80"/>
                  </a:cubicBezTo>
                  <a:cubicBezTo>
                    <a:pt x="307" y="149"/>
                    <a:pt x="304" y="389"/>
                    <a:pt x="304" y="389"/>
                  </a:cubicBezTo>
                  <a:cubicBezTo>
                    <a:pt x="304" y="389"/>
                    <a:pt x="239" y="415"/>
                    <a:pt x="150" y="412"/>
                  </a:cubicBezTo>
                  <a:cubicBezTo>
                    <a:pt x="54" y="409"/>
                    <a:pt x="0" y="392"/>
                    <a:pt x="0" y="392"/>
                  </a:cubicBezTo>
                  <a:cubicBezTo>
                    <a:pt x="0" y="392"/>
                    <a:pt x="17" y="82"/>
                    <a:pt x="44" y="41"/>
                  </a:cubicBezTo>
                  <a:cubicBezTo>
                    <a:pt x="72" y="0"/>
                    <a:pt x="237" y="51"/>
                    <a:pt x="237" y="51"/>
                  </a:cubicBezTo>
                  <a:close/>
                </a:path>
              </a:pathLst>
            </a:custGeom>
            <a:solidFill>
              <a:srgbClr val="103B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0" name="Freeform 216"/>
            <p:cNvSpPr/>
            <p:nvPr userDrawn="1"/>
          </p:nvSpPr>
          <p:spPr bwMode="auto">
            <a:xfrm>
              <a:off x="6324232" y="4412826"/>
              <a:ext cx="157823" cy="101339"/>
            </a:xfrm>
            <a:custGeom>
              <a:avLst/>
              <a:gdLst>
                <a:gd name="T0" fmla="*/ 0 w 61"/>
                <a:gd name="T1" fmla="*/ 1 h 39"/>
                <a:gd name="T2" fmla="*/ 12 w 61"/>
                <a:gd name="T3" fmla="*/ 21 h 39"/>
                <a:gd name="T4" fmla="*/ 43 w 61"/>
                <a:gd name="T5" fmla="*/ 36 h 39"/>
                <a:gd name="T6" fmla="*/ 60 w 61"/>
                <a:gd name="T7" fmla="*/ 39 h 39"/>
                <a:gd name="T8" fmla="*/ 61 w 61"/>
                <a:gd name="T9" fmla="*/ 35 h 39"/>
                <a:gd name="T10" fmla="*/ 60 w 61"/>
                <a:gd name="T11" fmla="*/ 35 h 39"/>
                <a:gd name="T12" fmla="*/ 31 w 61"/>
                <a:gd name="T13" fmla="*/ 28 h 39"/>
                <a:gd name="T14" fmla="*/ 13 w 61"/>
                <a:gd name="T15" fmla="*/ 17 h 39"/>
                <a:gd name="T16" fmla="*/ 4 w 61"/>
                <a:gd name="T17" fmla="*/ 0 h 39"/>
                <a:gd name="T18" fmla="*/ 0 w 61"/>
                <a:gd name="T19"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39">
                  <a:moveTo>
                    <a:pt x="0" y="1"/>
                  </a:moveTo>
                  <a:cubicBezTo>
                    <a:pt x="1" y="9"/>
                    <a:pt x="6" y="16"/>
                    <a:pt x="12" y="21"/>
                  </a:cubicBezTo>
                  <a:cubicBezTo>
                    <a:pt x="21" y="29"/>
                    <a:pt x="33" y="33"/>
                    <a:pt x="43" y="36"/>
                  </a:cubicBezTo>
                  <a:cubicBezTo>
                    <a:pt x="52" y="38"/>
                    <a:pt x="60" y="39"/>
                    <a:pt x="60" y="39"/>
                  </a:cubicBezTo>
                  <a:cubicBezTo>
                    <a:pt x="61" y="35"/>
                    <a:pt x="61" y="35"/>
                    <a:pt x="61" y="35"/>
                  </a:cubicBezTo>
                  <a:cubicBezTo>
                    <a:pt x="61" y="35"/>
                    <a:pt x="60" y="35"/>
                    <a:pt x="60" y="35"/>
                  </a:cubicBezTo>
                  <a:cubicBezTo>
                    <a:pt x="57" y="35"/>
                    <a:pt x="44" y="33"/>
                    <a:pt x="31" y="28"/>
                  </a:cubicBezTo>
                  <a:cubicBezTo>
                    <a:pt x="25" y="25"/>
                    <a:pt x="18" y="22"/>
                    <a:pt x="13" y="17"/>
                  </a:cubicBezTo>
                  <a:cubicBezTo>
                    <a:pt x="8" y="13"/>
                    <a:pt x="5" y="7"/>
                    <a:pt x="4" y="0"/>
                  </a:cubicBezTo>
                  <a:cubicBezTo>
                    <a:pt x="0" y="1"/>
                    <a:pt x="0" y="1"/>
                    <a:pt x="0" y="1"/>
                  </a:cubicBezTo>
                  <a:close/>
                </a:path>
              </a:pathLst>
            </a:custGeom>
            <a:solidFill>
              <a:srgbClr val="0028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1" name="Freeform 217"/>
            <p:cNvSpPr/>
            <p:nvPr userDrawn="1"/>
          </p:nvSpPr>
          <p:spPr bwMode="auto">
            <a:xfrm>
              <a:off x="6402314" y="4384585"/>
              <a:ext cx="194371" cy="842275"/>
            </a:xfrm>
            <a:custGeom>
              <a:avLst/>
              <a:gdLst>
                <a:gd name="T0" fmla="*/ 0 w 75"/>
                <a:gd name="T1" fmla="*/ 3 h 325"/>
                <a:gd name="T2" fmla="*/ 38 w 75"/>
                <a:gd name="T3" fmla="*/ 76 h 325"/>
                <a:gd name="T4" fmla="*/ 65 w 75"/>
                <a:gd name="T5" fmla="*/ 237 h 325"/>
                <a:gd name="T6" fmla="*/ 70 w 75"/>
                <a:gd name="T7" fmla="*/ 300 h 325"/>
                <a:gd name="T8" fmla="*/ 70 w 75"/>
                <a:gd name="T9" fmla="*/ 318 h 325"/>
                <a:gd name="T10" fmla="*/ 71 w 75"/>
                <a:gd name="T11" fmla="*/ 325 h 325"/>
                <a:gd name="T12" fmla="*/ 75 w 75"/>
                <a:gd name="T13" fmla="*/ 325 h 325"/>
                <a:gd name="T14" fmla="*/ 63 w 75"/>
                <a:gd name="T15" fmla="*/ 184 h 325"/>
                <a:gd name="T16" fmla="*/ 42 w 75"/>
                <a:gd name="T17" fmla="*/ 75 h 325"/>
                <a:gd name="T18" fmla="*/ 3 w 75"/>
                <a:gd name="T19" fmla="*/ 0 h 325"/>
                <a:gd name="T20" fmla="*/ 0 w 75"/>
                <a:gd name="T21" fmla="*/ 3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325">
                  <a:moveTo>
                    <a:pt x="0" y="3"/>
                  </a:moveTo>
                  <a:cubicBezTo>
                    <a:pt x="16" y="16"/>
                    <a:pt x="28" y="43"/>
                    <a:pt x="38" y="76"/>
                  </a:cubicBezTo>
                  <a:cubicBezTo>
                    <a:pt x="52" y="125"/>
                    <a:pt x="60" y="187"/>
                    <a:pt x="65" y="237"/>
                  </a:cubicBezTo>
                  <a:cubicBezTo>
                    <a:pt x="67" y="262"/>
                    <a:pt x="69" y="284"/>
                    <a:pt x="70" y="300"/>
                  </a:cubicBezTo>
                  <a:cubicBezTo>
                    <a:pt x="70" y="308"/>
                    <a:pt x="70" y="314"/>
                    <a:pt x="70" y="318"/>
                  </a:cubicBezTo>
                  <a:cubicBezTo>
                    <a:pt x="71" y="323"/>
                    <a:pt x="71" y="325"/>
                    <a:pt x="71" y="325"/>
                  </a:cubicBezTo>
                  <a:cubicBezTo>
                    <a:pt x="75" y="325"/>
                    <a:pt x="75" y="325"/>
                    <a:pt x="75" y="325"/>
                  </a:cubicBezTo>
                  <a:cubicBezTo>
                    <a:pt x="75" y="325"/>
                    <a:pt x="73" y="258"/>
                    <a:pt x="63" y="184"/>
                  </a:cubicBezTo>
                  <a:cubicBezTo>
                    <a:pt x="58" y="147"/>
                    <a:pt x="51" y="108"/>
                    <a:pt x="42" y="75"/>
                  </a:cubicBezTo>
                  <a:cubicBezTo>
                    <a:pt x="32" y="42"/>
                    <a:pt x="19" y="14"/>
                    <a:pt x="3" y="0"/>
                  </a:cubicBezTo>
                  <a:cubicBezTo>
                    <a:pt x="0" y="3"/>
                    <a:pt x="0" y="3"/>
                    <a:pt x="0" y="3"/>
                  </a:cubicBezTo>
                  <a:close/>
                </a:path>
              </a:pathLst>
            </a:custGeom>
            <a:solidFill>
              <a:srgbClr val="0028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2" name="Freeform 219"/>
            <p:cNvSpPr/>
            <p:nvPr userDrawn="1"/>
          </p:nvSpPr>
          <p:spPr bwMode="auto">
            <a:xfrm>
              <a:off x="5890636" y="3655278"/>
              <a:ext cx="631290" cy="822339"/>
            </a:xfrm>
            <a:custGeom>
              <a:avLst/>
              <a:gdLst>
                <a:gd name="T0" fmla="*/ 41 w 243"/>
                <a:gd name="T1" fmla="*/ 31 h 317"/>
                <a:gd name="T2" fmla="*/ 8 w 243"/>
                <a:gd name="T3" fmla="*/ 300 h 317"/>
                <a:gd name="T4" fmla="*/ 231 w 243"/>
                <a:gd name="T5" fmla="*/ 294 h 317"/>
                <a:gd name="T6" fmla="*/ 128 w 243"/>
                <a:gd name="T7" fmla="*/ 14 h 317"/>
                <a:gd name="T8" fmla="*/ 112 w 243"/>
                <a:gd name="T9" fmla="*/ 0 h 317"/>
                <a:gd name="T10" fmla="*/ 71 w 243"/>
                <a:gd name="T11" fmla="*/ 7 h 317"/>
                <a:gd name="T12" fmla="*/ 41 w 243"/>
                <a:gd name="T13" fmla="*/ 31 h 317"/>
              </a:gdLst>
              <a:ahLst/>
              <a:cxnLst>
                <a:cxn ang="0">
                  <a:pos x="T0" y="T1"/>
                </a:cxn>
                <a:cxn ang="0">
                  <a:pos x="T2" y="T3"/>
                </a:cxn>
                <a:cxn ang="0">
                  <a:pos x="T4" y="T5"/>
                </a:cxn>
                <a:cxn ang="0">
                  <a:pos x="T6" y="T7"/>
                </a:cxn>
                <a:cxn ang="0">
                  <a:pos x="T8" y="T9"/>
                </a:cxn>
                <a:cxn ang="0">
                  <a:pos x="T10" y="T11"/>
                </a:cxn>
                <a:cxn ang="0">
                  <a:pos x="T12" y="T13"/>
                </a:cxn>
              </a:cxnLst>
              <a:rect l="0" t="0" r="r" b="b"/>
              <a:pathLst>
                <a:path w="243" h="317">
                  <a:moveTo>
                    <a:pt x="41" y="31"/>
                  </a:moveTo>
                  <a:cubicBezTo>
                    <a:pt x="1" y="130"/>
                    <a:pt x="8" y="300"/>
                    <a:pt x="8" y="300"/>
                  </a:cubicBezTo>
                  <a:cubicBezTo>
                    <a:pt x="0" y="300"/>
                    <a:pt x="119" y="317"/>
                    <a:pt x="231" y="294"/>
                  </a:cubicBezTo>
                  <a:cubicBezTo>
                    <a:pt x="231" y="294"/>
                    <a:pt x="243" y="49"/>
                    <a:pt x="128" y="14"/>
                  </a:cubicBezTo>
                  <a:cubicBezTo>
                    <a:pt x="112" y="0"/>
                    <a:pt x="112" y="0"/>
                    <a:pt x="112" y="0"/>
                  </a:cubicBezTo>
                  <a:cubicBezTo>
                    <a:pt x="71" y="7"/>
                    <a:pt x="71" y="7"/>
                    <a:pt x="71" y="7"/>
                  </a:cubicBezTo>
                  <a:lnTo>
                    <a:pt x="41" y="31"/>
                  </a:lnTo>
                  <a:close/>
                </a:path>
              </a:pathLst>
            </a:cu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3" name="Freeform 223"/>
            <p:cNvSpPr/>
            <p:nvPr userDrawn="1"/>
          </p:nvSpPr>
          <p:spPr bwMode="auto">
            <a:xfrm>
              <a:off x="5918878" y="3806456"/>
              <a:ext cx="54823" cy="259161"/>
            </a:xfrm>
            <a:custGeom>
              <a:avLst/>
              <a:gdLst>
                <a:gd name="T0" fmla="*/ 17 w 21"/>
                <a:gd name="T1" fmla="*/ 0 h 100"/>
                <a:gd name="T2" fmla="*/ 0 w 21"/>
                <a:gd name="T3" fmla="*/ 99 h 100"/>
                <a:gd name="T4" fmla="*/ 4 w 21"/>
                <a:gd name="T5" fmla="*/ 100 h 100"/>
                <a:gd name="T6" fmla="*/ 4 w 21"/>
                <a:gd name="T7" fmla="*/ 97 h 100"/>
                <a:gd name="T8" fmla="*/ 21 w 21"/>
                <a:gd name="T9" fmla="*/ 2 h 100"/>
                <a:gd name="T10" fmla="*/ 17 w 21"/>
                <a:gd name="T11" fmla="*/ 0 h 100"/>
              </a:gdLst>
              <a:ahLst/>
              <a:cxnLst>
                <a:cxn ang="0">
                  <a:pos x="T0" y="T1"/>
                </a:cxn>
                <a:cxn ang="0">
                  <a:pos x="T2" y="T3"/>
                </a:cxn>
                <a:cxn ang="0">
                  <a:pos x="T4" y="T5"/>
                </a:cxn>
                <a:cxn ang="0">
                  <a:pos x="T6" y="T7"/>
                </a:cxn>
                <a:cxn ang="0">
                  <a:pos x="T8" y="T9"/>
                </a:cxn>
                <a:cxn ang="0">
                  <a:pos x="T10" y="T11"/>
                </a:cxn>
              </a:cxnLst>
              <a:rect l="0" t="0" r="r" b="b"/>
              <a:pathLst>
                <a:path w="21" h="100">
                  <a:moveTo>
                    <a:pt x="17" y="0"/>
                  </a:moveTo>
                  <a:cubicBezTo>
                    <a:pt x="2" y="46"/>
                    <a:pt x="0" y="99"/>
                    <a:pt x="0" y="99"/>
                  </a:cubicBezTo>
                  <a:cubicBezTo>
                    <a:pt x="4" y="100"/>
                    <a:pt x="4" y="100"/>
                    <a:pt x="4" y="100"/>
                  </a:cubicBezTo>
                  <a:cubicBezTo>
                    <a:pt x="4" y="100"/>
                    <a:pt x="4" y="99"/>
                    <a:pt x="4" y="97"/>
                  </a:cubicBezTo>
                  <a:cubicBezTo>
                    <a:pt x="5" y="86"/>
                    <a:pt x="8" y="41"/>
                    <a:pt x="21" y="2"/>
                  </a:cubicBezTo>
                  <a:cubicBezTo>
                    <a:pt x="17" y="0"/>
                    <a:pt x="17" y="0"/>
                    <a:pt x="17" y="0"/>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4" name="Freeform 224"/>
            <p:cNvSpPr/>
            <p:nvPr userDrawn="1"/>
          </p:nvSpPr>
          <p:spPr bwMode="auto">
            <a:xfrm>
              <a:off x="6051781" y="3547294"/>
              <a:ext cx="119613" cy="149516"/>
            </a:xfrm>
            <a:custGeom>
              <a:avLst/>
              <a:gdLst>
                <a:gd name="T0" fmla="*/ 39 w 46"/>
                <a:gd name="T1" fmla="*/ 0 h 58"/>
                <a:gd name="T2" fmla="*/ 46 w 46"/>
                <a:gd name="T3" fmla="*/ 42 h 58"/>
                <a:gd name="T4" fmla="*/ 21 w 46"/>
                <a:gd name="T5" fmla="*/ 56 h 58"/>
                <a:gd name="T6" fmla="*/ 5 w 46"/>
                <a:gd name="T7" fmla="*/ 49 h 58"/>
                <a:gd name="T8" fmla="*/ 0 w 46"/>
                <a:gd name="T9" fmla="*/ 10 h 58"/>
                <a:gd name="T10" fmla="*/ 39 w 46"/>
                <a:gd name="T11" fmla="*/ 0 h 58"/>
              </a:gdLst>
              <a:ahLst/>
              <a:cxnLst>
                <a:cxn ang="0">
                  <a:pos x="T0" y="T1"/>
                </a:cxn>
                <a:cxn ang="0">
                  <a:pos x="T2" y="T3"/>
                </a:cxn>
                <a:cxn ang="0">
                  <a:pos x="T4" y="T5"/>
                </a:cxn>
                <a:cxn ang="0">
                  <a:pos x="T6" y="T7"/>
                </a:cxn>
                <a:cxn ang="0">
                  <a:pos x="T8" y="T9"/>
                </a:cxn>
                <a:cxn ang="0">
                  <a:pos x="T10" y="T11"/>
                </a:cxn>
              </a:cxnLst>
              <a:rect l="0" t="0" r="r" b="b"/>
              <a:pathLst>
                <a:path w="46" h="58">
                  <a:moveTo>
                    <a:pt x="39" y="0"/>
                  </a:moveTo>
                  <a:cubicBezTo>
                    <a:pt x="46" y="42"/>
                    <a:pt x="46" y="42"/>
                    <a:pt x="46" y="42"/>
                  </a:cubicBezTo>
                  <a:cubicBezTo>
                    <a:pt x="46" y="42"/>
                    <a:pt x="34" y="53"/>
                    <a:pt x="21" y="56"/>
                  </a:cubicBezTo>
                  <a:cubicBezTo>
                    <a:pt x="8" y="58"/>
                    <a:pt x="5" y="49"/>
                    <a:pt x="5" y="49"/>
                  </a:cubicBezTo>
                  <a:cubicBezTo>
                    <a:pt x="0" y="10"/>
                    <a:pt x="0" y="10"/>
                    <a:pt x="0" y="10"/>
                  </a:cubicBezTo>
                  <a:lnTo>
                    <a:pt x="39" y="0"/>
                  </a:ln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5" name="Freeform 225"/>
            <p:cNvSpPr/>
            <p:nvPr userDrawn="1"/>
          </p:nvSpPr>
          <p:spPr bwMode="auto">
            <a:xfrm>
              <a:off x="5955426" y="3376181"/>
              <a:ext cx="254178" cy="277436"/>
            </a:xfrm>
            <a:custGeom>
              <a:avLst/>
              <a:gdLst>
                <a:gd name="T0" fmla="*/ 27 w 98"/>
                <a:gd name="T1" fmla="*/ 23 h 107"/>
                <a:gd name="T2" fmla="*/ 31 w 98"/>
                <a:gd name="T3" fmla="*/ 97 h 107"/>
                <a:gd name="T4" fmla="*/ 77 w 98"/>
                <a:gd name="T5" fmla="*/ 82 h 107"/>
                <a:gd name="T6" fmla="*/ 91 w 98"/>
                <a:gd name="T7" fmla="*/ 33 h 107"/>
                <a:gd name="T8" fmla="*/ 27 w 98"/>
                <a:gd name="T9" fmla="*/ 23 h 107"/>
              </a:gdLst>
              <a:ahLst/>
              <a:cxnLst>
                <a:cxn ang="0">
                  <a:pos x="T0" y="T1"/>
                </a:cxn>
                <a:cxn ang="0">
                  <a:pos x="T2" y="T3"/>
                </a:cxn>
                <a:cxn ang="0">
                  <a:pos x="T4" y="T5"/>
                </a:cxn>
                <a:cxn ang="0">
                  <a:pos x="T6" y="T7"/>
                </a:cxn>
                <a:cxn ang="0">
                  <a:pos x="T8" y="T9"/>
                </a:cxn>
              </a:cxnLst>
              <a:rect l="0" t="0" r="r" b="b"/>
              <a:pathLst>
                <a:path w="98" h="107">
                  <a:moveTo>
                    <a:pt x="27" y="23"/>
                  </a:moveTo>
                  <a:cubicBezTo>
                    <a:pt x="25" y="30"/>
                    <a:pt x="0" y="71"/>
                    <a:pt x="31" y="97"/>
                  </a:cubicBezTo>
                  <a:cubicBezTo>
                    <a:pt x="43" y="107"/>
                    <a:pt x="68" y="94"/>
                    <a:pt x="77" y="82"/>
                  </a:cubicBezTo>
                  <a:cubicBezTo>
                    <a:pt x="87" y="74"/>
                    <a:pt x="98" y="41"/>
                    <a:pt x="91" y="33"/>
                  </a:cubicBezTo>
                  <a:cubicBezTo>
                    <a:pt x="67" y="0"/>
                    <a:pt x="27" y="23"/>
                    <a:pt x="27" y="23"/>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6" name="Freeform 226"/>
            <p:cNvSpPr/>
            <p:nvPr userDrawn="1"/>
          </p:nvSpPr>
          <p:spPr bwMode="auto">
            <a:xfrm>
              <a:off x="6088329" y="3502439"/>
              <a:ext cx="14952" cy="26581"/>
            </a:xfrm>
            <a:custGeom>
              <a:avLst/>
              <a:gdLst>
                <a:gd name="T0" fmla="*/ 0 w 6"/>
                <a:gd name="T1" fmla="*/ 5 h 10"/>
                <a:gd name="T2" fmla="*/ 4 w 6"/>
                <a:gd name="T3" fmla="*/ 0 h 10"/>
                <a:gd name="T4" fmla="*/ 6 w 6"/>
                <a:gd name="T5" fmla="*/ 5 h 10"/>
                <a:gd name="T6" fmla="*/ 2 w 6"/>
                <a:gd name="T7" fmla="*/ 10 h 10"/>
                <a:gd name="T8" fmla="*/ 0 w 6"/>
                <a:gd name="T9" fmla="*/ 5 h 10"/>
              </a:gdLst>
              <a:ahLst/>
              <a:cxnLst>
                <a:cxn ang="0">
                  <a:pos x="T0" y="T1"/>
                </a:cxn>
                <a:cxn ang="0">
                  <a:pos x="T2" y="T3"/>
                </a:cxn>
                <a:cxn ang="0">
                  <a:pos x="T4" y="T5"/>
                </a:cxn>
                <a:cxn ang="0">
                  <a:pos x="T6" y="T7"/>
                </a:cxn>
                <a:cxn ang="0">
                  <a:pos x="T8" y="T9"/>
                </a:cxn>
              </a:cxnLst>
              <a:rect l="0" t="0" r="r" b="b"/>
              <a:pathLst>
                <a:path w="6" h="10">
                  <a:moveTo>
                    <a:pt x="0" y="5"/>
                  </a:moveTo>
                  <a:cubicBezTo>
                    <a:pt x="1" y="2"/>
                    <a:pt x="2" y="0"/>
                    <a:pt x="4" y="0"/>
                  </a:cubicBezTo>
                  <a:cubicBezTo>
                    <a:pt x="5" y="0"/>
                    <a:pt x="6" y="2"/>
                    <a:pt x="6" y="5"/>
                  </a:cubicBezTo>
                  <a:cubicBezTo>
                    <a:pt x="5" y="8"/>
                    <a:pt x="4" y="10"/>
                    <a:pt x="2" y="10"/>
                  </a:cubicBezTo>
                  <a:cubicBezTo>
                    <a:pt x="1" y="10"/>
                    <a:pt x="0" y="7"/>
                    <a:pt x="0" y="5"/>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7" name="Freeform 227"/>
            <p:cNvSpPr/>
            <p:nvPr userDrawn="1"/>
          </p:nvSpPr>
          <p:spPr bwMode="auto">
            <a:xfrm>
              <a:off x="6023539" y="3492471"/>
              <a:ext cx="11630" cy="23258"/>
            </a:xfrm>
            <a:custGeom>
              <a:avLst/>
              <a:gdLst>
                <a:gd name="T0" fmla="*/ 0 w 5"/>
                <a:gd name="T1" fmla="*/ 4 h 9"/>
                <a:gd name="T2" fmla="*/ 3 w 5"/>
                <a:gd name="T3" fmla="*/ 0 h 9"/>
                <a:gd name="T4" fmla="*/ 5 w 5"/>
                <a:gd name="T5" fmla="*/ 4 h 9"/>
                <a:gd name="T6" fmla="*/ 2 w 5"/>
                <a:gd name="T7" fmla="*/ 8 h 9"/>
                <a:gd name="T8" fmla="*/ 0 w 5"/>
                <a:gd name="T9" fmla="*/ 4 h 9"/>
              </a:gdLst>
              <a:ahLst/>
              <a:cxnLst>
                <a:cxn ang="0">
                  <a:pos x="T0" y="T1"/>
                </a:cxn>
                <a:cxn ang="0">
                  <a:pos x="T2" y="T3"/>
                </a:cxn>
                <a:cxn ang="0">
                  <a:pos x="T4" y="T5"/>
                </a:cxn>
                <a:cxn ang="0">
                  <a:pos x="T6" y="T7"/>
                </a:cxn>
                <a:cxn ang="0">
                  <a:pos x="T8" y="T9"/>
                </a:cxn>
              </a:cxnLst>
              <a:rect l="0" t="0" r="r" b="b"/>
              <a:pathLst>
                <a:path w="5" h="9">
                  <a:moveTo>
                    <a:pt x="0" y="4"/>
                  </a:moveTo>
                  <a:cubicBezTo>
                    <a:pt x="0" y="1"/>
                    <a:pt x="2" y="0"/>
                    <a:pt x="3" y="0"/>
                  </a:cubicBezTo>
                  <a:cubicBezTo>
                    <a:pt x="4" y="0"/>
                    <a:pt x="5" y="2"/>
                    <a:pt x="5" y="4"/>
                  </a:cubicBezTo>
                  <a:cubicBezTo>
                    <a:pt x="4" y="7"/>
                    <a:pt x="3" y="9"/>
                    <a:pt x="2" y="8"/>
                  </a:cubicBezTo>
                  <a:cubicBezTo>
                    <a:pt x="1" y="8"/>
                    <a:pt x="0" y="6"/>
                    <a:pt x="0" y="4"/>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8" name="Freeform 228"/>
            <p:cNvSpPr/>
            <p:nvPr userDrawn="1"/>
          </p:nvSpPr>
          <p:spPr bwMode="auto">
            <a:xfrm>
              <a:off x="6025200" y="3573875"/>
              <a:ext cx="44855" cy="28242"/>
            </a:xfrm>
            <a:custGeom>
              <a:avLst/>
              <a:gdLst>
                <a:gd name="T0" fmla="*/ 0 w 17"/>
                <a:gd name="T1" fmla="*/ 0 h 11"/>
                <a:gd name="T2" fmla="*/ 17 w 17"/>
                <a:gd name="T3" fmla="*/ 2 h 11"/>
                <a:gd name="T4" fmla="*/ 6 w 17"/>
                <a:gd name="T5" fmla="*/ 10 h 11"/>
                <a:gd name="T6" fmla="*/ 0 w 17"/>
                <a:gd name="T7" fmla="*/ 0 h 11"/>
              </a:gdLst>
              <a:ahLst/>
              <a:cxnLst>
                <a:cxn ang="0">
                  <a:pos x="T0" y="T1"/>
                </a:cxn>
                <a:cxn ang="0">
                  <a:pos x="T2" y="T3"/>
                </a:cxn>
                <a:cxn ang="0">
                  <a:pos x="T4" y="T5"/>
                </a:cxn>
                <a:cxn ang="0">
                  <a:pos x="T6" y="T7"/>
                </a:cxn>
              </a:cxnLst>
              <a:rect l="0" t="0" r="r" b="b"/>
              <a:pathLst>
                <a:path w="17" h="11">
                  <a:moveTo>
                    <a:pt x="0" y="0"/>
                  </a:moveTo>
                  <a:cubicBezTo>
                    <a:pt x="17" y="2"/>
                    <a:pt x="17" y="2"/>
                    <a:pt x="17" y="2"/>
                  </a:cubicBezTo>
                  <a:cubicBezTo>
                    <a:pt x="17" y="2"/>
                    <a:pt x="14" y="11"/>
                    <a:pt x="6" y="10"/>
                  </a:cubicBezTo>
                  <a:cubicBezTo>
                    <a:pt x="0" y="1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9" name="Freeform 229"/>
            <p:cNvSpPr/>
            <p:nvPr userDrawn="1"/>
          </p:nvSpPr>
          <p:spPr bwMode="auto">
            <a:xfrm>
              <a:off x="6028523" y="3515729"/>
              <a:ext cx="28242" cy="44855"/>
            </a:xfrm>
            <a:custGeom>
              <a:avLst/>
              <a:gdLst>
                <a:gd name="T0" fmla="*/ 6 w 11"/>
                <a:gd name="T1" fmla="*/ 0 h 17"/>
                <a:gd name="T2" fmla="*/ 2 w 11"/>
                <a:gd name="T3" fmla="*/ 8 h 17"/>
                <a:gd name="T4" fmla="*/ 0 w 11"/>
                <a:gd name="T5" fmla="*/ 13 h 17"/>
                <a:gd name="T6" fmla="*/ 0 w 11"/>
                <a:gd name="T7" fmla="*/ 14 h 17"/>
                <a:gd name="T8" fmla="*/ 0 w 11"/>
                <a:gd name="T9" fmla="*/ 14 h 17"/>
                <a:gd name="T10" fmla="*/ 1 w 11"/>
                <a:gd name="T11" fmla="*/ 15 h 17"/>
                <a:gd name="T12" fmla="*/ 3 w 11"/>
                <a:gd name="T13" fmla="*/ 16 h 17"/>
                <a:gd name="T14" fmla="*/ 10 w 11"/>
                <a:gd name="T15" fmla="*/ 17 h 17"/>
                <a:gd name="T16" fmla="*/ 11 w 11"/>
                <a:gd name="T17" fmla="*/ 17 h 17"/>
                <a:gd name="T18" fmla="*/ 11 w 11"/>
                <a:gd name="T19" fmla="*/ 14 h 17"/>
                <a:gd name="T20" fmla="*/ 10 w 11"/>
                <a:gd name="T21" fmla="*/ 14 h 17"/>
                <a:gd name="T22" fmla="*/ 5 w 11"/>
                <a:gd name="T23" fmla="*/ 14 h 17"/>
                <a:gd name="T24" fmla="*/ 3 w 11"/>
                <a:gd name="T25" fmla="*/ 13 h 17"/>
                <a:gd name="T26" fmla="*/ 3 w 11"/>
                <a:gd name="T27" fmla="*/ 13 h 17"/>
                <a:gd name="T28" fmla="*/ 3 w 11"/>
                <a:gd name="T29" fmla="*/ 13 h 17"/>
                <a:gd name="T30" fmla="*/ 3 w 11"/>
                <a:gd name="T31" fmla="*/ 13 h 17"/>
                <a:gd name="T32" fmla="*/ 3 w 11"/>
                <a:gd name="T33" fmla="*/ 13 h 17"/>
                <a:gd name="T34" fmla="*/ 3 w 11"/>
                <a:gd name="T35" fmla="*/ 13 h 17"/>
                <a:gd name="T36" fmla="*/ 3 w 11"/>
                <a:gd name="T37" fmla="*/ 13 h 17"/>
                <a:gd name="T38" fmla="*/ 3 w 11"/>
                <a:gd name="T39" fmla="*/ 14 h 17"/>
                <a:gd name="T40" fmla="*/ 3 w 11"/>
                <a:gd name="T41" fmla="*/ 13 h 17"/>
                <a:gd name="T42" fmla="*/ 3 w 11"/>
                <a:gd name="T43" fmla="*/ 13 h 17"/>
                <a:gd name="T44" fmla="*/ 3 w 11"/>
                <a:gd name="T45" fmla="*/ 14 h 17"/>
                <a:gd name="T46" fmla="*/ 3 w 11"/>
                <a:gd name="T47" fmla="*/ 13 h 17"/>
                <a:gd name="T48" fmla="*/ 3 w 11"/>
                <a:gd name="T49" fmla="*/ 13 h 17"/>
                <a:gd name="T50" fmla="*/ 3 w 11"/>
                <a:gd name="T51" fmla="*/ 13 h 17"/>
                <a:gd name="T52" fmla="*/ 3 w 11"/>
                <a:gd name="T53" fmla="*/ 13 h 17"/>
                <a:gd name="T54" fmla="*/ 4 w 11"/>
                <a:gd name="T55" fmla="*/ 9 h 17"/>
                <a:gd name="T56" fmla="*/ 9 w 11"/>
                <a:gd name="T57" fmla="*/ 1 h 17"/>
                <a:gd name="T58" fmla="*/ 7 w 11"/>
                <a:gd name="T59" fmla="*/ 0 h 17"/>
                <a:gd name="T60" fmla="*/ 6 w 11"/>
                <a:gd name="T6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17">
                  <a:moveTo>
                    <a:pt x="6" y="0"/>
                  </a:moveTo>
                  <a:cubicBezTo>
                    <a:pt x="4" y="3"/>
                    <a:pt x="3" y="6"/>
                    <a:pt x="2" y="8"/>
                  </a:cubicBezTo>
                  <a:cubicBezTo>
                    <a:pt x="1" y="10"/>
                    <a:pt x="0" y="12"/>
                    <a:pt x="0" y="13"/>
                  </a:cubicBezTo>
                  <a:cubicBezTo>
                    <a:pt x="0" y="14"/>
                    <a:pt x="0" y="14"/>
                    <a:pt x="0" y="14"/>
                  </a:cubicBezTo>
                  <a:cubicBezTo>
                    <a:pt x="0" y="14"/>
                    <a:pt x="0" y="14"/>
                    <a:pt x="0" y="14"/>
                  </a:cubicBezTo>
                  <a:cubicBezTo>
                    <a:pt x="0" y="14"/>
                    <a:pt x="1" y="15"/>
                    <a:pt x="1" y="15"/>
                  </a:cubicBezTo>
                  <a:cubicBezTo>
                    <a:pt x="2" y="16"/>
                    <a:pt x="2" y="16"/>
                    <a:pt x="3" y="16"/>
                  </a:cubicBezTo>
                  <a:cubicBezTo>
                    <a:pt x="6" y="17"/>
                    <a:pt x="9" y="17"/>
                    <a:pt x="10" y="17"/>
                  </a:cubicBezTo>
                  <a:cubicBezTo>
                    <a:pt x="10" y="17"/>
                    <a:pt x="11" y="17"/>
                    <a:pt x="11" y="17"/>
                  </a:cubicBezTo>
                  <a:cubicBezTo>
                    <a:pt x="11" y="14"/>
                    <a:pt x="11" y="14"/>
                    <a:pt x="11" y="14"/>
                  </a:cubicBezTo>
                  <a:cubicBezTo>
                    <a:pt x="10" y="14"/>
                    <a:pt x="10" y="14"/>
                    <a:pt x="10" y="14"/>
                  </a:cubicBezTo>
                  <a:cubicBezTo>
                    <a:pt x="9" y="14"/>
                    <a:pt x="7" y="14"/>
                    <a:pt x="5" y="14"/>
                  </a:cubicBezTo>
                  <a:cubicBezTo>
                    <a:pt x="5" y="14"/>
                    <a:pt x="4"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4"/>
                    <a:pt x="3" y="14"/>
                    <a:pt x="3" y="14"/>
                  </a:cubicBezTo>
                  <a:cubicBezTo>
                    <a:pt x="3" y="13"/>
                    <a:pt x="3" y="13"/>
                    <a:pt x="3" y="13"/>
                  </a:cubicBezTo>
                  <a:cubicBezTo>
                    <a:pt x="3" y="13"/>
                    <a:pt x="3" y="13"/>
                    <a:pt x="3" y="13"/>
                  </a:cubicBezTo>
                  <a:cubicBezTo>
                    <a:pt x="3" y="14"/>
                    <a:pt x="3" y="14"/>
                    <a:pt x="3" y="14"/>
                  </a:cubicBezTo>
                  <a:cubicBezTo>
                    <a:pt x="3" y="13"/>
                    <a:pt x="3" y="13"/>
                    <a:pt x="3" y="13"/>
                  </a:cubicBezTo>
                  <a:cubicBezTo>
                    <a:pt x="3" y="13"/>
                    <a:pt x="3" y="13"/>
                    <a:pt x="3" y="13"/>
                  </a:cubicBezTo>
                  <a:cubicBezTo>
                    <a:pt x="3" y="13"/>
                    <a:pt x="3" y="13"/>
                    <a:pt x="3" y="13"/>
                  </a:cubicBezTo>
                  <a:cubicBezTo>
                    <a:pt x="3" y="13"/>
                    <a:pt x="3" y="13"/>
                    <a:pt x="3" y="13"/>
                  </a:cubicBezTo>
                  <a:cubicBezTo>
                    <a:pt x="3" y="12"/>
                    <a:pt x="4" y="11"/>
                    <a:pt x="4" y="9"/>
                  </a:cubicBezTo>
                  <a:cubicBezTo>
                    <a:pt x="5" y="7"/>
                    <a:pt x="7" y="5"/>
                    <a:pt x="9" y="1"/>
                  </a:cubicBezTo>
                  <a:cubicBezTo>
                    <a:pt x="7" y="0"/>
                    <a:pt x="7" y="0"/>
                    <a:pt x="7" y="0"/>
                  </a:cubicBezTo>
                  <a:lnTo>
                    <a:pt x="6" y="0"/>
                  </a:lnTo>
                  <a:close/>
                </a:path>
              </a:pathLst>
            </a:custGeom>
            <a:solidFill>
              <a:srgbClr val="EA99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0" name="Freeform 230"/>
            <p:cNvSpPr/>
            <p:nvPr userDrawn="1"/>
          </p:nvSpPr>
          <p:spPr bwMode="auto">
            <a:xfrm>
              <a:off x="6020217" y="3467553"/>
              <a:ext cx="36548" cy="19935"/>
            </a:xfrm>
            <a:custGeom>
              <a:avLst/>
              <a:gdLst>
                <a:gd name="T0" fmla="*/ 12 w 14"/>
                <a:gd name="T1" fmla="*/ 8 h 8"/>
                <a:gd name="T2" fmla="*/ 11 w 14"/>
                <a:gd name="T3" fmla="*/ 8 h 8"/>
                <a:gd name="T4" fmla="*/ 2 w 14"/>
                <a:gd name="T5" fmla="*/ 5 h 8"/>
                <a:gd name="T6" fmla="*/ 0 w 14"/>
                <a:gd name="T7" fmla="*/ 4 h 8"/>
                <a:gd name="T8" fmla="*/ 1 w 14"/>
                <a:gd name="T9" fmla="*/ 3 h 8"/>
                <a:gd name="T10" fmla="*/ 13 w 14"/>
                <a:gd name="T11" fmla="*/ 6 h 8"/>
                <a:gd name="T12" fmla="*/ 13 w 14"/>
                <a:gd name="T13" fmla="*/ 8 h 8"/>
                <a:gd name="T14" fmla="*/ 12 w 14"/>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8">
                  <a:moveTo>
                    <a:pt x="12" y="8"/>
                  </a:moveTo>
                  <a:cubicBezTo>
                    <a:pt x="12" y="8"/>
                    <a:pt x="11" y="8"/>
                    <a:pt x="11" y="8"/>
                  </a:cubicBezTo>
                  <a:cubicBezTo>
                    <a:pt x="7" y="4"/>
                    <a:pt x="2" y="5"/>
                    <a:pt x="2" y="5"/>
                  </a:cubicBezTo>
                  <a:cubicBezTo>
                    <a:pt x="1" y="6"/>
                    <a:pt x="0" y="5"/>
                    <a:pt x="0" y="4"/>
                  </a:cubicBezTo>
                  <a:cubicBezTo>
                    <a:pt x="0" y="4"/>
                    <a:pt x="0" y="3"/>
                    <a:pt x="1" y="3"/>
                  </a:cubicBezTo>
                  <a:cubicBezTo>
                    <a:pt x="1" y="2"/>
                    <a:pt x="8" y="0"/>
                    <a:pt x="13" y="6"/>
                  </a:cubicBezTo>
                  <a:cubicBezTo>
                    <a:pt x="14" y="7"/>
                    <a:pt x="14" y="8"/>
                    <a:pt x="13" y="8"/>
                  </a:cubicBezTo>
                  <a:lnTo>
                    <a:pt x="12" y="8"/>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1" name="Freeform 231"/>
            <p:cNvSpPr/>
            <p:nvPr userDrawn="1"/>
          </p:nvSpPr>
          <p:spPr bwMode="auto">
            <a:xfrm>
              <a:off x="6076701" y="3472536"/>
              <a:ext cx="49839" cy="29903"/>
            </a:xfrm>
            <a:custGeom>
              <a:avLst/>
              <a:gdLst>
                <a:gd name="T0" fmla="*/ 17 w 19"/>
                <a:gd name="T1" fmla="*/ 12 h 12"/>
                <a:gd name="T2" fmla="*/ 16 w 19"/>
                <a:gd name="T3" fmla="*/ 12 h 12"/>
                <a:gd name="T4" fmla="*/ 3 w 19"/>
                <a:gd name="T5" fmla="*/ 8 h 12"/>
                <a:gd name="T6" fmla="*/ 1 w 19"/>
                <a:gd name="T7" fmla="*/ 7 h 12"/>
                <a:gd name="T8" fmla="*/ 1 w 19"/>
                <a:gd name="T9" fmla="*/ 5 h 12"/>
                <a:gd name="T10" fmla="*/ 19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6" y="12"/>
                    <a:pt x="16" y="12"/>
                  </a:cubicBezTo>
                  <a:cubicBezTo>
                    <a:pt x="16" y="11"/>
                    <a:pt x="11" y="3"/>
                    <a:pt x="3" y="8"/>
                  </a:cubicBezTo>
                  <a:cubicBezTo>
                    <a:pt x="2" y="8"/>
                    <a:pt x="1" y="8"/>
                    <a:pt x="1" y="7"/>
                  </a:cubicBezTo>
                  <a:cubicBezTo>
                    <a:pt x="0" y="7"/>
                    <a:pt x="1" y="6"/>
                    <a:pt x="1" y="5"/>
                  </a:cubicBezTo>
                  <a:cubicBezTo>
                    <a:pt x="10" y="0"/>
                    <a:pt x="16" y="6"/>
                    <a:pt x="19" y="10"/>
                  </a:cubicBezTo>
                  <a:cubicBezTo>
                    <a:pt x="19" y="11"/>
                    <a:pt x="19" y="12"/>
                    <a:pt x="18" y="12"/>
                  </a:cubicBezTo>
                  <a:lnTo>
                    <a:pt x="17" y="12"/>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2" name="Freeform 232"/>
            <p:cNvSpPr/>
            <p:nvPr userDrawn="1"/>
          </p:nvSpPr>
          <p:spPr bwMode="auto">
            <a:xfrm>
              <a:off x="5978684" y="3344617"/>
              <a:ext cx="285742" cy="212645"/>
            </a:xfrm>
            <a:custGeom>
              <a:avLst/>
              <a:gdLst>
                <a:gd name="T0" fmla="*/ 20 w 110"/>
                <a:gd name="T1" fmla="*/ 47 h 82"/>
                <a:gd name="T2" fmla="*/ 56 w 110"/>
                <a:gd name="T3" fmla="*/ 46 h 82"/>
                <a:gd name="T4" fmla="*/ 66 w 110"/>
                <a:gd name="T5" fmla="*/ 69 h 82"/>
                <a:gd name="T6" fmla="*/ 74 w 110"/>
                <a:gd name="T7" fmla="*/ 70 h 82"/>
                <a:gd name="T8" fmla="*/ 82 w 110"/>
                <a:gd name="T9" fmla="*/ 81 h 82"/>
                <a:gd name="T10" fmla="*/ 98 w 110"/>
                <a:gd name="T11" fmla="*/ 71 h 82"/>
                <a:gd name="T12" fmla="*/ 109 w 110"/>
                <a:gd name="T13" fmla="*/ 50 h 82"/>
                <a:gd name="T14" fmla="*/ 87 w 110"/>
                <a:gd name="T15" fmla="*/ 19 h 82"/>
                <a:gd name="T16" fmla="*/ 55 w 110"/>
                <a:gd name="T17" fmla="*/ 1 h 82"/>
                <a:gd name="T18" fmla="*/ 0 w 110"/>
                <a:gd name="T19" fmla="*/ 25 h 82"/>
                <a:gd name="T20" fmla="*/ 1 w 110"/>
                <a:gd name="T21" fmla="*/ 30 h 82"/>
                <a:gd name="T22" fmla="*/ 4 w 110"/>
                <a:gd name="T23" fmla="*/ 36 h 82"/>
                <a:gd name="T24" fmla="*/ 12 w 110"/>
                <a:gd name="T25" fmla="*/ 44 h 82"/>
                <a:gd name="T26" fmla="*/ 20 w 110"/>
                <a:gd name="T27"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 h="82">
                  <a:moveTo>
                    <a:pt x="20" y="47"/>
                  </a:moveTo>
                  <a:cubicBezTo>
                    <a:pt x="31" y="51"/>
                    <a:pt x="44" y="50"/>
                    <a:pt x="56" y="46"/>
                  </a:cubicBezTo>
                  <a:cubicBezTo>
                    <a:pt x="56" y="54"/>
                    <a:pt x="60" y="64"/>
                    <a:pt x="66" y="69"/>
                  </a:cubicBezTo>
                  <a:cubicBezTo>
                    <a:pt x="68" y="71"/>
                    <a:pt x="71" y="70"/>
                    <a:pt x="74" y="70"/>
                  </a:cubicBezTo>
                  <a:cubicBezTo>
                    <a:pt x="77" y="70"/>
                    <a:pt x="80" y="82"/>
                    <a:pt x="82" y="81"/>
                  </a:cubicBezTo>
                  <a:cubicBezTo>
                    <a:pt x="87" y="76"/>
                    <a:pt x="92" y="74"/>
                    <a:pt x="98" y="71"/>
                  </a:cubicBezTo>
                  <a:cubicBezTo>
                    <a:pt x="103" y="67"/>
                    <a:pt x="110" y="57"/>
                    <a:pt x="109" y="50"/>
                  </a:cubicBezTo>
                  <a:cubicBezTo>
                    <a:pt x="107" y="37"/>
                    <a:pt x="98" y="23"/>
                    <a:pt x="87" y="19"/>
                  </a:cubicBezTo>
                  <a:cubicBezTo>
                    <a:pt x="85" y="6"/>
                    <a:pt x="63" y="1"/>
                    <a:pt x="55" y="1"/>
                  </a:cubicBezTo>
                  <a:cubicBezTo>
                    <a:pt x="34" y="0"/>
                    <a:pt x="15" y="10"/>
                    <a:pt x="0" y="25"/>
                  </a:cubicBezTo>
                  <a:cubicBezTo>
                    <a:pt x="0" y="27"/>
                    <a:pt x="1" y="28"/>
                    <a:pt x="1" y="30"/>
                  </a:cubicBezTo>
                  <a:cubicBezTo>
                    <a:pt x="2" y="32"/>
                    <a:pt x="3" y="34"/>
                    <a:pt x="4" y="36"/>
                  </a:cubicBezTo>
                  <a:cubicBezTo>
                    <a:pt x="6" y="39"/>
                    <a:pt x="9" y="42"/>
                    <a:pt x="12" y="44"/>
                  </a:cubicBezTo>
                  <a:cubicBezTo>
                    <a:pt x="14" y="45"/>
                    <a:pt x="17" y="46"/>
                    <a:pt x="20" y="47"/>
                  </a:cubicBez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3" name="Freeform 233"/>
            <p:cNvSpPr/>
            <p:nvPr userDrawn="1"/>
          </p:nvSpPr>
          <p:spPr bwMode="auto">
            <a:xfrm>
              <a:off x="6139830" y="3510746"/>
              <a:ext cx="54823" cy="79742"/>
            </a:xfrm>
            <a:custGeom>
              <a:avLst/>
              <a:gdLst>
                <a:gd name="T0" fmla="*/ 3 w 21"/>
                <a:gd name="T1" fmla="*/ 8 h 31"/>
                <a:gd name="T2" fmla="*/ 17 w 21"/>
                <a:gd name="T3" fmla="*/ 4 h 31"/>
                <a:gd name="T4" fmla="*/ 13 w 21"/>
                <a:gd name="T5" fmla="*/ 25 h 31"/>
                <a:gd name="T6" fmla="*/ 0 w 21"/>
                <a:gd name="T7" fmla="*/ 25 h 31"/>
                <a:gd name="T8" fmla="*/ 3 w 21"/>
                <a:gd name="T9" fmla="*/ 8 h 31"/>
              </a:gdLst>
              <a:ahLst/>
              <a:cxnLst>
                <a:cxn ang="0">
                  <a:pos x="T0" y="T1"/>
                </a:cxn>
                <a:cxn ang="0">
                  <a:pos x="T2" y="T3"/>
                </a:cxn>
                <a:cxn ang="0">
                  <a:pos x="T4" y="T5"/>
                </a:cxn>
                <a:cxn ang="0">
                  <a:pos x="T6" y="T7"/>
                </a:cxn>
                <a:cxn ang="0">
                  <a:pos x="T8" y="T9"/>
                </a:cxn>
              </a:cxnLst>
              <a:rect l="0" t="0" r="r" b="b"/>
              <a:pathLst>
                <a:path w="21" h="31">
                  <a:moveTo>
                    <a:pt x="3" y="8"/>
                  </a:moveTo>
                  <a:cubicBezTo>
                    <a:pt x="4" y="1"/>
                    <a:pt x="14" y="0"/>
                    <a:pt x="17" y="4"/>
                  </a:cubicBezTo>
                  <a:cubicBezTo>
                    <a:pt x="21" y="10"/>
                    <a:pt x="19" y="20"/>
                    <a:pt x="13" y="25"/>
                  </a:cubicBezTo>
                  <a:cubicBezTo>
                    <a:pt x="7" y="31"/>
                    <a:pt x="2" y="30"/>
                    <a:pt x="0" y="25"/>
                  </a:cubicBezTo>
                  <a:cubicBezTo>
                    <a:pt x="0" y="25"/>
                    <a:pt x="2" y="15"/>
                    <a:pt x="3" y="8"/>
                  </a:cubicBezTo>
                  <a:close/>
                </a:path>
              </a:pathLst>
            </a:custGeom>
            <a:solidFill>
              <a:srgbClr val="F9D1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4" name="Freeform 234"/>
            <p:cNvSpPr/>
            <p:nvPr userDrawn="1"/>
          </p:nvSpPr>
          <p:spPr bwMode="auto">
            <a:xfrm>
              <a:off x="6071716" y="3602117"/>
              <a:ext cx="73097" cy="38210"/>
            </a:xfrm>
            <a:custGeom>
              <a:avLst/>
              <a:gdLst>
                <a:gd name="T0" fmla="*/ 0 w 28"/>
                <a:gd name="T1" fmla="*/ 15 h 15"/>
                <a:gd name="T2" fmla="*/ 28 w 28"/>
                <a:gd name="T3" fmla="*/ 2 h 15"/>
                <a:gd name="T4" fmla="*/ 26 w 28"/>
                <a:gd name="T5" fmla="*/ 0 h 15"/>
                <a:gd name="T6" fmla="*/ 9 w 28"/>
                <a:gd name="T7" fmla="*/ 10 h 15"/>
                <a:gd name="T8" fmla="*/ 2 w 28"/>
                <a:gd name="T9" fmla="*/ 12 h 15"/>
                <a:gd name="T10" fmla="*/ 0 w 28"/>
                <a:gd name="T11" fmla="*/ 12 h 15"/>
                <a:gd name="T12" fmla="*/ 0 w 28"/>
                <a:gd name="T13" fmla="*/ 12 h 15"/>
                <a:gd name="T14" fmla="*/ 0 w 28"/>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5">
                  <a:moveTo>
                    <a:pt x="0" y="15"/>
                  </a:moveTo>
                  <a:cubicBezTo>
                    <a:pt x="0" y="15"/>
                    <a:pt x="16" y="14"/>
                    <a:pt x="28" y="2"/>
                  </a:cubicBezTo>
                  <a:cubicBezTo>
                    <a:pt x="26" y="0"/>
                    <a:pt x="26" y="0"/>
                    <a:pt x="26" y="0"/>
                  </a:cubicBezTo>
                  <a:cubicBezTo>
                    <a:pt x="21" y="6"/>
                    <a:pt x="14" y="9"/>
                    <a:pt x="9" y="10"/>
                  </a:cubicBezTo>
                  <a:cubicBezTo>
                    <a:pt x="6" y="11"/>
                    <a:pt x="4" y="12"/>
                    <a:pt x="2" y="12"/>
                  </a:cubicBezTo>
                  <a:cubicBezTo>
                    <a:pt x="1" y="12"/>
                    <a:pt x="1" y="12"/>
                    <a:pt x="0" y="12"/>
                  </a:cubicBezTo>
                  <a:cubicBezTo>
                    <a:pt x="0" y="12"/>
                    <a:pt x="0" y="12"/>
                    <a:pt x="0" y="12"/>
                  </a:cubicBezTo>
                  <a:cubicBezTo>
                    <a:pt x="0" y="15"/>
                    <a:pt x="0" y="15"/>
                    <a:pt x="0" y="15"/>
                  </a:cubicBezTo>
                  <a:close/>
                </a:path>
              </a:pathLst>
            </a:custGeom>
            <a:solidFill>
              <a:srgbClr val="EA99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5" name="Freeform 237"/>
            <p:cNvSpPr/>
            <p:nvPr userDrawn="1"/>
          </p:nvSpPr>
          <p:spPr bwMode="auto">
            <a:xfrm>
              <a:off x="6038491" y="3653617"/>
              <a:ext cx="166129" cy="68113"/>
            </a:xfrm>
            <a:custGeom>
              <a:avLst/>
              <a:gdLst>
                <a:gd name="T0" fmla="*/ 0 w 64"/>
                <a:gd name="T1" fmla="*/ 9 h 26"/>
                <a:gd name="T2" fmla="*/ 5 w 64"/>
                <a:gd name="T3" fmla="*/ 17 h 26"/>
                <a:gd name="T4" fmla="*/ 25 w 64"/>
                <a:gd name="T5" fmla="*/ 26 h 26"/>
                <a:gd name="T6" fmla="*/ 26 w 64"/>
                <a:gd name="T7" fmla="*/ 26 h 26"/>
                <a:gd name="T8" fmla="*/ 55 w 64"/>
                <a:gd name="T9" fmla="*/ 14 h 26"/>
                <a:gd name="T10" fmla="*/ 64 w 64"/>
                <a:gd name="T11" fmla="*/ 1 h 26"/>
                <a:gd name="T12" fmla="*/ 61 w 64"/>
                <a:gd name="T13" fmla="*/ 0 h 26"/>
                <a:gd name="T14" fmla="*/ 61 w 64"/>
                <a:gd name="T15" fmla="*/ 0 h 26"/>
                <a:gd name="T16" fmla="*/ 51 w 64"/>
                <a:gd name="T17" fmla="*/ 12 h 26"/>
                <a:gd name="T18" fmla="*/ 26 w 64"/>
                <a:gd name="T19" fmla="*/ 22 h 26"/>
                <a:gd name="T20" fmla="*/ 25 w 64"/>
                <a:gd name="T21" fmla="*/ 22 h 26"/>
                <a:gd name="T22" fmla="*/ 8 w 64"/>
                <a:gd name="T23" fmla="*/ 15 h 26"/>
                <a:gd name="T24" fmla="*/ 5 w 64"/>
                <a:gd name="T25" fmla="*/ 10 h 26"/>
                <a:gd name="T26" fmla="*/ 4 w 64"/>
                <a:gd name="T27" fmla="*/ 8 h 26"/>
                <a:gd name="T28" fmla="*/ 4 w 64"/>
                <a:gd name="T29" fmla="*/ 8 h 26"/>
                <a:gd name="T30" fmla="*/ 4 w 64"/>
                <a:gd name="T31" fmla="*/ 8 h 26"/>
                <a:gd name="T32" fmla="*/ 4 w 64"/>
                <a:gd name="T33" fmla="*/ 8 h 26"/>
                <a:gd name="T34" fmla="*/ 0 w 64"/>
                <a:gd name="T35"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26">
                  <a:moveTo>
                    <a:pt x="0" y="9"/>
                  </a:moveTo>
                  <a:cubicBezTo>
                    <a:pt x="0" y="9"/>
                    <a:pt x="1" y="13"/>
                    <a:pt x="5" y="17"/>
                  </a:cubicBezTo>
                  <a:cubicBezTo>
                    <a:pt x="9" y="21"/>
                    <a:pt x="15" y="25"/>
                    <a:pt x="25" y="26"/>
                  </a:cubicBezTo>
                  <a:cubicBezTo>
                    <a:pt x="26" y="26"/>
                    <a:pt x="26" y="26"/>
                    <a:pt x="26" y="26"/>
                  </a:cubicBezTo>
                  <a:cubicBezTo>
                    <a:pt x="39" y="26"/>
                    <a:pt x="48" y="20"/>
                    <a:pt x="55" y="14"/>
                  </a:cubicBezTo>
                  <a:cubicBezTo>
                    <a:pt x="61" y="8"/>
                    <a:pt x="64" y="2"/>
                    <a:pt x="64" y="1"/>
                  </a:cubicBezTo>
                  <a:cubicBezTo>
                    <a:pt x="61" y="0"/>
                    <a:pt x="61" y="0"/>
                    <a:pt x="61" y="0"/>
                  </a:cubicBezTo>
                  <a:cubicBezTo>
                    <a:pt x="61" y="0"/>
                    <a:pt x="61" y="0"/>
                    <a:pt x="61" y="0"/>
                  </a:cubicBezTo>
                  <a:cubicBezTo>
                    <a:pt x="60" y="1"/>
                    <a:pt x="57" y="7"/>
                    <a:pt x="51" y="12"/>
                  </a:cubicBezTo>
                  <a:cubicBezTo>
                    <a:pt x="45" y="17"/>
                    <a:pt x="37" y="22"/>
                    <a:pt x="26" y="22"/>
                  </a:cubicBezTo>
                  <a:cubicBezTo>
                    <a:pt x="25" y="22"/>
                    <a:pt x="25" y="22"/>
                    <a:pt x="25" y="22"/>
                  </a:cubicBezTo>
                  <a:cubicBezTo>
                    <a:pt x="16" y="21"/>
                    <a:pt x="11" y="18"/>
                    <a:pt x="8" y="15"/>
                  </a:cubicBezTo>
                  <a:cubicBezTo>
                    <a:pt x="7" y="13"/>
                    <a:pt x="6" y="11"/>
                    <a:pt x="5" y="10"/>
                  </a:cubicBezTo>
                  <a:cubicBezTo>
                    <a:pt x="5" y="9"/>
                    <a:pt x="4" y="9"/>
                    <a:pt x="4" y="8"/>
                  </a:cubicBezTo>
                  <a:cubicBezTo>
                    <a:pt x="4" y="8"/>
                    <a:pt x="4" y="8"/>
                    <a:pt x="4" y="8"/>
                  </a:cubicBezTo>
                  <a:cubicBezTo>
                    <a:pt x="4" y="8"/>
                    <a:pt x="4" y="8"/>
                    <a:pt x="4" y="8"/>
                  </a:cubicBezTo>
                  <a:cubicBezTo>
                    <a:pt x="4" y="8"/>
                    <a:pt x="4" y="8"/>
                    <a:pt x="4" y="8"/>
                  </a:cubicBezTo>
                  <a:cubicBezTo>
                    <a:pt x="0" y="9"/>
                    <a:pt x="0" y="9"/>
                    <a:pt x="0" y="9"/>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6" name="Freeform 220"/>
            <p:cNvSpPr/>
            <p:nvPr userDrawn="1"/>
          </p:nvSpPr>
          <p:spPr bwMode="auto">
            <a:xfrm>
              <a:off x="5692942" y="3635342"/>
              <a:ext cx="927000" cy="865533"/>
            </a:xfrm>
            <a:custGeom>
              <a:avLst/>
              <a:gdLst>
                <a:gd name="T0" fmla="*/ 188 w 357"/>
                <a:gd name="T1" fmla="*/ 8 h 334"/>
                <a:gd name="T2" fmla="*/ 302 w 357"/>
                <a:gd name="T3" fmla="*/ 224 h 334"/>
                <a:gd name="T4" fmla="*/ 0 w 357"/>
                <a:gd name="T5" fmla="*/ 325 h 334"/>
                <a:gd name="T6" fmla="*/ 0 w 357"/>
                <a:gd name="T7" fmla="*/ 239 h 334"/>
                <a:gd name="T8" fmla="*/ 204 w 357"/>
                <a:gd name="T9" fmla="*/ 116 h 334"/>
              </a:gdLst>
              <a:ahLst/>
              <a:cxnLst>
                <a:cxn ang="0">
                  <a:pos x="T0" y="T1"/>
                </a:cxn>
                <a:cxn ang="0">
                  <a:pos x="T2" y="T3"/>
                </a:cxn>
                <a:cxn ang="0">
                  <a:pos x="T4" y="T5"/>
                </a:cxn>
                <a:cxn ang="0">
                  <a:pos x="T6" y="T7"/>
                </a:cxn>
                <a:cxn ang="0">
                  <a:pos x="T8" y="T9"/>
                </a:cxn>
              </a:cxnLst>
              <a:rect l="0" t="0" r="r" b="b"/>
              <a:pathLst>
                <a:path w="357" h="334">
                  <a:moveTo>
                    <a:pt x="188" y="8"/>
                  </a:moveTo>
                  <a:cubicBezTo>
                    <a:pt x="267" y="0"/>
                    <a:pt x="357" y="102"/>
                    <a:pt x="302" y="224"/>
                  </a:cubicBezTo>
                  <a:cubicBezTo>
                    <a:pt x="253" y="334"/>
                    <a:pt x="0" y="325"/>
                    <a:pt x="0" y="325"/>
                  </a:cubicBezTo>
                  <a:cubicBezTo>
                    <a:pt x="0" y="239"/>
                    <a:pt x="0" y="239"/>
                    <a:pt x="0" y="239"/>
                  </a:cubicBezTo>
                  <a:cubicBezTo>
                    <a:pt x="0" y="239"/>
                    <a:pt x="204" y="241"/>
                    <a:pt x="204" y="116"/>
                  </a:cubicBezTo>
                </a:path>
              </a:pathLst>
            </a:custGeom>
            <a:solidFill>
              <a:srgbClr val="FF53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7" name="Freeform 221"/>
            <p:cNvSpPr/>
            <p:nvPr userDrawn="1"/>
          </p:nvSpPr>
          <p:spPr bwMode="auto">
            <a:xfrm>
              <a:off x="5917217" y="3936036"/>
              <a:ext cx="313984" cy="290726"/>
            </a:xfrm>
            <a:custGeom>
              <a:avLst/>
              <a:gdLst>
                <a:gd name="T0" fmla="*/ 116 w 121"/>
                <a:gd name="T1" fmla="*/ 1 h 112"/>
                <a:gd name="T2" fmla="*/ 117 w 121"/>
                <a:gd name="T3" fmla="*/ 14 h 112"/>
                <a:gd name="T4" fmla="*/ 105 w 121"/>
                <a:gd name="T5" fmla="*/ 54 h 112"/>
                <a:gd name="T6" fmla="*/ 56 w 121"/>
                <a:gd name="T7" fmla="*/ 92 h 112"/>
                <a:gd name="T8" fmla="*/ 0 w 121"/>
                <a:gd name="T9" fmla="*/ 108 h 112"/>
                <a:gd name="T10" fmla="*/ 1 w 121"/>
                <a:gd name="T11" fmla="*/ 112 h 112"/>
                <a:gd name="T12" fmla="*/ 77 w 121"/>
                <a:gd name="T13" fmla="*/ 86 h 112"/>
                <a:gd name="T14" fmla="*/ 108 w 121"/>
                <a:gd name="T15" fmla="*/ 57 h 112"/>
                <a:gd name="T16" fmla="*/ 121 w 121"/>
                <a:gd name="T17" fmla="*/ 14 h 112"/>
                <a:gd name="T18" fmla="*/ 120 w 121"/>
                <a:gd name="T19" fmla="*/ 0 h 112"/>
                <a:gd name="T20" fmla="*/ 116 w 121"/>
                <a:gd name="T21" fmla="*/ 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12">
                  <a:moveTo>
                    <a:pt x="116" y="1"/>
                  </a:moveTo>
                  <a:cubicBezTo>
                    <a:pt x="117" y="5"/>
                    <a:pt x="117" y="10"/>
                    <a:pt x="117" y="14"/>
                  </a:cubicBezTo>
                  <a:cubicBezTo>
                    <a:pt x="117" y="30"/>
                    <a:pt x="112" y="43"/>
                    <a:pt x="105" y="54"/>
                  </a:cubicBezTo>
                  <a:cubicBezTo>
                    <a:pt x="93" y="71"/>
                    <a:pt x="75" y="83"/>
                    <a:pt x="56" y="92"/>
                  </a:cubicBezTo>
                  <a:cubicBezTo>
                    <a:pt x="36" y="101"/>
                    <a:pt x="16" y="106"/>
                    <a:pt x="0" y="108"/>
                  </a:cubicBezTo>
                  <a:cubicBezTo>
                    <a:pt x="1" y="112"/>
                    <a:pt x="1" y="112"/>
                    <a:pt x="1" y="112"/>
                  </a:cubicBezTo>
                  <a:cubicBezTo>
                    <a:pt x="22" y="109"/>
                    <a:pt x="52" y="101"/>
                    <a:pt x="77" y="86"/>
                  </a:cubicBezTo>
                  <a:cubicBezTo>
                    <a:pt x="89" y="78"/>
                    <a:pt x="100" y="68"/>
                    <a:pt x="108" y="57"/>
                  </a:cubicBezTo>
                  <a:cubicBezTo>
                    <a:pt x="116" y="45"/>
                    <a:pt x="121" y="31"/>
                    <a:pt x="121" y="14"/>
                  </a:cubicBezTo>
                  <a:cubicBezTo>
                    <a:pt x="121" y="10"/>
                    <a:pt x="121" y="5"/>
                    <a:pt x="120" y="0"/>
                  </a:cubicBezTo>
                  <a:cubicBezTo>
                    <a:pt x="116" y="1"/>
                    <a:pt x="116" y="1"/>
                    <a:pt x="116" y="1"/>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8" name="Freeform 222"/>
            <p:cNvSpPr/>
            <p:nvPr userDrawn="1"/>
          </p:nvSpPr>
          <p:spPr bwMode="auto">
            <a:xfrm>
              <a:off x="6116572" y="4221778"/>
              <a:ext cx="368806" cy="225935"/>
            </a:xfrm>
            <a:custGeom>
              <a:avLst/>
              <a:gdLst>
                <a:gd name="T0" fmla="*/ 138 w 142"/>
                <a:gd name="T1" fmla="*/ 0 h 87"/>
                <a:gd name="T2" fmla="*/ 81 w 142"/>
                <a:gd name="T3" fmla="*/ 56 h 87"/>
                <a:gd name="T4" fmla="*/ 0 w 142"/>
                <a:gd name="T5" fmla="*/ 83 h 87"/>
                <a:gd name="T6" fmla="*/ 0 w 142"/>
                <a:gd name="T7" fmla="*/ 87 h 87"/>
                <a:gd name="T8" fmla="*/ 83 w 142"/>
                <a:gd name="T9" fmla="*/ 60 h 87"/>
                <a:gd name="T10" fmla="*/ 142 w 142"/>
                <a:gd name="T11" fmla="*/ 1 h 87"/>
                <a:gd name="T12" fmla="*/ 138 w 142"/>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42" h="87">
                  <a:moveTo>
                    <a:pt x="138" y="0"/>
                  </a:moveTo>
                  <a:cubicBezTo>
                    <a:pt x="130" y="24"/>
                    <a:pt x="108" y="43"/>
                    <a:pt x="81" y="56"/>
                  </a:cubicBezTo>
                  <a:cubicBezTo>
                    <a:pt x="55" y="70"/>
                    <a:pt x="24" y="79"/>
                    <a:pt x="0" y="83"/>
                  </a:cubicBezTo>
                  <a:cubicBezTo>
                    <a:pt x="0" y="87"/>
                    <a:pt x="0" y="87"/>
                    <a:pt x="0" y="87"/>
                  </a:cubicBezTo>
                  <a:cubicBezTo>
                    <a:pt x="26" y="83"/>
                    <a:pt x="56" y="74"/>
                    <a:pt x="83" y="60"/>
                  </a:cubicBezTo>
                  <a:cubicBezTo>
                    <a:pt x="110" y="46"/>
                    <a:pt x="133" y="27"/>
                    <a:pt x="142" y="1"/>
                  </a:cubicBezTo>
                  <a:cubicBezTo>
                    <a:pt x="138" y="0"/>
                    <a:pt x="138" y="0"/>
                    <a:pt x="138" y="0"/>
                  </a:cubicBezTo>
                  <a:close/>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9" name="Freeform 94"/>
            <p:cNvSpPr>
              <a:spLocks noEditPoints="1"/>
            </p:cNvSpPr>
            <p:nvPr userDrawn="1"/>
          </p:nvSpPr>
          <p:spPr bwMode="auto">
            <a:xfrm>
              <a:off x="5613200" y="4181907"/>
              <a:ext cx="79742" cy="81404"/>
            </a:xfrm>
            <a:custGeom>
              <a:avLst/>
              <a:gdLst>
                <a:gd name="T0" fmla="*/ 31 w 31"/>
                <a:gd name="T1" fmla="*/ 15 h 31"/>
                <a:gd name="T2" fmla="*/ 31 w 31"/>
                <a:gd name="T3" fmla="*/ 15 h 31"/>
                <a:gd name="T4" fmla="*/ 31 w 31"/>
                <a:gd name="T5" fmla="*/ 15 h 31"/>
                <a:gd name="T6" fmla="*/ 15 w 31"/>
                <a:gd name="T7" fmla="*/ 0 h 31"/>
                <a:gd name="T8" fmla="*/ 0 w 31"/>
                <a:gd name="T9" fmla="*/ 15 h 31"/>
                <a:gd name="T10" fmla="*/ 15 w 31"/>
                <a:gd name="T11" fmla="*/ 31 h 31"/>
                <a:gd name="T12" fmla="*/ 31 w 31"/>
                <a:gd name="T13" fmla="*/ 15 h 31"/>
                <a:gd name="T14" fmla="*/ 29 w 31"/>
                <a:gd name="T15" fmla="*/ 15 h 31"/>
                <a:gd name="T16" fmla="*/ 27 w 31"/>
                <a:gd name="T17" fmla="*/ 15 h 31"/>
                <a:gd name="T18" fmla="*/ 15 w 31"/>
                <a:gd name="T19" fmla="*/ 27 h 31"/>
                <a:gd name="T20" fmla="*/ 4 w 31"/>
                <a:gd name="T21" fmla="*/ 15 h 31"/>
                <a:gd name="T22" fmla="*/ 15 w 31"/>
                <a:gd name="T23" fmla="*/ 4 h 31"/>
                <a:gd name="T24" fmla="*/ 27 w 31"/>
                <a:gd name="T25" fmla="*/ 15 h 31"/>
                <a:gd name="T26" fmla="*/ 29 w 31"/>
                <a:gd name="T27" fmla="*/ 15 h 31"/>
                <a:gd name="T28" fmla="*/ 31 w 31"/>
                <a:gd name="T29" fmla="*/ 15 h 31"/>
                <a:gd name="T30" fmla="*/ 31 w 31"/>
                <a:gd name="T31" fmla="*/ 15 h 31"/>
                <a:gd name="T32" fmla="*/ 15 w 31"/>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1">
                  <a:moveTo>
                    <a:pt x="31" y="15"/>
                  </a:moveTo>
                  <a:cubicBezTo>
                    <a:pt x="31" y="15"/>
                    <a:pt x="31" y="15"/>
                    <a:pt x="31" y="15"/>
                  </a:cubicBezTo>
                  <a:cubicBezTo>
                    <a:pt x="31" y="15"/>
                    <a:pt x="31" y="15"/>
                    <a:pt x="31" y="15"/>
                  </a:cubicBezTo>
                  <a:moveTo>
                    <a:pt x="15" y="0"/>
                  </a:moveTo>
                  <a:cubicBezTo>
                    <a:pt x="7" y="0"/>
                    <a:pt x="0" y="7"/>
                    <a:pt x="0" y="15"/>
                  </a:cubicBezTo>
                  <a:cubicBezTo>
                    <a:pt x="0" y="24"/>
                    <a:pt x="7" y="31"/>
                    <a:pt x="15" y="31"/>
                  </a:cubicBezTo>
                  <a:cubicBezTo>
                    <a:pt x="24" y="31"/>
                    <a:pt x="31" y="24"/>
                    <a:pt x="31" y="15"/>
                  </a:cubicBezTo>
                  <a:cubicBezTo>
                    <a:pt x="29" y="15"/>
                    <a:pt x="29" y="15"/>
                    <a:pt x="29" y="15"/>
                  </a:cubicBezTo>
                  <a:cubicBezTo>
                    <a:pt x="27" y="15"/>
                    <a:pt x="27" y="15"/>
                    <a:pt x="27" y="15"/>
                  </a:cubicBezTo>
                  <a:cubicBezTo>
                    <a:pt x="27" y="21"/>
                    <a:pt x="22" y="26"/>
                    <a:pt x="15" y="27"/>
                  </a:cubicBezTo>
                  <a:cubicBezTo>
                    <a:pt x="9" y="26"/>
                    <a:pt x="4" y="21"/>
                    <a:pt x="4" y="15"/>
                  </a:cubicBezTo>
                  <a:cubicBezTo>
                    <a:pt x="4" y="9"/>
                    <a:pt x="9" y="4"/>
                    <a:pt x="15" y="4"/>
                  </a:cubicBezTo>
                  <a:cubicBezTo>
                    <a:pt x="22" y="4"/>
                    <a:pt x="27" y="9"/>
                    <a:pt x="27" y="15"/>
                  </a:cubicBezTo>
                  <a:cubicBezTo>
                    <a:pt x="29" y="15"/>
                    <a:pt x="29" y="15"/>
                    <a:pt x="29" y="15"/>
                  </a:cubicBezTo>
                  <a:cubicBezTo>
                    <a:pt x="31" y="15"/>
                    <a:pt x="31" y="15"/>
                    <a:pt x="31" y="15"/>
                  </a:cubicBezTo>
                  <a:cubicBezTo>
                    <a:pt x="31" y="15"/>
                    <a:pt x="31" y="15"/>
                    <a:pt x="31" y="15"/>
                  </a:cubicBezTo>
                  <a:cubicBezTo>
                    <a:pt x="31" y="7"/>
                    <a:pt x="24" y="0"/>
                    <a:pt x="15" y="0"/>
                  </a:cubicBezTo>
                </a:path>
              </a:pathLst>
            </a:custGeom>
            <a:solidFill>
              <a:srgbClr val="C6E8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0" name="Freeform 212"/>
            <p:cNvSpPr/>
            <p:nvPr userDrawn="1"/>
          </p:nvSpPr>
          <p:spPr bwMode="auto">
            <a:xfrm>
              <a:off x="5661378" y="5886391"/>
              <a:ext cx="373791" cy="119613"/>
            </a:xfrm>
            <a:custGeom>
              <a:avLst/>
              <a:gdLst>
                <a:gd name="T0" fmla="*/ 123 w 144"/>
                <a:gd name="T1" fmla="*/ 26 h 46"/>
                <a:gd name="T2" fmla="*/ 141 w 144"/>
                <a:gd name="T3" fmla="*/ 9 h 46"/>
                <a:gd name="T4" fmla="*/ 138 w 144"/>
                <a:gd name="T5" fmla="*/ 0 h 46"/>
                <a:gd name="T6" fmla="*/ 112 w 144"/>
                <a:gd name="T7" fmla="*/ 26 h 46"/>
                <a:gd name="T8" fmla="*/ 99 w 144"/>
                <a:gd name="T9" fmla="*/ 26 h 46"/>
                <a:gd name="T10" fmla="*/ 54 w 144"/>
                <a:gd name="T11" fmla="*/ 4 h 46"/>
                <a:gd name="T12" fmla="*/ 6 w 144"/>
                <a:gd name="T13" fmla="*/ 34 h 46"/>
                <a:gd name="T14" fmla="*/ 9 w 144"/>
                <a:gd name="T15" fmla="*/ 46 h 46"/>
                <a:gd name="T16" fmla="*/ 74 w 144"/>
                <a:gd name="T17" fmla="*/ 46 h 46"/>
                <a:gd name="T18" fmla="*/ 95 w 144"/>
                <a:gd name="T19" fmla="*/ 32 h 46"/>
                <a:gd name="T20" fmla="*/ 101 w 144"/>
                <a:gd name="T21" fmla="*/ 32 h 46"/>
                <a:gd name="T22" fmla="*/ 101 w 144"/>
                <a:gd name="T23" fmla="*/ 46 h 46"/>
                <a:gd name="T24" fmla="*/ 144 w 144"/>
                <a:gd name="T25" fmla="*/ 46 h 46"/>
                <a:gd name="T26" fmla="*/ 144 w 144"/>
                <a:gd name="T27" fmla="*/ 26 h 46"/>
                <a:gd name="T28" fmla="*/ 123 w 144"/>
                <a:gd name="T29" fmla="*/ 2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46">
                  <a:moveTo>
                    <a:pt x="123" y="26"/>
                  </a:moveTo>
                  <a:cubicBezTo>
                    <a:pt x="141" y="9"/>
                    <a:pt x="141" y="9"/>
                    <a:pt x="141" y="9"/>
                  </a:cubicBezTo>
                  <a:cubicBezTo>
                    <a:pt x="138" y="0"/>
                    <a:pt x="138" y="0"/>
                    <a:pt x="138" y="0"/>
                  </a:cubicBezTo>
                  <a:cubicBezTo>
                    <a:pt x="112" y="26"/>
                    <a:pt x="112" y="26"/>
                    <a:pt x="112" y="26"/>
                  </a:cubicBezTo>
                  <a:cubicBezTo>
                    <a:pt x="99" y="26"/>
                    <a:pt x="99" y="26"/>
                    <a:pt x="99" y="26"/>
                  </a:cubicBezTo>
                  <a:cubicBezTo>
                    <a:pt x="54" y="4"/>
                    <a:pt x="54" y="4"/>
                    <a:pt x="54" y="4"/>
                  </a:cubicBezTo>
                  <a:cubicBezTo>
                    <a:pt x="6" y="34"/>
                    <a:pt x="6" y="34"/>
                    <a:pt x="6" y="34"/>
                  </a:cubicBezTo>
                  <a:cubicBezTo>
                    <a:pt x="0" y="38"/>
                    <a:pt x="3" y="46"/>
                    <a:pt x="9" y="46"/>
                  </a:cubicBezTo>
                  <a:cubicBezTo>
                    <a:pt x="74" y="46"/>
                    <a:pt x="74" y="46"/>
                    <a:pt x="74" y="46"/>
                  </a:cubicBezTo>
                  <a:cubicBezTo>
                    <a:pt x="95" y="32"/>
                    <a:pt x="95" y="32"/>
                    <a:pt x="95" y="32"/>
                  </a:cubicBezTo>
                  <a:cubicBezTo>
                    <a:pt x="101" y="32"/>
                    <a:pt x="101" y="32"/>
                    <a:pt x="101" y="32"/>
                  </a:cubicBezTo>
                  <a:cubicBezTo>
                    <a:pt x="101" y="46"/>
                    <a:pt x="101" y="46"/>
                    <a:pt x="101" y="46"/>
                  </a:cubicBezTo>
                  <a:cubicBezTo>
                    <a:pt x="144" y="46"/>
                    <a:pt x="144" y="46"/>
                    <a:pt x="144" y="46"/>
                  </a:cubicBezTo>
                  <a:cubicBezTo>
                    <a:pt x="144" y="26"/>
                    <a:pt x="144" y="26"/>
                    <a:pt x="144" y="26"/>
                  </a:cubicBezTo>
                  <a:lnTo>
                    <a:pt x="123" y="26"/>
                  </a:lnTo>
                  <a:close/>
                </a:path>
              </a:pathLst>
            </a:custGeom>
            <a:solidFill>
              <a:srgbClr val="2225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1" name="Rectangle 235"/>
            <p:cNvSpPr>
              <a:spLocks noChangeArrowheads="1"/>
            </p:cNvSpPr>
            <p:nvPr userDrawn="1"/>
          </p:nvSpPr>
          <p:spPr bwMode="auto">
            <a:xfrm>
              <a:off x="5721185" y="4255004"/>
              <a:ext cx="11630" cy="222613"/>
            </a:xfrm>
            <a:prstGeom prst="rect">
              <a:avLst/>
            </a:prstGeom>
            <a:solidFill>
              <a:srgbClr val="B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72" name="Freeform 236"/>
            <p:cNvSpPr/>
            <p:nvPr userDrawn="1"/>
          </p:nvSpPr>
          <p:spPr bwMode="auto">
            <a:xfrm>
              <a:off x="5721185" y="4255004"/>
              <a:ext cx="11630" cy="222613"/>
            </a:xfrm>
            <a:custGeom>
              <a:avLst/>
              <a:gdLst>
                <a:gd name="T0" fmla="*/ 0 w 7"/>
                <a:gd name="T1" fmla="*/ 0 h 134"/>
                <a:gd name="T2" fmla="*/ 0 w 7"/>
                <a:gd name="T3" fmla="*/ 134 h 134"/>
                <a:gd name="T4" fmla="*/ 7 w 7"/>
                <a:gd name="T5" fmla="*/ 134 h 134"/>
                <a:gd name="T6" fmla="*/ 7 w 7"/>
                <a:gd name="T7" fmla="*/ 0 h 134"/>
              </a:gdLst>
              <a:ahLst/>
              <a:cxnLst>
                <a:cxn ang="0">
                  <a:pos x="T0" y="T1"/>
                </a:cxn>
                <a:cxn ang="0">
                  <a:pos x="T2" y="T3"/>
                </a:cxn>
                <a:cxn ang="0">
                  <a:pos x="T4" y="T5"/>
                </a:cxn>
                <a:cxn ang="0">
                  <a:pos x="T6" y="T7"/>
                </a:cxn>
              </a:cxnLst>
              <a:rect l="0" t="0" r="r" b="b"/>
              <a:pathLst>
                <a:path w="7" h="134">
                  <a:moveTo>
                    <a:pt x="0" y="0"/>
                  </a:moveTo>
                  <a:lnTo>
                    <a:pt x="0" y="134"/>
                  </a:lnTo>
                  <a:lnTo>
                    <a:pt x="7" y="134"/>
                  </a:lnTo>
                  <a:lnTo>
                    <a:pt x="7" y="0"/>
                  </a:lnTo>
                </a:path>
              </a:pathLst>
            </a:custGeom>
            <a:solidFill>
              <a:srgbClr val="BF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lvl="0"/>
              <a:endParaRPr lang="zh-CN" altLang="en-US"/>
            </a:p>
          </p:txBody>
        </p:sp>
      </p:gr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本模板内容</a:t>
            </a:r>
            <a:r>
              <a:rPr lang="en-US" altLang="zh-CN"/>
              <a:t>/</a:t>
            </a:r>
            <a:r>
              <a:rPr lang="zh-CN" altLang="en-US"/>
              <a:t>设计均为原创，不得以任何方式进行商业转售和再发布</a:t>
            </a:r>
            <a:endParaRPr lang="zh-CN" altLang="en-US" dirty="0"/>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sldNum="0" hd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mlDrawing" Target="../drawings/vmlDrawing1.vml"/><Relationship Id="rId1" Type="http://schemas.openxmlformats.org/officeDocument/2006/relationships/themeOverride" Target="../theme/themeOverride1.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mlDrawing" Target="../drawings/vmlDrawing2.v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íSļîdé"/>
        <p:cNvGrpSpPr/>
        <p:nvPr/>
      </p:nvGrpSpPr>
      <p:grpSpPr>
        <a:xfrm>
          <a:off x="0" y="0"/>
          <a:ext cx="0" cy="0"/>
          <a:chOff x="0" y="0"/>
          <a:chExt cx="0" cy="0"/>
        </a:xfrm>
      </p:grpSpPr>
      <p:graphicFrame>
        <p:nvGraphicFramePr>
          <p:cNvPr id="3" name="íṡḻiḍ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8" name="think-cell Slide" r:id="rId4" imgW="0" imgH="0" progId="TCLayout.ActiveDocument.1">
                  <p:embed/>
                </p:oleObj>
              </mc:Choice>
              <mc:Fallback>
                <p:oleObj name="think-cell Slide" r:id="rId4" imgW="0" imgH="0" progId="TCLayout.ActiveDocument.1">
                  <p:embed/>
                  <p:pic>
                    <p:nvPicPr>
                      <p:cNvPr id="0" name="íŝḷíḍè"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îŝļïde"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4" name="iṩḻíḍe"/>
          <p:cNvSpPr>
            <a:spLocks noGrp="1"/>
          </p:cNvSpPr>
          <p:nvPr>
            <p:ph type="ctrTitle"/>
          </p:nvPr>
        </p:nvSpPr>
        <p:spPr>
          <a:xfrm>
            <a:off x="5543549" y="828675"/>
            <a:ext cx="5975351" cy="2630876"/>
          </a:xfrm>
        </p:spPr>
        <p:txBody>
          <a:bodyPr/>
          <a:lstStyle/>
          <a:p>
            <a:pPr>
              <a:lnSpc>
                <a:spcPct val="110000"/>
              </a:lnSpc>
            </a:pPr>
            <a:r>
              <a:rPr lang="zh-CN" altLang="en-US" sz="6000" dirty="0"/>
              <a:t>缓存一致性</a:t>
            </a:r>
            <a:br>
              <a:rPr lang="en-US" altLang="zh-CN" sz="6000" dirty="0"/>
            </a:br>
            <a:endParaRPr lang="zh-CN" altLang="en-US" b="0" dirty="0"/>
          </a:p>
        </p:txBody>
      </p:sp>
      <p:sp>
        <p:nvSpPr>
          <p:cNvPr id="6" name="ï$ḷiḍê"/>
          <p:cNvSpPr>
            <a:spLocks noGrp="1"/>
          </p:cNvSpPr>
          <p:nvPr>
            <p:ph type="body" sz="quarter" idx="10"/>
          </p:nvPr>
        </p:nvSpPr>
        <p:spPr>
          <a:xfrm>
            <a:off x="6096000" y="4900208"/>
            <a:ext cx="5422900" cy="296271"/>
          </a:xfrm>
        </p:spPr>
        <p:txBody>
          <a:bodyPr/>
          <a:lstStyle/>
          <a:p>
            <a:r>
              <a:rPr lang="zh-CN" altLang="en-US" dirty="0"/>
              <a:t>魏赛</a:t>
            </a:r>
            <a:endParaRPr lang="en-US" altLang="zh-CN" dirty="0"/>
          </a:p>
        </p:txBody>
      </p:sp>
      <p:sp>
        <p:nvSpPr>
          <p:cNvPr id="7" name="îṣļiďé"/>
          <p:cNvSpPr>
            <a:spLocks noGrp="1"/>
          </p:cNvSpPr>
          <p:nvPr>
            <p:ph type="body" sz="quarter" idx="11"/>
          </p:nvPr>
        </p:nvSpPr>
        <p:spPr>
          <a:xfrm>
            <a:off x="6096000" y="5196479"/>
            <a:ext cx="5422900" cy="296271"/>
          </a:xfrm>
        </p:spPr>
        <p:txBody>
          <a:bodyPr/>
          <a:lstStyle/>
          <a:p>
            <a:r>
              <a:rPr lang="en-US" altLang="zh-CN" dirty="0"/>
              <a:t>2020.11.16</a:t>
            </a:r>
          </a:p>
        </p:txBody>
      </p:sp>
      <p:sp>
        <p:nvSpPr>
          <p:cNvPr id="8" name="ïslíďê"/>
          <p:cNvSpPr/>
          <p:nvPr/>
        </p:nvSpPr>
        <p:spPr>
          <a:xfrm rot="3038459">
            <a:off x="10378096" y="-52594"/>
            <a:ext cx="1808990" cy="901459"/>
          </a:xfrm>
          <a:custGeom>
            <a:avLst/>
            <a:gdLst>
              <a:gd name="connsiteX0" fmla="*/ 0 w 2818593"/>
              <a:gd name="connsiteY0" fmla="*/ 1394340 h 1404566"/>
              <a:gd name="connsiteX1" fmla="*/ 6665 w 2818593"/>
              <a:gd name="connsiteY1" fmla="*/ 1394340 h 1404566"/>
              <a:gd name="connsiteX2" fmla="*/ 6665 w 2818593"/>
              <a:gd name="connsiteY2" fmla="*/ 1404566 h 1404566"/>
              <a:gd name="connsiteX3" fmla="*/ 0 w 2818593"/>
              <a:gd name="connsiteY3" fmla="*/ 1404566 h 1404566"/>
              <a:gd name="connsiteX4" fmla="*/ 81675 w 2818593"/>
              <a:gd name="connsiteY4" fmla="*/ 1386670 h 1404566"/>
              <a:gd name="connsiteX5" fmla="*/ 84453 w 2818593"/>
              <a:gd name="connsiteY5" fmla="*/ 1396896 h 1404566"/>
              <a:gd name="connsiteX6" fmla="*/ 45559 w 2818593"/>
              <a:gd name="connsiteY6" fmla="*/ 1402010 h 1404566"/>
              <a:gd name="connsiteX7" fmla="*/ 42781 w 2818593"/>
              <a:gd name="connsiteY7" fmla="*/ 1391783 h 1404566"/>
              <a:gd name="connsiteX8" fmla="*/ 81675 w 2818593"/>
              <a:gd name="connsiteY8" fmla="*/ 1386670 h 1404566"/>
              <a:gd name="connsiteX9" fmla="*/ 156684 w 2818593"/>
              <a:gd name="connsiteY9" fmla="*/ 1371330 h 1404566"/>
              <a:gd name="connsiteX10" fmla="*/ 159462 w 2818593"/>
              <a:gd name="connsiteY10" fmla="*/ 1381557 h 1404566"/>
              <a:gd name="connsiteX11" fmla="*/ 123347 w 2818593"/>
              <a:gd name="connsiteY11" fmla="*/ 1389226 h 1404566"/>
              <a:gd name="connsiteX12" fmla="*/ 120569 w 2818593"/>
              <a:gd name="connsiteY12" fmla="*/ 1379000 h 1404566"/>
              <a:gd name="connsiteX13" fmla="*/ 156684 w 2818593"/>
              <a:gd name="connsiteY13" fmla="*/ 1371330 h 1404566"/>
              <a:gd name="connsiteX14" fmla="*/ 231694 w 2818593"/>
              <a:gd name="connsiteY14" fmla="*/ 1348320 h 1404566"/>
              <a:gd name="connsiteX15" fmla="*/ 234472 w 2818593"/>
              <a:gd name="connsiteY15" fmla="*/ 1358547 h 1404566"/>
              <a:gd name="connsiteX16" fmla="*/ 217803 w 2818593"/>
              <a:gd name="connsiteY16" fmla="*/ 1363660 h 1404566"/>
              <a:gd name="connsiteX17" fmla="*/ 198356 w 2818593"/>
              <a:gd name="connsiteY17" fmla="*/ 1371330 h 1404566"/>
              <a:gd name="connsiteX18" fmla="*/ 195578 w 2818593"/>
              <a:gd name="connsiteY18" fmla="*/ 1361104 h 1404566"/>
              <a:gd name="connsiteX19" fmla="*/ 212247 w 2818593"/>
              <a:gd name="connsiteY19" fmla="*/ 1355990 h 1404566"/>
              <a:gd name="connsiteX20" fmla="*/ 231694 w 2818593"/>
              <a:gd name="connsiteY20" fmla="*/ 1348320 h 1404566"/>
              <a:gd name="connsiteX21" fmla="*/ 303925 w 2818593"/>
              <a:gd name="connsiteY21" fmla="*/ 1322754 h 1404566"/>
              <a:gd name="connsiteX22" fmla="*/ 306704 w 2818593"/>
              <a:gd name="connsiteY22" fmla="*/ 1330424 h 1404566"/>
              <a:gd name="connsiteX23" fmla="*/ 270588 w 2818593"/>
              <a:gd name="connsiteY23" fmla="*/ 1345764 h 1404566"/>
              <a:gd name="connsiteX24" fmla="*/ 267810 w 2818593"/>
              <a:gd name="connsiteY24" fmla="*/ 1335537 h 1404566"/>
              <a:gd name="connsiteX25" fmla="*/ 303925 w 2818593"/>
              <a:gd name="connsiteY25" fmla="*/ 1322754 h 1404566"/>
              <a:gd name="connsiteX26" fmla="*/ 373379 w 2818593"/>
              <a:gd name="connsiteY26" fmla="*/ 1292075 h 1404566"/>
              <a:gd name="connsiteX27" fmla="*/ 378935 w 2818593"/>
              <a:gd name="connsiteY27" fmla="*/ 1302301 h 1404566"/>
              <a:gd name="connsiteX28" fmla="*/ 342819 w 2818593"/>
              <a:gd name="connsiteY28" fmla="*/ 1317641 h 1404566"/>
              <a:gd name="connsiteX29" fmla="*/ 337263 w 2818593"/>
              <a:gd name="connsiteY29" fmla="*/ 1307414 h 1404566"/>
              <a:gd name="connsiteX30" fmla="*/ 373379 w 2818593"/>
              <a:gd name="connsiteY30" fmla="*/ 1292075 h 1404566"/>
              <a:gd name="connsiteX31" fmla="*/ 440054 w 2818593"/>
              <a:gd name="connsiteY31" fmla="*/ 1258839 h 1404566"/>
              <a:gd name="connsiteX32" fmla="*/ 445610 w 2818593"/>
              <a:gd name="connsiteY32" fmla="*/ 1266508 h 1404566"/>
              <a:gd name="connsiteX33" fmla="*/ 412273 w 2818593"/>
              <a:gd name="connsiteY33" fmla="*/ 1284405 h 1404566"/>
              <a:gd name="connsiteX34" fmla="*/ 406716 w 2818593"/>
              <a:gd name="connsiteY34" fmla="*/ 1276735 h 1404566"/>
              <a:gd name="connsiteX35" fmla="*/ 440054 w 2818593"/>
              <a:gd name="connsiteY35" fmla="*/ 1258839 h 1404566"/>
              <a:gd name="connsiteX36" fmla="*/ 506729 w 2818593"/>
              <a:gd name="connsiteY36" fmla="*/ 1220489 h 1404566"/>
              <a:gd name="connsiteX37" fmla="*/ 512286 w 2818593"/>
              <a:gd name="connsiteY37" fmla="*/ 1230716 h 1404566"/>
              <a:gd name="connsiteX38" fmla="*/ 478948 w 2818593"/>
              <a:gd name="connsiteY38" fmla="*/ 1248612 h 1404566"/>
              <a:gd name="connsiteX39" fmla="*/ 473392 w 2818593"/>
              <a:gd name="connsiteY39" fmla="*/ 1240942 h 1404566"/>
              <a:gd name="connsiteX40" fmla="*/ 506729 w 2818593"/>
              <a:gd name="connsiteY40" fmla="*/ 1220489 h 1404566"/>
              <a:gd name="connsiteX41" fmla="*/ 570626 w 2818593"/>
              <a:gd name="connsiteY41" fmla="*/ 1179583 h 1404566"/>
              <a:gd name="connsiteX42" fmla="*/ 576183 w 2818593"/>
              <a:gd name="connsiteY42" fmla="*/ 1189810 h 1404566"/>
              <a:gd name="connsiteX43" fmla="*/ 545623 w 2818593"/>
              <a:gd name="connsiteY43" fmla="*/ 1210263 h 1404566"/>
              <a:gd name="connsiteX44" fmla="*/ 540067 w 2818593"/>
              <a:gd name="connsiteY44" fmla="*/ 1200036 h 1404566"/>
              <a:gd name="connsiteX45" fmla="*/ 570626 w 2818593"/>
              <a:gd name="connsiteY45" fmla="*/ 1179583 h 1404566"/>
              <a:gd name="connsiteX46" fmla="*/ 631745 w 2818593"/>
              <a:gd name="connsiteY46" fmla="*/ 1136120 h 1404566"/>
              <a:gd name="connsiteX47" fmla="*/ 640080 w 2818593"/>
              <a:gd name="connsiteY47" fmla="*/ 1143790 h 1404566"/>
              <a:gd name="connsiteX48" fmla="*/ 609520 w 2818593"/>
              <a:gd name="connsiteY48" fmla="*/ 1166800 h 1404566"/>
              <a:gd name="connsiteX49" fmla="*/ 601186 w 2818593"/>
              <a:gd name="connsiteY49" fmla="*/ 1159130 h 1404566"/>
              <a:gd name="connsiteX50" fmla="*/ 631745 w 2818593"/>
              <a:gd name="connsiteY50" fmla="*/ 1136120 h 1404566"/>
              <a:gd name="connsiteX51" fmla="*/ 690086 w 2818593"/>
              <a:gd name="connsiteY51" fmla="*/ 1090101 h 1404566"/>
              <a:gd name="connsiteX52" fmla="*/ 698421 w 2818593"/>
              <a:gd name="connsiteY52" fmla="*/ 1097771 h 1404566"/>
              <a:gd name="connsiteX53" fmla="*/ 667861 w 2818593"/>
              <a:gd name="connsiteY53" fmla="*/ 1120781 h 1404566"/>
              <a:gd name="connsiteX54" fmla="*/ 662305 w 2818593"/>
              <a:gd name="connsiteY54" fmla="*/ 1113111 h 1404566"/>
              <a:gd name="connsiteX55" fmla="*/ 690086 w 2818593"/>
              <a:gd name="connsiteY55" fmla="*/ 1090101 h 1404566"/>
              <a:gd name="connsiteX56" fmla="*/ 748427 w 2818593"/>
              <a:gd name="connsiteY56" fmla="*/ 1041525 h 1404566"/>
              <a:gd name="connsiteX57" fmla="*/ 756761 w 2818593"/>
              <a:gd name="connsiteY57" fmla="*/ 1049195 h 1404566"/>
              <a:gd name="connsiteX58" fmla="*/ 726202 w 2818593"/>
              <a:gd name="connsiteY58" fmla="*/ 1074761 h 1404566"/>
              <a:gd name="connsiteX59" fmla="*/ 720646 w 2818593"/>
              <a:gd name="connsiteY59" fmla="*/ 1067092 h 1404566"/>
              <a:gd name="connsiteX60" fmla="*/ 748427 w 2818593"/>
              <a:gd name="connsiteY60" fmla="*/ 1041525 h 1404566"/>
              <a:gd name="connsiteX61" fmla="*/ 803990 w 2818593"/>
              <a:gd name="connsiteY61" fmla="*/ 992949 h 1404566"/>
              <a:gd name="connsiteX62" fmla="*/ 812324 w 2818593"/>
              <a:gd name="connsiteY62" fmla="*/ 1000619 h 1404566"/>
              <a:gd name="connsiteX63" fmla="*/ 784543 w 2818593"/>
              <a:gd name="connsiteY63" fmla="*/ 1026186 h 1404566"/>
              <a:gd name="connsiteX64" fmla="*/ 776208 w 2818593"/>
              <a:gd name="connsiteY64" fmla="*/ 1018516 h 1404566"/>
              <a:gd name="connsiteX65" fmla="*/ 803990 w 2818593"/>
              <a:gd name="connsiteY65" fmla="*/ 992949 h 1404566"/>
              <a:gd name="connsiteX66" fmla="*/ 859552 w 2818593"/>
              <a:gd name="connsiteY66" fmla="*/ 941816 h 1404566"/>
              <a:gd name="connsiteX67" fmla="*/ 867887 w 2818593"/>
              <a:gd name="connsiteY67" fmla="*/ 949487 h 1404566"/>
              <a:gd name="connsiteX68" fmla="*/ 840105 w 2818593"/>
              <a:gd name="connsiteY68" fmla="*/ 975053 h 1404566"/>
              <a:gd name="connsiteX69" fmla="*/ 831771 w 2818593"/>
              <a:gd name="connsiteY69" fmla="*/ 967383 h 1404566"/>
              <a:gd name="connsiteX70" fmla="*/ 859552 w 2818593"/>
              <a:gd name="connsiteY70" fmla="*/ 941816 h 1404566"/>
              <a:gd name="connsiteX71" fmla="*/ 915115 w 2818593"/>
              <a:gd name="connsiteY71" fmla="*/ 890684 h 1404566"/>
              <a:gd name="connsiteX72" fmla="*/ 923449 w 2818593"/>
              <a:gd name="connsiteY72" fmla="*/ 898354 h 1404566"/>
              <a:gd name="connsiteX73" fmla="*/ 895668 w 2818593"/>
              <a:gd name="connsiteY73" fmla="*/ 923920 h 1404566"/>
              <a:gd name="connsiteX74" fmla="*/ 887334 w 2818593"/>
              <a:gd name="connsiteY74" fmla="*/ 916250 h 1404566"/>
              <a:gd name="connsiteX75" fmla="*/ 915115 w 2818593"/>
              <a:gd name="connsiteY75" fmla="*/ 890684 h 1404566"/>
              <a:gd name="connsiteX76" fmla="*/ 970678 w 2818593"/>
              <a:gd name="connsiteY76" fmla="*/ 842108 h 1404566"/>
              <a:gd name="connsiteX77" fmla="*/ 976234 w 2818593"/>
              <a:gd name="connsiteY77" fmla="*/ 849778 h 1404566"/>
              <a:gd name="connsiteX78" fmla="*/ 948453 w 2818593"/>
              <a:gd name="connsiteY78" fmla="*/ 872788 h 1404566"/>
              <a:gd name="connsiteX79" fmla="*/ 942896 w 2818593"/>
              <a:gd name="connsiteY79" fmla="*/ 867675 h 1404566"/>
              <a:gd name="connsiteX80" fmla="*/ 970678 w 2818593"/>
              <a:gd name="connsiteY80" fmla="*/ 842108 h 1404566"/>
              <a:gd name="connsiteX81" fmla="*/ 1026240 w 2818593"/>
              <a:gd name="connsiteY81" fmla="*/ 790976 h 1404566"/>
              <a:gd name="connsiteX82" fmla="*/ 1031797 w 2818593"/>
              <a:gd name="connsiteY82" fmla="*/ 798645 h 1404566"/>
              <a:gd name="connsiteX83" fmla="*/ 1004015 w 2818593"/>
              <a:gd name="connsiteY83" fmla="*/ 824212 h 1404566"/>
              <a:gd name="connsiteX84" fmla="*/ 998459 w 2818593"/>
              <a:gd name="connsiteY84" fmla="*/ 816542 h 1404566"/>
              <a:gd name="connsiteX85" fmla="*/ 1026240 w 2818593"/>
              <a:gd name="connsiteY85" fmla="*/ 790976 h 1404566"/>
              <a:gd name="connsiteX86" fmla="*/ 1081803 w 2818593"/>
              <a:gd name="connsiteY86" fmla="*/ 742400 h 1404566"/>
              <a:gd name="connsiteX87" fmla="*/ 1090137 w 2818593"/>
              <a:gd name="connsiteY87" fmla="*/ 750070 h 1404566"/>
              <a:gd name="connsiteX88" fmla="*/ 1062356 w 2818593"/>
              <a:gd name="connsiteY88" fmla="*/ 773079 h 1404566"/>
              <a:gd name="connsiteX89" fmla="*/ 1054022 w 2818593"/>
              <a:gd name="connsiteY89" fmla="*/ 765410 h 1404566"/>
              <a:gd name="connsiteX90" fmla="*/ 1081803 w 2818593"/>
              <a:gd name="connsiteY90" fmla="*/ 742400 h 1404566"/>
              <a:gd name="connsiteX91" fmla="*/ 1140144 w 2818593"/>
              <a:gd name="connsiteY91" fmla="*/ 693824 h 1404566"/>
              <a:gd name="connsiteX92" fmla="*/ 1148478 w 2818593"/>
              <a:gd name="connsiteY92" fmla="*/ 704051 h 1404566"/>
              <a:gd name="connsiteX93" fmla="*/ 1117919 w 2818593"/>
              <a:gd name="connsiteY93" fmla="*/ 727060 h 1404566"/>
              <a:gd name="connsiteX94" fmla="*/ 1112363 w 2818593"/>
              <a:gd name="connsiteY94" fmla="*/ 719390 h 1404566"/>
              <a:gd name="connsiteX95" fmla="*/ 1140144 w 2818593"/>
              <a:gd name="connsiteY95" fmla="*/ 693824 h 1404566"/>
              <a:gd name="connsiteX96" fmla="*/ 1204041 w 2818593"/>
              <a:gd name="connsiteY96" fmla="*/ 652918 h 1404566"/>
              <a:gd name="connsiteX97" fmla="*/ 1209597 w 2818593"/>
              <a:gd name="connsiteY97" fmla="*/ 660588 h 1404566"/>
              <a:gd name="connsiteX98" fmla="*/ 1179038 w 2818593"/>
              <a:gd name="connsiteY98" fmla="*/ 681040 h 1404566"/>
              <a:gd name="connsiteX99" fmla="*/ 1170703 w 2818593"/>
              <a:gd name="connsiteY99" fmla="*/ 673371 h 1404566"/>
              <a:gd name="connsiteX100" fmla="*/ 1204041 w 2818593"/>
              <a:gd name="connsiteY100" fmla="*/ 652918 h 1404566"/>
              <a:gd name="connsiteX101" fmla="*/ 1270716 w 2818593"/>
              <a:gd name="connsiteY101" fmla="*/ 614569 h 1404566"/>
              <a:gd name="connsiteX102" fmla="*/ 1276273 w 2818593"/>
              <a:gd name="connsiteY102" fmla="*/ 622238 h 1404566"/>
              <a:gd name="connsiteX103" fmla="*/ 1242935 w 2818593"/>
              <a:gd name="connsiteY103" fmla="*/ 640135 h 1404566"/>
              <a:gd name="connsiteX104" fmla="*/ 1237379 w 2818593"/>
              <a:gd name="connsiteY104" fmla="*/ 632465 h 1404566"/>
              <a:gd name="connsiteX105" fmla="*/ 1270716 w 2818593"/>
              <a:gd name="connsiteY105" fmla="*/ 614569 h 1404566"/>
              <a:gd name="connsiteX106" fmla="*/ 1340170 w 2818593"/>
              <a:gd name="connsiteY106" fmla="*/ 581332 h 1404566"/>
              <a:gd name="connsiteX107" fmla="*/ 1342948 w 2818593"/>
              <a:gd name="connsiteY107" fmla="*/ 589002 h 1404566"/>
              <a:gd name="connsiteX108" fmla="*/ 1309610 w 2818593"/>
              <a:gd name="connsiteY108" fmla="*/ 604342 h 1404566"/>
              <a:gd name="connsiteX109" fmla="*/ 1304054 w 2818593"/>
              <a:gd name="connsiteY109" fmla="*/ 596672 h 1404566"/>
              <a:gd name="connsiteX110" fmla="*/ 1340170 w 2818593"/>
              <a:gd name="connsiteY110" fmla="*/ 581332 h 1404566"/>
              <a:gd name="connsiteX111" fmla="*/ 1409623 w 2818593"/>
              <a:gd name="connsiteY111" fmla="*/ 553210 h 1404566"/>
              <a:gd name="connsiteX112" fmla="*/ 1415179 w 2818593"/>
              <a:gd name="connsiteY112" fmla="*/ 560879 h 1404566"/>
              <a:gd name="connsiteX113" fmla="*/ 1379064 w 2818593"/>
              <a:gd name="connsiteY113" fmla="*/ 576219 h 1404566"/>
              <a:gd name="connsiteX114" fmla="*/ 1373507 w 2818593"/>
              <a:gd name="connsiteY114" fmla="*/ 565992 h 1404566"/>
              <a:gd name="connsiteX115" fmla="*/ 1409623 w 2818593"/>
              <a:gd name="connsiteY115" fmla="*/ 553210 h 1404566"/>
              <a:gd name="connsiteX116" fmla="*/ 1484633 w 2818593"/>
              <a:gd name="connsiteY116" fmla="*/ 527643 h 1404566"/>
              <a:gd name="connsiteX117" fmla="*/ 1487411 w 2818593"/>
              <a:gd name="connsiteY117" fmla="*/ 537869 h 1404566"/>
              <a:gd name="connsiteX118" fmla="*/ 1451295 w 2818593"/>
              <a:gd name="connsiteY118" fmla="*/ 548096 h 1404566"/>
              <a:gd name="connsiteX119" fmla="*/ 1448517 w 2818593"/>
              <a:gd name="connsiteY119" fmla="*/ 540426 h 1404566"/>
              <a:gd name="connsiteX120" fmla="*/ 1484633 w 2818593"/>
              <a:gd name="connsiteY120" fmla="*/ 527643 h 1404566"/>
              <a:gd name="connsiteX121" fmla="*/ 1559642 w 2818593"/>
              <a:gd name="connsiteY121" fmla="*/ 507190 h 1404566"/>
              <a:gd name="connsiteX122" fmla="*/ 1562420 w 2818593"/>
              <a:gd name="connsiteY122" fmla="*/ 517417 h 1404566"/>
              <a:gd name="connsiteX123" fmla="*/ 1523526 w 2818593"/>
              <a:gd name="connsiteY123" fmla="*/ 527643 h 1404566"/>
              <a:gd name="connsiteX124" fmla="*/ 1520748 w 2818593"/>
              <a:gd name="connsiteY124" fmla="*/ 517417 h 1404566"/>
              <a:gd name="connsiteX125" fmla="*/ 1559642 w 2818593"/>
              <a:gd name="connsiteY125" fmla="*/ 507190 h 1404566"/>
              <a:gd name="connsiteX126" fmla="*/ 1634652 w 2818593"/>
              <a:gd name="connsiteY126" fmla="*/ 491851 h 1404566"/>
              <a:gd name="connsiteX127" fmla="*/ 1637430 w 2818593"/>
              <a:gd name="connsiteY127" fmla="*/ 502077 h 1404566"/>
              <a:gd name="connsiteX128" fmla="*/ 1598536 w 2818593"/>
              <a:gd name="connsiteY128" fmla="*/ 509747 h 1404566"/>
              <a:gd name="connsiteX129" fmla="*/ 1595758 w 2818593"/>
              <a:gd name="connsiteY129" fmla="*/ 499520 h 1404566"/>
              <a:gd name="connsiteX130" fmla="*/ 1634652 w 2818593"/>
              <a:gd name="connsiteY130" fmla="*/ 491851 h 1404566"/>
              <a:gd name="connsiteX131" fmla="*/ 1712440 w 2818593"/>
              <a:gd name="connsiteY131" fmla="*/ 476510 h 1404566"/>
              <a:gd name="connsiteX132" fmla="*/ 1712440 w 2818593"/>
              <a:gd name="connsiteY132" fmla="*/ 486737 h 1404566"/>
              <a:gd name="connsiteX133" fmla="*/ 1676324 w 2818593"/>
              <a:gd name="connsiteY133" fmla="*/ 494407 h 1404566"/>
              <a:gd name="connsiteX134" fmla="*/ 1673546 w 2818593"/>
              <a:gd name="connsiteY134" fmla="*/ 484181 h 1404566"/>
              <a:gd name="connsiteX135" fmla="*/ 1712440 w 2818593"/>
              <a:gd name="connsiteY135" fmla="*/ 476510 h 1404566"/>
              <a:gd name="connsiteX136" fmla="*/ 1787449 w 2818593"/>
              <a:gd name="connsiteY136" fmla="*/ 463728 h 1404566"/>
              <a:gd name="connsiteX137" fmla="*/ 1790227 w 2818593"/>
              <a:gd name="connsiteY137" fmla="*/ 473954 h 1404566"/>
              <a:gd name="connsiteX138" fmla="*/ 1751333 w 2818593"/>
              <a:gd name="connsiteY138" fmla="*/ 479067 h 1404566"/>
              <a:gd name="connsiteX139" fmla="*/ 1748555 w 2818593"/>
              <a:gd name="connsiteY139" fmla="*/ 468841 h 1404566"/>
              <a:gd name="connsiteX140" fmla="*/ 1787449 w 2818593"/>
              <a:gd name="connsiteY140" fmla="*/ 463728 h 1404566"/>
              <a:gd name="connsiteX141" fmla="*/ 1865237 w 2818593"/>
              <a:gd name="connsiteY141" fmla="*/ 453501 h 1404566"/>
              <a:gd name="connsiteX142" fmla="*/ 1868015 w 2818593"/>
              <a:gd name="connsiteY142" fmla="*/ 463728 h 1404566"/>
              <a:gd name="connsiteX143" fmla="*/ 1829121 w 2818593"/>
              <a:gd name="connsiteY143" fmla="*/ 468841 h 1404566"/>
              <a:gd name="connsiteX144" fmla="*/ 1826343 w 2818593"/>
              <a:gd name="connsiteY144" fmla="*/ 458614 h 1404566"/>
              <a:gd name="connsiteX145" fmla="*/ 1865237 w 2818593"/>
              <a:gd name="connsiteY145" fmla="*/ 453501 h 1404566"/>
              <a:gd name="connsiteX146" fmla="*/ 1943025 w 2818593"/>
              <a:gd name="connsiteY146" fmla="*/ 440718 h 1404566"/>
              <a:gd name="connsiteX147" fmla="*/ 1943025 w 2818593"/>
              <a:gd name="connsiteY147" fmla="*/ 450944 h 1404566"/>
              <a:gd name="connsiteX148" fmla="*/ 1904131 w 2818593"/>
              <a:gd name="connsiteY148" fmla="*/ 456058 h 1404566"/>
              <a:gd name="connsiteX149" fmla="*/ 1904131 w 2818593"/>
              <a:gd name="connsiteY149" fmla="*/ 445831 h 1404566"/>
              <a:gd name="connsiteX150" fmla="*/ 1943025 w 2818593"/>
              <a:gd name="connsiteY150" fmla="*/ 440718 h 1404566"/>
              <a:gd name="connsiteX151" fmla="*/ 2018034 w 2818593"/>
              <a:gd name="connsiteY151" fmla="*/ 430491 h 1404566"/>
              <a:gd name="connsiteX152" fmla="*/ 2020812 w 2818593"/>
              <a:gd name="connsiteY152" fmla="*/ 440718 h 1404566"/>
              <a:gd name="connsiteX153" fmla="*/ 1981919 w 2818593"/>
              <a:gd name="connsiteY153" fmla="*/ 445831 h 1404566"/>
              <a:gd name="connsiteX154" fmla="*/ 1979140 w 2818593"/>
              <a:gd name="connsiteY154" fmla="*/ 435605 h 1404566"/>
              <a:gd name="connsiteX155" fmla="*/ 2018034 w 2818593"/>
              <a:gd name="connsiteY155" fmla="*/ 430491 h 1404566"/>
              <a:gd name="connsiteX156" fmla="*/ 2095822 w 2818593"/>
              <a:gd name="connsiteY156" fmla="*/ 417708 h 1404566"/>
              <a:gd name="connsiteX157" fmla="*/ 2098600 w 2818593"/>
              <a:gd name="connsiteY157" fmla="*/ 427935 h 1404566"/>
              <a:gd name="connsiteX158" fmla="*/ 2059706 w 2818593"/>
              <a:gd name="connsiteY158" fmla="*/ 433048 h 1404566"/>
              <a:gd name="connsiteX159" fmla="*/ 2056928 w 2818593"/>
              <a:gd name="connsiteY159" fmla="*/ 425378 h 1404566"/>
              <a:gd name="connsiteX160" fmla="*/ 2095822 w 2818593"/>
              <a:gd name="connsiteY160" fmla="*/ 417708 h 1404566"/>
              <a:gd name="connsiteX161" fmla="*/ 2170832 w 2818593"/>
              <a:gd name="connsiteY161" fmla="*/ 404925 h 1404566"/>
              <a:gd name="connsiteX162" fmla="*/ 2173610 w 2818593"/>
              <a:gd name="connsiteY162" fmla="*/ 415152 h 1404566"/>
              <a:gd name="connsiteX163" fmla="*/ 2134716 w 2818593"/>
              <a:gd name="connsiteY163" fmla="*/ 420264 h 1404566"/>
              <a:gd name="connsiteX164" fmla="*/ 2134716 w 2818593"/>
              <a:gd name="connsiteY164" fmla="*/ 410038 h 1404566"/>
              <a:gd name="connsiteX165" fmla="*/ 2170832 w 2818593"/>
              <a:gd name="connsiteY165" fmla="*/ 404925 h 1404566"/>
              <a:gd name="connsiteX166" fmla="*/ 2245841 w 2818593"/>
              <a:gd name="connsiteY166" fmla="*/ 387028 h 1404566"/>
              <a:gd name="connsiteX167" fmla="*/ 2248620 w 2818593"/>
              <a:gd name="connsiteY167" fmla="*/ 397255 h 1404566"/>
              <a:gd name="connsiteX168" fmla="*/ 2212504 w 2818593"/>
              <a:gd name="connsiteY168" fmla="*/ 407482 h 1404566"/>
              <a:gd name="connsiteX169" fmla="*/ 2209726 w 2818593"/>
              <a:gd name="connsiteY169" fmla="*/ 397255 h 1404566"/>
              <a:gd name="connsiteX170" fmla="*/ 2245841 w 2818593"/>
              <a:gd name="connsiteY170" fmla="*/ 387028 h 1404566"/>
              <a:gd name="connsiteX171" fmla="*/ 2320851 w 2818593"/>
              <a:gd name="connsiteY171" fmla="*/ 369132 h 1404566"/>
              <a:gd name="connsiteX172" fmla="*/ 2326407 w 2818593"/>
              <a:gd name="connsiteY172" fmla="*/ 379359 h 1404566"/>
              <a:gd name="connsiteX173" fmla="*/ 2287513 w 2818593"/>
              <a:gd name="connsiteY173" fmla="*/ 389585 h 1404566"/>
              <a:gd name="connsiteX174" fmla="*/ 2284735 w 2818593"/>
              <a:gd name="connsiteY174" fmla="*/ 379359 h 1404566"/>
              <a:gd name="connsiteX175" fmla="*/ 2320851 w 2818593"/>
              <a:gd name="connsiteY175" fmla="*/ 369132 h 1404566"/>
              <a:gd name="connsiteX176" fmla="*/ 2395861 w 2818593"/>
              <a:gd name="connsiteY176" fmla="*/ 346123 h 1404566"/>
              <a:gd name="connsiteX177" fmla="*/ 2398639 w 2818593"/>
              <a:gd name="connsiteY177" fmla="*/ 356349 h 1404566"/>
              <a:gd name="connsiteX178" fmla="*/ 2362523 w 2818593"/>
              <a:gd name="connsiteY178" fmla="*/ 366576 h 1404566"/>
              <a:gd name="connsiteX179" fmla="*/ 2359745 w 2818593"/>
              <a:gd name="connsiteY179" fmla="*/ 358905 h 1404566"/>
              <a:gd name="connsiteX180" fmla="*/ 2395861 w 2818593"/>
              <a:gd name="connsiteY180" fmla="*/ 346123 h 1404566"/>
              <a:gd name="connsiteX181" fmla="*/ 2468092 w 2818593"/>
              <a:gd name="connsiteY181" fmla="*/ 320557 h 1404566"/>
              <a:gd name="connsiteX182" fmla="*/ 2470870 w 2818593"/>
              <a:gd name="connsiteY182" fmla="*/ 328226 h 1404566"/>
              <a:gd name="connsiteX183" fmla="*/ 2434755 w 2818593"/>
              <a:gd name="connsiteY183" fmla="*/ 343566 h 1404566"/>
              <a:gd name="connsiteX184" fmla="*/ 2431976 w 2818593"/>
              <a:gd name="connsiteY184" fmla="*/ 333339 h 1404566"/>
              <a:gd name="connsiteX185" fmla="*/ 2468092 w 2818593"/>
              <a:gd name="connsiteY185" fmla="*/ 320557 h 1404566"/>
              <a:gd name="connsiteX186" fmla="*/ 2534767 w 2818593"/>
              <a:gd name="connsiteY186" fmla="*/ 284764 h 1404566"/>
              <a:gd name="connsiteX187" fmla="*/ 2540324 w 2818593"/>
              <a:gd name="connsiteY187" fmla="*/ 294990 h 1404566"/>
              <a:gd name="connsiteX188" fmla="*/ 2506986 w 2818593"/>
              <a:gd name="connsiteY188" fmla="*/ 312887 h 1404566"/>
              <a:gd name="connsiteX189" fmla="*/ 2501430 w 2818593"/>
              <a:gd name="connsiteY189" fmla="*/ 302660 h 1404566"/>
              <a:gd name="connsiteX190" fmla="*/ 2534767 w 2818593"/>
              <a:gd name="connsiteY190" fmla="*/ 284764 h 1404566"/>
              <a:gd name="connsiteX191" fmla="*/ 2598664 w 2818593"/>
              <a:gd name="connsiteY191" fmla="*/ 246414 h 1404566"/>
              <a:gd name="connsiteX192" fmla="*/ 2604221 w 2818593"/>
              <a:gd name="connsiteY192" fmla="*/ 254084 h 1404566"/>
              <a:gd name="connsiteX193" fmla="*/ 2573661 w 2818593"/>
              <a:gd name="connsiteY193" fmla="*/ 274537 h 1404566"/>
              <a:gd name="connsiteX194" fmla="*/ 2568105 w 2818593"/>
              <a:gd name="connsiteY194" fmla="*/ 266867 h 1404566"/>
              <a:gd name="connsiteX195" fmla="*/ 2598664 w 2818593"/>
              <a:gd name="connsiteY195" fmla="*/ 246414 h 1404566"/>
              <a:gd name="connsiteX196" fmla="*/ 2657005 w 2818593"/>
              <a:gd name="connsiteY196" fmla="*/ 197838 h 1404566"/>
              <a:gd name="connsiteX197" fmla="*/ 2665340 w 2818593"/>
              <a:gd name="connsiteY197" fmla="*/ 205508 h 1404566"/>
              <a:gd name="connsiteX198" fmla="*/ 2634780 w 2818593"/>
              <a:gd name="connsiteY198" fmla="*/ 231075 h 1404566"/>
              <a:gd name="connsiteX199" fmla="*/ 2629224 w 2818593"/>
              <a:gd name="connsiteY199" fmla="*/ 223405 h 1404566"/>
              <a:gd name="connsiteX200" fmla="*/ 2657005 w 2818593"/>
              <a:gd name="connsiteY200" fmla="*/ 197838 h 1404566"/>
              <a:gd name="connsiteX201" fmla="*/ 2709790 w 2818593"/>
              <a:gd name="connsiteY201" fmla="*/ 146706 h 1404566"/>
              <a:gd name="connsiteX202" fmla="*/ 2718124 w 2818593"/>
              <a:gd name="connsiteY202" fmla="*/ 151819 h 1404566"/>
              <a:gd name="connsiteX203" fmla="*/ 2690343 w 2818593"/>
              <a:gd name="connsiteY203" fmla="*/ 179942 h 1404566"/>
              <a:gd name="connsiteX204" fmla="*/ 2682008 w 2818593"/>
              <a:gd name="connsiteY204" fmla="*/ 172272 h 1404566"/>
              <a:gd name="connsiteX205" fmla="*/ 2709790 w 2818593"/>
              <a:gd name="connsiteY205" fmla="*/ 146706 h 1404566"/>
              <a:gd name="connsiteX206" fmla="*/ 2754240 w 2818593"/>
              <a:gd name="connsiteY206" fmla="*/ 90460 h 1404566"/>
              <a:gd name="connsiteX207" fmla="*/ 2762574 w 2818593"/>
              <a:gd name="connsiteY207" fmla="*/ 95573 h 1404566"/>
              <a:gd name="connsiteX208" fmla="*/ 2740349 w 2818593"/>
              <a:gd name="connsiteY208" fmla="*/ 123696 h 1404566"/>
              <a:gd name="connsiteX209" fmla="*/ 2732015 w 2818593"/>
              <a:gd name="connsiteY209" fmla="*/ 118583 h 1404566"/>
              <a:gd name="connsiteX210" fmla="*/ 2754240 w 2818593"/>
              <a:gd name="connsiteY210" fmla="*/ 90460 h 1404566"/>
              <a:gd name="connsiteX211" fmla="*/ 2793134 w 2818593"/>
              <a:gd name="connsiteY211" fmla="*/ 26544 h 1404566"/>
              <a:gd name="connsiteX212" fmla="*/ 2801468 w 2818593"/>
              <a:gd name="connsiteY212" fmla="*/ 31658 h 1404566"/>
              <a:gd name="connsiteX213" fmla="*/ 2784799 w 2818593"/>
              <a:gd name="connsiteY213" fmla="*/ 64893 h 1404566"/>
              <a:gd name="connsiteX214" fmla="*/ 2773687 w 2818593"/>
              <a:gd name="connsiteY214" fmla="*/ 59781 h 1404566"/>
              <a:gd name="connsiteX215" fmla="*/ 2793134 w 2818593"/>
              <a:gd name="connsiteY215" fmla="*/ 26544 h 1404566"/>
              <a:gd name="connsiteX216" fmla="*/ 2816543 w 2818593"/>
              <a:gd name="connsiteY216" fmla="*/ 0 h 1404566"/>
              <a:gd name="connsiteX217" fmla="*/ 2818593 w 2818593"/>
              <a:gd name="connsiteY217" fmla="*/ 0 h 1404566"/>
              <a:gd name="connsiteX218" fmla="*/ 2818137 w 2818593"/>
              <a:gd name="connsiteY218" fmla="*/ 978 h 1404566"/>
              <a:gd name="connsiteX219" fmla="*/ 2817095 w 2818593"/>
              <a:gd name="connsiteY219" fmla="*/ 339 h 140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818593" h="1404566">
                <a:moveTo>
                  <a:pt x="0" y="1394340"/>
                </a:moveTo>
                <a:lnTo>
                  <a:pt x="6665" y="1394340"/>
                </a:lnTo>
                <a:lnTo>
                  <a:pt x="6665" y="1404566"/>
                </a:lnTo>
                <a:lnTo>
                  <a:pt x="0" y="1404566"/>
                </a:lnTo>
                <a:close/>
                <a:moveTo>
                  <a:pt x="81675" y="1386670"/>
                </a:moveTo>
                <a:cubicBezTo>
                  <a:pt x="81675" y="1386670"/>
                  <a:pt x="81675" y="1386670"/>
                  <a:pt x="84453" y="1396896"/>
                </a:cubicBezTo>
                <a:cubicBezTo>
                  <a:pt x="70562" y="1399453"/>
                  <a:pt x="59450" y="1399453"/>
                  <a:pt x="45559" y="1402010"/>
                </a:cubicBezTo>
                <a:cubicBezTo>
                  <a:pt x="45559" y="1402010"/>
                  <a:pt x="45559" y="1402010"/>
                  <a:pt x="42781" y="1391783"/>
                </a:cubicBezTo>
                <a:cubicBezTo>
                  <a:pt x="56672" y="1389226"/>
                  <a:pt x="70562" y="1389226"/>
                  <a:pt x="81675" y="1386670"/>
                </a:cubicBezTo>
                <a:close/>
                <a:moveTo>
                  <a:pt x="156684" y="1371330"/>
                </a:moveTo>
                <a:cubicBezTo>
                  <a:pt x="156684" y="1371330"/>
                  <a:pt x="156684" y="1371330"/>
                  <a:pt x="159462" y="1381557"/>
                </a:cubicBezTo>
                <a:cubicBezTo>
                  <a:pt x="148350" y="1384113"/>
                  <a:pt x="134459" y="1386670"/>
                  <a:pt x="123347" y="1389226"/>
                </a:cubicBezTo>
                <a:cubicBezTo>
                  <a:pt x="123347" y="1389226"/>
                  <a:pt x="123347" y="1389226"/>
                  <a:pt x="120569" y="1379000"/>
                </a:cubicBezTo>
                <a:cubicBezTo>
                  <a:pt x="131681" y="1376443"/>
                  <a:pt x="145572" y="1373887"/>
                  <a:pt x="156684" y="1371330"/>
                </a:cubicBezTo>
                <a:close/>
                <a:moveTo>
                  <a:pt x="231694" y="1348320"/>
                </a:moveTo>
                <a:cubicBezTo>
                  <a:pt x="231694" y="1348320"/>
                  <a:pt x="231694" y="1348320"/>
                  <a:pt x="234472" y="1358547"/>
                </a:cubicBezTo>
                <a:cubicBezTo>
                  <a:pt x="228916" y="1361104"/>
                  <a:pt x="223360" y="1363660"/>
                  <a:pt x="217803" y="1363660"/>
                </a:cubicBezTo>
                <a:cubicBezTo>
                  <a:pt x="209469" y="1366217"/>
                  <a:pt x="203913" y="1368773"/>
                  <a:pt x="198356" y="1371330"/>
                </a:cubicBezTo>
                <a:cubicBezTo>
                  <a:pt x="198356" y="1371330"/>
                  <a:pt x="198356" y="1371330"/>
                  <a:pt x="195578" y="1361104"/>
                </a:cubicBezTo>
                <a:cubicBezTo>
                  <a:pt x="201134" y="1358547"/>
                  <a:pt x="206691" y="1355990"/>
                  <a:pt x="212247" y="1355990"/>
                </a:cubicBezTo>
                <a:cubicBezTo>
                  <a:pt x="220581" y="1353434"/>
                  <a:pt x="226138" y="1350877"/>
                  <a:pt x="231694" y="1348320"/>
                </a:cubicBezTo>
                <a:close/>
                <a:moveTo>
                  <a:pt x="303925" y="1322754"/>
                </a:moveTo>
                <a:cubicBezTo>
                  <a:pt x="303925" y="1322754"/>
                  <a:pt x="303925" y="1322754"/>
                  <a:pt x="306704" y="1330424"/>
                </a:cubicBezTo>
                <a:cubicBezTo>
                  <a:pt x="295591" y="1335537"/>
                  <a:pt x="284479" y="1340651"/>
                  <a:pt x="270588" y="1345764"/>
                </a:cubicBezTo>
                <a:cubicBezTo>
                  <a:pt x="270588" y="1345764"/>
                  <a:pt x="270588" y="1345764"/>
                  <a:pt x="267810" y="1335537"/>
                </a:cubicBezTo>
                <a:cubicBezTo>
                  <a:pt x="278922" y="1330424"/>
                  <a:pt x="290035" y="1327867"/>
                  <a:pt x="303925" y="1322754"/>
                </a:cubicBezTo>
                <a:close/>
                <a:moveTo>
                  <a:pt x="373379" y="1292075"/>
                </a:moveTo>
                <a:cubicBezTo>
                  <a:pt x="373379" y="1292075"/>
                  <a:pt x="373379" y="1292075"/>
                  <a:pt x="378935" y="1302301"/>
                </a:cubicBezTo>
                <a:cubicBezTo>
                  <a:pt x="367823" y="1307414"/>
                  <a:pt x="353932" y="1312528"/>
                  <a:pt x="342819" y="1317641"/>
                </a:cubicBezTo>
                <a:cubicBezTo>
                  <a:pt x="342819" y="1317641"/>
                  <a:pt x="342819" y="1317641"/>
                  <a:pt x="337263" y="1307414"/>
                </a:cubicBezTo>
                <a:cubicBezTo>
                  <a:pt x="351154" y="1302301"/>
                  <a:pt x="362266" y="1297188"/>
                  <a:pt x="373379" y="1292075"/>
                </a:cubicBezTo>
                <a:close/>
                <a:moveTo>
                  <a:pt x="440054" y="1258839"/>
                </a:moveTo>
                <a:lnTo>
                  <a:pt x="445610" y="1266508"/>
                </a:lnTo>
                <a:cubicBezTo>
                  <a:pt x="434498" y="1274178"/>
                  <a:pt x="423385" y="1279292"/>
                  <a:pt x="412273" y="1284405"/>
                </a:cubicBezTo>
                <a:cubicBezTo>
                  <a:pt x="412273" y="1284405"/>
                  <a:pt x="412273" y="1284405"/>
                  <a:pt x="406716" y="1276735"/>
                </a:cubicBezTo>
                <a:cubicBezTo>
                  <a:pt x="417829" y="1269065"/>
                  <a:pt x="428942" y="1263952"/>
                  <a:pt x="440054" y="1258839"/>
                </a:cubicBezTo>
                <a:close/>
                <a:moveTo>
                  <a:pt x="506729" y="1220489"/>
                </a:moveTo>
                <a:lnTo>
                  <a:pt x="512286" y="1230716"/>
                </a:lnTo>
                <a:cubicBezTo>
                  <a:pt x="501173" y="1235829"/>
                  <a:pt x="490060" y="1243499"/>
                  <a:pt x="478948" y="1248612"/>
                </a:cubicBezTo>
                <a:cubicBezTo>
                  <a:pt x="478948" y="1248612"/>
                  <a:pt x="478948" y="1248612"/>
                  <a:pt x="473392" y="1240942"/>
                </a:cubicBezTo>
                <a:cubicBezTo>
                  <a:pt x="484504" y="1233272"/>
                  <a:pt x="495617" y="1228159"/>
                  <a:pt x="506729" y="1220489"/>
                </a:cubicBezTo>
                <a:close/>
                <a:moveTo>
                  <a:pt x="570626" y="1179583"/>
                </a:moveTo>
                <a:cubicBezTo>
                  <a:pt x="570626" y="1179583"/>
                  <a:pt x="570626" y="1179583"/>
                  <a:pt x="576183" y="1189810"/>
                </a:cubicBezTo>
                <a:cubicBezTo>
                  <a:pt x="567848" y="1194923"/>
                  <a:pt x="556736" y="1202593"/>
                  <a:pt x="545623" y="1210263"/>
                </a:cubicBezTo>
                <a:cubicBezTo>
                  <a:pt x="545623" y="1210263"/>
                  <a:pt x="545623" y="1210263"/>
                  <a:pt x="540067" y="1200036"/>
                </a:cubicBezTo>
                <a:cubicBezTo>
                  <a:pt x="551179" y="1194923"/>
                  <a:pt x="559514" y="1187253"/>
                  <a:pt x="570626" y="1179583"/>
                </a:cubicBezTo>
                <a:close/>
                <a:moveTo>
                  <a:pt x="631745" y="1136120"/>
                </a:moveTo>
                <a:cubicBezTo>
                  <a:pt x="631745" y="1136120"/>
                  <a:pt x="631745" y="1136120"/>
                  <a:pt x="640080" y="1143790"/>
                </a:cubicBezTo>
                <a:cubicBezTo>
                  <a:pt x="628967" y="1151460"/>
                  <a:pt x="617855" y="1159130"/>
                  <a:pt x="609520" y="1166800"/>
                </a:cubicBezTo>
                <a:cubicBezTo>
                  <a:pt x="609520" y="1166800"/>
                  <a:pt x="609520" y="1166800"/>
                  <a:pt x="601186" y="1159130"/>
                </a:cubicBezTo>
                <a:cubicBezTo>
                  <a:pt x="612298" y="1151460"/>
                  <a:pt x="623411" y="1143790"/>
                  <a:pt x="631745" y="1136120"/>
                </a:cubicBezTo>
                <a:close/>
                <a:moveTo>
                  <a:pt x="690086" y="1090101"/>
                </a:moveTo>
                <a:cubicBezTo>
                  <a:pt x="690086" y="1090101"/>
                  <a:pt x="690086" y="1090101"/>
                  <a:pt x="698421" y="1097771"/>
                </a:cubicBezTo>
                <a:cubicBezTo>
                  <a:pt x="690086" y="1105441"/>
                  <a:pt x="678974" y="1113111"/>
                  <a:pt x="667861" y="1120781"/>
                </a:cubicBezTo>
                <a:cubicBezTo>
                  <a:pt x="667861" y="1120781"/>
                  <a:pt x="667861" y="1120781"/>
                  <a:pt x="662305" y="1113111"/>
                </a:cubicBezTo>
                <a:cubicBezTo>
                  <a:pt x="670639" y="1105441"/>
                  <a:pt x="681752" y="1097771"/>
                  <a:pt x="690086" y="1090101"/>
                </a:cubicBezTo>
                <a:close/>
                <a:moveTo>
                  <a:pt x="748427" y="1041525"/>
                </a:moveTo>
                <a:cubicBezTo>
                  <a:pt x="748427" y="1041525"/>
                  <a:pt x="748427" y="1041525"/>
                  <a:pt x="756761" y="1049195"/>
                </a:cubicBezTo>
                <a:cubicBezTo>
                  <a:pt x="745649" y="1059422"/>
                  <a:pt x="737314" y="1067092"/>
                  <a:pt x="726202" y="1074761"/>
                </a:cubicBezTo>
                <a:cubicBezTo>
                  <a:pt x="726202" y="1074761"/>
                  <a:pt x="726202" y="1074761"/>
                  <a:pt x="720646" y="1067092"/>
                </a:cubicBezTo>
                <a:cubicBezTo>
                  <a:pt x="728980" y="1059422"/>
                  <a:pt x="740093" y="1051752"/>
                  <a:pt x="748427" y="1041525"/>
                </a:cubicBezTo>
                <a:close/>
                <a:moveTo>
                  <a:pt x="803990" y="992949"/>
                </a:moveTo>
                <a:lnTo>
                  <a:pt x="812324" y="1000619"/>
                </a:lnTo>
                <a:cubicBezTo>
                  <a:pt x="803990" y="1008289"/>
                  <a:pt x="792877" y="1015959"/>
                  <a:pt x="784543" y="1026186"/>
                </a:cubicBezTo>
                <a:cubicBezTo>
                  <a:pt x="784543" y="1026186"/>
                  <a:pt x="784543" y="1026186"/>
                  <a:pt x="776208" y="1018516"/>
                </a:cubicBezTo>
                <a:cubicBezTo>
                  <a:pt x="784543" y="1010846"/>
                  <a:pt x="795655" y="1000619"/>
                  <a:pt x="803990" y="992949"/>
                </a:cubicBezTo>
                <a:close/>
                <a:moveTo>
                  <a:pt x="859552" y="941816"/>
                </a:moveTo>
                <a:cubicBezTo>
                  <a:pt x="859552" y="941816"/>
                  <a:pt x="859552" y="941816"/>
                  <a:pt x="867887" y="949487"/>
                </a:cubicBezTo>
                <a:cubicBezTo>
                  <a:pt x="859552" y="957157"/>
                  <a:pt x="848440" y="967383"/>
                  <a:pt x="840105" y="975053"/>
                </a:cubicBezTo>
                <a:cubicBezTo>
                  <a:pt x="840105" y="975053"/>
                  <a:pt x="840105" y="975053"/>
                  <a:pt x="831771" y="967383"/>
                </a:cubicBezTo>
                <a:cubicBezTo>
                  <a:pt x="840105" y="959713"/>
                  <a:pt x="851218" y="952043"/>
                  <a:pt x="859552" y="941816"/>
                </a:cubicBezTo>
                <a:close/>
                <a:moveTo>
                  <a:pt x="915115" y="890684"/>
                </a:moveTo>
                <a:cubicBezTo>
                  <a:pt x="915115" y="890684"/>
                  <a:pt x="915115" y="890684"/>
                  <a:pt x="923449" y="898354"/>
                </a:cubicBezTo>
                <a:cubicBezTo>
                  <a:pt x="912337" y="908581"/>
                  <a:pt x="904002" y="916250"/>
                  <a:pt x="895668" y="923920"/>
                </a:cubicBezTo>
                <a:cubicBezTo>
                  <a:pt x="895668" y="923920"/>
                  <a:pt x="895668" y="923920"/>
                  <a:pt x="887334" y="916250"/>
                </a:cubicBezTo>
                <a:cubicBezTo>
                  <a:pt x="895668" y="908581"/>
                  <a:pt x="904002" y="900911"/>
                  <a:pt x="915115" y="890684"/>
                </a:cubicBezTo>
                <a:close/>
                <a:moveTo>
                  <a:pt x="970678" y="842108"/>
                </a:moveTo>
                <a:cubicBezTo>
                  <a:pt x="970678" y="842108"/>
                  <a:pt x="970678" y="842108"/>
                  <a:pt x="976234" y="849778"/>
                </a:cubicBezTo>
                <a:cubicBezTo>
                  <a:pt x="967900" y="857448"/>
                  <a:pt x="959565" y="865118"/>
                  <a:pt x="948453" y="872788"/>
                </a:cubicBezTo>
                <a:cubicBezTo>
                  <a:pt x="948453" y="872788"/>
                  <a:pt x="948453" y="872788"/>
                  <a:pt x="942896" y="867675"/>
                </a:cubicBezTo>
                <a:cubicBezTo>
                  <a:pt x="951231" y="857448"/>
                  <a:pt x="959565" y="849778"/>
                  <a:pt x="970678" y="842108"/>
                </a:cubicBezTo>
                <a:close/>
                <a:moveTo>
                  <a:pt x="1026240" y="790976"/>
                </a:moveTo>
                <a:cubicBezTo>
                  <a:pt x="1026240" y="790976"/>
                  <a:pt x="1026240" y="790976"/>
                  <a:pt x="1031797" y="798645"/>
                </a:cubicBezTo>
                <a:cubicBezTo>
                  <a:pt x="1023462" y="806316"/>
                  <a:pt x="1015128" y="813985"/>
                  <a:pt x="1004015" y="824212"/>
                </a:cubicBezTo>
                <a:cubicBezTo>
                  <a:pt x="1004015" y="824212"/>
                  <a:pt x="1004015" y="824212"/>
                  <a:pt x="998459" y="816542"/>
                </a:cubicBezTo>
                <a:cubicBezTo>
                  <a:pt x="1006793" y="808872"/>
                  <a:pt x="1015128" y="798645"/>
                  <a:pt x="1026240" y="790976"/>
                </a:cubicBezTo>
                <a:close/>
                <a:moveTo>
                  <a:pt x="1081803" y="742400"/>
                </a:moveTo>
                <a:cubicBezTo>
                  <a:pt x="1081803" y="742400"/>
                  <a:pt x="1081803" y="742400"/>
                  <a:pt x="1090137" y="750070"/>
                </a:cubicBezTo>
                <a:cubicBezTo>
                  <a:pt x="1079025" y="757740"/>
                  <a:pt x="1070691" y="765410"/>
                  <a:pt x="1062356" y="773079"/>
                </a:cubicBezTo>
                <a:cubicBezTo>
                  <a:pt x="1062356" y="773079"/>
                  <a:pt x="1062356" y="773079"/>
                  <a:pt x="1054022" y="765410"/>
                </a:cubicBezTo>
                <a:cubicBezTo>
                  <a:pt x="1062356" y="757740"/>
                  <a:pt x="1073469" y="750070"/>
                  <a:pt x="1081803" y="742400"/>
                </a:cubicBezTo>
                <a:close/>
                <a:moveTo>
                  <a:pt x="1140144" y="693824"/>
                </a:moveTo>
                <a:cubicBezTo>
                  <a:pt x="1140144" y="693824"/>
                  <a:pt x="1140144" y="693824"/>
                  <a:pt x="1148478" y="704051"/>
                </a:cubicBezTo>
                <a:cubicBezTo>
                  <a:pt x="1137366" y="709163"/>
                  <a:pt x="1129031" y="716834"/>
                  <a:pt x="1117919" y="727060"/>
                </a:cubicBezTo>
                <a:cubicBezTo>
                  <a:pt x="1117919" y="727060"/>
                  <a:pt x="1117919" y="727060"/>
                  <a:pt x="1112363" y="719390"/>
                </a:cubicBezTo>
                <a:cubicBezTo>
                  <a:pt x="1120697" y="709163"/>
                  <a:pt x="1131810" y="701494"/>
                  <a:pt x="1140144" y="693824"/>
                </a:cubicBezTo>
                <a:close/>
                <a:moveTo>
                  <a:pt x="1204041" y="652918"/>
                </a:moveTo>
                <a:cubicBezTo>
                  <a:pt x="1204041" y="652918"/>
                  <a:pt x="1204041" y="652918"/>
                  <a:pt x="1209597" y="660588"/>
                </a:cubicBezTo>
                <a:cubicBezTo>
                  <a:pt x="1198485" y="668258"/>
                  <a:pt x="1190150" y="673371"/>
                  <a:pt x="1179038" y="681040"/>
                </a:cubicBezTo>
                <a:cubicBezTo>
                  <a:pt x="1179038" y="681040"/>
                  <a:pt x="1179038" y="681040"/>
                  <a:pt x="1170703" y="673371"/>
                </a:cubicBezTo>
                <a:cubicBezTo>
                  <a:pt x="1181816" y="665701"/>
                  <a:pt x="1192929" y="658031"/>
                  <a:pt x="1204041" y="652918"/>
                </a:cubicBezTo>
                <a:close/>
                <a:moveTo>
                  <a:pt x="1270716" y="614569"/>
                </a:moveTo>
                <a:cubicBezTo>
                  <a:pt x="1270716" y="614569"/>
                  <a:pt x="1270716" y="614569"/>
                  <a:pt x="1276273" y="622238"/>
                </a:cubicBezTo>
                <a:cubicBezTo>
                  <a:pt x="1265160" y="627352"/>
                  <a:pt x="1254047" y="635022"/>
                  <a:pt x="1242935" y="640135"/>
                </a:cubicBezTo>
                <a:cubicBezTo>
                  <a:pt x="1242935" y="640135"/>
                  <a:pt x="1242935" y="640135"/>
                  <a:pt x="1237379" y="632465"/>
                </a:cubicBezTo>
                <a:cubicBezTo>
                  <a:pt x="1248491" y="624795"/>
                  <a:pt x="1259604" y="619682"/>
                  <a:pt x="1270716" y="614569"/>
                </a:cubicBezTo>
                <a:close/>
                <a:moveTo>
                  <a:pt x="1340170" y="581332"/>
                </a:moveTo>
                <a:cubicBezTo>
                  <a:pt x="1340170" y="581332"/>
                  <a:pt x="1340170" y="581332"/>
                  <a:pt x="1342948" y="589002"/>
                </a:cubicBezTo>
                <a:cubicBezTo>
                  <a:pt x="1331835" y="594116"/>
                  <a:pt x="1320723" y="599229"/>
                  <a:pt x="1309610" y="604342"/>
                </a:cubicBezTo>
                <a:cubicBezTo>
                  <a:pt x="1309610" y="604342"/>
                  <a:pt x="1309610" y="604342"/>
                  <a:pt x="1304054" y="596672"/>
                </a:cubicBezTo>
                <a:cubicBezTo>
                  <a:pt x="1315166" y="591558"/>
                  <a:pt x="1326279" y="586446"/>
                  <a:pt x="1340170" y="581332"/>
                </a:cubicBezTo>
                <a:close/>
                <a:moveTo>
                  <a:pt x="1409623" y="553210"/>
                </a:moveTo>
                <a:cubicBezTo>
                  <a:pt x="1409623" y="553210"/>
                  <a:pt x="1409623" y="553210"/>
                  <a:pt x="1415179" y="560879"/>
                </a:cubicBezTo>
                <a:cubicBezTo>
                  <a:pt x="1404067" y="565992"/>
                  <a:pt x="1390176" y="571106"/>
                  <a:pt x="1379064" y="576219"/>
                </a:cubicBezTo>
                <a:cubicBezTo>
                  <a:pt x="1379064" y="576219"/>
                  <a:pt x="1379064" y="576219"/>
                  <a:pt x="1373507" y="565992"/>
                </a:cubicBezTo>
                <a:cubicBezTo>
                  <a:pt x="1387398" y="560879"/>
                  <a:pt x="1398510" y="555766"/>
                  <a:pt x="1409623" y="553210"/>
                </a:cubicBezTo>
                <a:close/>
                <a:moveTo>
                  <a:pt x="1484633" y="527643"/>
                </a:moveTo>
                <a:cubicBezTo>
                  <a:pt x="1484633" y="527643"/>
                  <a:pt x="1484633" y="527643"/>
                  <a:pt x="1487411" y="537869"/>
                </a:cubicBezTo>
                <a:cubicBezTo>
                  <a:pt x="1476298" y="540426"/>
                  <a:pt x="1462408" y="545540"/>
                  <a:pt x="1451295" y="548096"/>
                </a:cubicBezTo>
                <a:cubicBezTo>
                  <a:pt x="1451295" y="548096"/>
                  <a:pt x="1451295" y="548096"/>
                  <a:pt x="1448517" y="540426"/>
                </a:cubicBezTo>
                <a:cubicBezTo>
                  <a:pt x="1459629" y="535313"/>
                  <a:pt x="1470742" y="532757"/>
                  <a:pt x="1484633" y="527643"/>
                </a:cubicBezTo>
                <a:close/>
                <a:moveTo>
                  <a:pt x="1559642" y="507190"/>
                </a:moveTo>
                <a:cubicBezTo>
                  <a:pt x="1559642" y="507190"/>
                  <a:pt x="1559642" y="507190"/>
                  <a:pt x="1562420" y="517417"/>
                </a:cubicBezTo>
                <a:cubicBezTo>
                  <a:pt x="1548530" y="519973"/>
                  <a:pt x="1537417" y="525087"/>
                  <a:pt x="1523526" y="527643"/>
                </a:cubicBezTo>
                <a:cubicBezTo>
                  <a:pt x="1523526" y="527643"/>
                  <a:pt x="1523526" y="527643"/>
                  <a:pt x="1520748" y="517417"/>
                </a:cubicBezTo>
                <a:cubicBezTo>
                  <a:pt x="1534639" y="514860"/>
                  <a:pt x="1545752" y="509747"/>
                  <a:pt x="1559642" y="507190"/>
                </a:cubicBezTo>
                <a:close/>
                <a:moveTo>
                  <a:pt x="1634652" y="491851"/>
                </a:moveTo>
                <a:cubicBezTo>
                  <a:pt x="1634652" y="491851"/>
                  <a:pt x="1634652" y="491851"/>
                  <a:pt x="1637430" y="502077"/>
                </a:cubicBezTo>
                <a:cubicBezTo>
                  <a:pt x="1623539" y="504633"/>
                  <a:pt x="1612427" y="507190"/>
                  <a:pt x="1598536" y="509747"/>
                </a:cubicBezTo>
                <a:cubicBezTo>
                  <a:pt x="1598536" y="509747"/>
                  <a:pt x="1598536" y="509747"/>
                  <a:pt x="1595758" y="499520"/>
                </a:cubicBezTo>
                <a:cubicBezTo>
                  <a:pt x="1609649" y="496964"/>
                  <a:pt x="1623539" y="494407"/>
                  <a:pt x="1634652" y="491851"/>
                </a:cubicBezTo>
                <a:close/>
                <a:moveTo>
                  <a:pt x="1712440" y="476510"/>
                </a:moveTo>
                <a:cubicBezTo>
                  <a:pt x="1712440" y="476510"/>
                  <a:pt x="1712440" y="476510"/>
                  <a:pt x="1712440" y="486737"/>
                </a:cubicBezTo>
                <a:cubicBezTo>
                  <a:pt x="1701327" y="489294"/>
                  <a:pt x="1687436" y="491851"/>
                  <a:pt x="1676324" y="494407"/>
                </a:cubicBezTo>
                <a:cubicBezTo>
                  <a:pt x="1676324" y="494407"/>
                  <a:pt x="1676324" y="494407"/>
                  <a:pt x="1673546" y="484181"/>
                </a:cubicBezTo>
                <a:cubicBezTo>
                  <a:pt x="1684658" y="481624"/>
                  <a:pt x="1698549" y="479067"/>
                  <a:pt x="1712440" y="476510"/>
                </a:cubicBezTo>
                <a:close/>
                <a:moveTo>
                  <a:pt x="1787449" y="463728"/>
                </a:moveTo>
                <a:lnTo>
                  <a:pt x="1790227" y="473954"/>
                </a:lnTo>
                <a:cubicBezTo>
                  <a:pt x="1776337" y="476510"/>
                  <a:pt x="1765224" y="479067"/>
                  <a:pt x="1751333" y="479067"/>
                </a:cubicBezTo>
                <a:cubicBezTo>
                  <a:pt x="1751333" y="479067"/>
                  <a:pt x="1751333" y="479067"/>
                  <a:pt x="1748555" y="468841"/>
                </a:cubicBezTo>
                <a:cubicBezTo>
                  <a:pt x="1762446" y="468841"/>
                  <a:pt x="1776337" y="466284"/>
                  <a:pt x="1787449" y="463728"/>
                </a:cubicBezTo>
                <a:close/>
                <a:moveTo>
                  <a:pt x="1865237" y="453501"/>
                </a:moveTo>
                <a:cubicBezTo>
                  <a:pt x="1865237" y="453501"/>
                  <a:pt x="1865237" y="453501"/>
                  <a:pt x="1868015" y="463728"/>
                </a:cubicBezTo>
                <a:cubicBezTo>
                  <a:pt x="1854124" y="463728"/>
                  <a:pt x="1840234" y="466284"/>
                  <a:pt x="1829121" y="468841"/>
                </a:cubicBezTo>
                <a:cubicBezTo>
                  <a:pt x="1829121" y="468841"/>
                  <a:pt x="1829121" y="468841"/>
                  <a:pt x="1826343" y="458614"/>
                </a:cubicBezTo>
                <a:cubicBezTo>
                  <a:pt x="1840234" y="456058"/>
                  <a:pt x="1851346" y="453501"/>
                  <a:pt x="1865237" y="453501"/>
                </a:cubicBezTo>
                <a:close/>
                <a:moveTo>
                  <a:pt x="1943025" y="440718"/>
                </a:moveTo>
                <a:cubicBezTo>
                  <a:pt x="1943025" y="440718"/>
                  <a:pt x="1943025" y="440718"/>
                  <a:pt x="1943025" y="450944"/>
                </a:cubicBezTo>
                <a:cubicBezTo>
                  <a:pt x="1931912" y="453501"/>
                  <a:pt x="1918021" y="456058"/>
                  <a:pt x="1904131" y="456058"/>
                </a:cubicBezTo>
                <a:cubicBezTo>
                  <a:pt x="1904131" y="456058"/>
                  <a:pt x="1904131" y="456058"/>
                  <a:pt x="1904131" y="445831"/>
                </a:cubicBezTo>
                <a:cubicBezTo>
                  <a:pt x="1915243" y="445831"/>
                  <a:pt x="1929134" y="443275"/>
                  <a:pt x="1943025" y="440718"/>
                </a:cubicBezTo>
                <a:close/>
                <a:moveTo>
                  <a:pt x="2018034" y="430491"/>
                </a:moveTo>
                <a:lnTo>
                  <a:pt x="2020812" y="440718"/>
                </a:lnTo>
                <a:cubicBezTo>
                  <a:pt x="2006922" y="443275"/>
                  <a:pt x="1995809" y="443275"/>
                  <a:pt x="1981919" y="445831"/>
                </a:cubicBezTo>
                <a:cubicBezTo>
                  <a:pt x="1981919" y="445831"/>
                  <a:pt x="1981919" y="445831"/>
                  <a:pt x="1979140" y="435605"/>
                </a:cubicBezTo>
                <a:cubicBezTo>
                  <a:pt x="1993031" y="433048"/>
                  <a:pt x="2006922" y="433048"/>
                  <a:pt x="2018034" y="430491"/>
                </a:cubicBezTo>
                <a:close/>
                <a:moveTo>
                  <a:pt x="2095822" y="417708"/>
                </a:moveTo>
                <a:cubicBezTo>
                  <a:pt x="2095822" y="417708"/>
                  <a:pt x="2095822" y="417708"/>
                  <a:pt x="2098600" y="427935"/>
                </a:cubicBezTo>
                <a:cubicBezTo>
                  <a:pt x="2084710" y="430491"/>
                  <a:pt x="2070819" y="433048"/>
                  <a:pt x="2059706" y="433048"/>
                </a:cubicBezTo>
                <a:cubicBezTo>
                  <a:pt x="2059706" y="433048"/>
                  <a:pt x="2059706" y="433048"/>
                  <a:pt x="2056928" y="425378"/>
                </a:cubicBezTo>
                <a:cubicBezTo>
                  <a:pt x="2070819" y="422821"/>
                  <a:pt x="2081931" y="420264"/>
                  <a:pt x="2095822" y="417708"/>
                </a:cubicBezTo>
                <a:close/>
                <a:moveTo>
                  <a:pt x="2170832" y="404925"/>
                </a:moveTo>
                <a:cubicBezTo>
                  <a:pt x="2170832" y="404925"/>
                  <a:pt x="2170832" y="404925"/>
                  <a:pt x="2173610" y="415152"/>
                </a:cubicBezTo>
                <a:cubicBezTo>
                  <a:pt x="2162497" y="417708"/>
                  <a:pt x="2148607" y="417708"/>
                  <a:pt x="2134716" y="420264"/>
                </a:cubicBezTo>
                <a:cubicBezTo>
                  <a:pt x="2134716" y="420264"/>
                  <a:pt x="2134716" y="420264"/>
                  <a:pt x="2134716" y="410038"/>
                </a:cubicBezTo>
                <a:cubicBezTo>
                  <a:pt x="2145829" y="410038"/>
                  <a:pt x="2159719" y="407482"/>
                  <a:pt x="2170832" y="404925"/>
                </a:cubicBezTo>
                <a:close/>
                <a:moveTo>
                  <a:pt x="2245841" y="387028"/>
                </a:moveTo>
                <a:cubicBezTo>
                  <a:pt x="2245841" y="387028"/>
                  <a:pt x="2245841" y="387028"/>
                  <a:pt x="2248620" y="397255"/>
                </a:cubicBezTo>
                <a:cubicBezTo>
                  <a:pt x="2237507" y="399812"/>
                  <a:pt x="2223616" y="402369"/>
                  <a:pt x="2212504" y="407482"/>
                </a:cubicBezTo>
                <a:cubicBezTo>
                  <a:pt x="2212504" y="407482"/>
                  <a:pt x="2212504" y="407482"/>
                  <a:pt x="2209726" y="397255"/>
                </a:cubicBezTo>
                <a:cubicBezTo>
                  <a:pt x="2220838" y="394698"/>
                  <a:pt x="2234729" y="389585"/>
                  <a:pt x="2245841" y="387028"/>
                </a:cubicBezTo>
                <a:close/>
                <a:moveTo>
                  <a:pt x="2320851" y="369132"/>
                </a:moveTo>
                <a:cubicBezTo>
                  <a:pt x="2320851" y="369132"/>
                  <a:pt x="2320851" y="369132"/>
                  <a:pt x="2326407" y="379359"/>
                </a:cubicBezTo>
                <a:cubicBezTo>
                  <a:pt x="2312517" y="381916"/>
                  <a:pt x="2301404" y="384472"/>
                  <a:pt x="2287513" y="389585"/>
                </a:cubicBezTo>
                <a:cubicBezTo>
                  <a:pt x="2287513" y="389585"/>
                  <a:pt x="2287513" y="389585"/>
                  <a:pt x="2284735" y="379359"/>
                </a:cubicBezTo>
                <a:cubicBezTo>
                  <a:pt x="2295848" y="376802"/>
                  <a:pt x="2309738" y="371689"/>
                  <a:pt x="2320851" y="369132"/>
                </a:cubicBezTo>
                <a:close/>
                <a:moveTo>
                  <a:pt x="2395861" y="346123"/>
                </a:moveTo>
                <a:cubicBezTo>
                  <a:pt x="2395861" y="346123"/>
                  <a:pt x="2395861" y="346123"/>
                  <a:pt x="2398639" y="356349"/>
                </a:cubicBezTo>
                <a:cubicBezTo>
                  <a:pt x="2387526" y="358905"/>
                  <a:pt x="2373636" y="364019"/>
                  <a:pt x="2362523" y="366576"/>
                </a:cubicBezTo>
                <a:cubicBezTo>
                  <a:pt x="2362523" y="366576"/>
                  <a:pt x="2362523" y="366576"/>
                  <a:pt x="2359745" y="358905"/>
                </a:cubicBezTo>
                <a:cubicBezTo>
                  <a:pt x="2370857" y="353793"/>
                  <a:pt x="2384748" y="351236"/>
                  <a:pt x="2395861" y="346123"/>
                </a:cubicBezTo>
                <a:close/>
                <a:moveTo>
                  <a:pt x="2468092" y="320557"/>
                </a:moveTo>
                <a:lnTo>
                  <a:pt x="2470870" y="328226"/>
                </a:lnTo>
                <a:cubicBezTo>
                  <a:pt x="2459758" y="333339"/>
                  <a:pt x="2448645" y="338453"/>
                  <a:pt x="2434755" y="343566"/>
                </a:cubicBezTo>
                <a:cubicBezTo>
                  <a:pt x="2434755" y="343566"/>
                  <a:pt x="2434755" y="343566"/>
                  <a:pt x="2431976" y="333339"/>
                </a:cubicBezTo>
                <a:cubicBezTo>
                  <a:pt x="2443089" y="328226"/>
                  <a:pt x="2456980" y="325670"/>
                  <a:pt x="2468092" y="320557"/>
                </a:cubicBezTo>
                <a:close/>
                <a:moveTo>
                  <a:pt x="2534767" y="284764"/>
                </a:moveTo>
                <a:cubicBezTo>
                  <a:pt x="2534767" y="284764"/>
                  <a:pt x="2534767" y="284764"/>
                  <a:pt x="2540324" y="294990"/>
                </a:cubicBezTo>
                <a:cubicBezTo>
                  <a:pt x="2529211" y="300104"/>
                  <a:pt x="2518099" y="307773"/>
                  <a:pt x="2506986" y="312887"/>
                </a:cubicBezTo>
                <a:cubicBezTo>
                  <a:pt x="2506986" y="312887"/>
                  <a:pt x="2506986" y="312887"/>
                  <a:pt x="2501430" y="302660"/>
                </a:cubicBezTo>
                <a:cubicBezTo>
                  <a:pt x="2512542" y="297547"/>
                  <a:pt x="2523655" y="292434"/>
                  <a:pt x="2534767" y="284764"/>
                </a:cubicBezTo>
                <a:close/>
                <a:moveTo>
                  <a:pt x="2598664" y="246414"/>
                </a:moveTo>
                <a:cubicBezTo>
                  <a:pt x="2598664" y="246414"/>
                  <a:pt x="2598664" y="246414"/>
                  <a:pt x="2604221" y="254084"/>
                </a:cubicBezTo>
                <a:cubicBezTo>
                  <a:pt x="2595886" y="261754"/>
                  <a:pt x="2584774" y="266867"/>
                  <a:pt x="2573661" y="274537"/>
                </a:cubicBezTo>
                <a:cubicBezTo>
                  <a:pt x="2573661" y="274537"/>
                  <a:pt x="2573661" y="274537"/>
                  <a:pt x="2568105" y="266867"/>
                </a:cubicBezTo>
                <a:cubicBezTo>
                  <a:pt x="2579217" y="259198"/>
                  <a:pt x="2587552" y="251527"/>
                  <a:pt x="2598664" y="246414"/>
                </a:cubicBezTo>
                <a:close/>
                <a:moveTo>
                  <a:pt x="2657005" y="197838"/>
                </a:moveTo>
                <a:cubicBezTo>
                  <a:pt x="2657005" y="197838"/>
                  <a:pt x="2657005" y="197838"/>
                  <a:pt x="2665340" y="205508"/>
                </a:cubicBezTo>
                <a:cubicBezTo>
                  <a:pt x="2654227" y="213178"/>
                  <a:pt x="2645893" y="223405"/>
                  <a:pt x="2634780" y="231075"/>
                </a:cubicBezTo>
                <a:cubicBezTo>
                  <a:pt x="2634780" y="231075"/>
                  <a:pt x="2634780" y="231075"/>
                  <a:pt x="2629224" y="223405"/>
                </a:cubicBezTo>
                <a:cubicBezTo>
                  <a:pt x="2637558" y="215734"/>
                  <a:pt x="2645893" y="208064"/>
                  <a:pt x="2657005" y="197838"/>
                </a:cubicBezTo>
                <a:close/>
                <a:moveTo>
                  <a:pt x="2709790" y="146706"/>
                </a:moveTo>
                <a:cubicBezTo>
                  <a:pt x="2709790" y="146706"/>
                  <a:pt x="2709790" y="146706"/>
                  <a:pt x="2718124" y="151819"/>
                </a:cubicBezTo>
                <a:cubicBezTo>
                  <a:pt x="2709790" y="162045"/>
                  <a:pt x="2701455" y="172272"/>
                  <a:pt x="2690343" y="179942"/>
                </a:cubicBezTo>
                <a:cubicBezTo>
                  <a:pt x="2690343" y="179942"/>
                  <a:pt x="2690343" y="179942"/>
                  <a:pt x="2682008" y="172272"/>
                </a:cubicBezTo>
                <a:cubicBezTo>
                  <a:pt x="2693121" y="164602"/>
                  <a:pt x="2701455" y="154375"/>
                  <a:pt x="2709790" y="146706"/>
                </a:cubicBezTo>
                <a:close/>
                <a:moveTo>
                  <a:pt x="2754240" y="90460"/>
                </a:moveTo>
                <a:cubicBezTo>
                  <a:pt x="2754240" y="90460"/>
                  <a:pt x="2754240" y="90460"/>
                  <a:pt x="2762574" y="95573"/>
                </a:cubicBezTo>
                <a:cubicBezTo>
                  <a:pt x="2757018" y="105800"/>
                  <a:pt x="2748684" y="116026"/>
                  <a:pt x="2740349" y="123696"/>
                </a:cubicBezTo>
                <a:cubicBezTo>
                  <a:pt x="2740349" y="123696"/>
                  <a:pt x="2740349" y="123696"/>
                  <a:pt x="2732015" y="118583"/>
                </a:cubicBezTo>
                <a:cubicBezTo>
                  <a:pt x="2740349" y="108356"/>
                  <a:pt x="2745906" y="98130"/>
                  <a:pt x="2754240" y="90460"/>
                </a:cubicBezTo>
                <a:close/>
                <a:moveTo>
                  <a:pt x="2793134" y="26544"/>
                </a:moveTo>
                <a:cubicBezTo>
                  <a:pt x="2793134" y="26544"/>
                  <a:pt x="2793134" y="26544"/>
                  <a:pt x="2801468" y="31658"/>
                </a:cubicBezTo>
                <a:cubicBezTo>
                  <a:pt x="2795912" y="41884"/>
                  <a:pt x="2790356" y="54667"/>
                  <a:pt x="2784799" y="64893"/>
                </a:cubicBezTo>
                <a:cubicBezTo>
                  <a:pt x="2784799" y="64893"/>
                  <a:pt x="2784799" y="64893"/>
                  <a:pt x="2773687" y="59781"/>
                </a:cubicBezTo>
                <a:cubicBezTo>
                  <a:pt x="2782021" y="49554"/>
                  <a:pt x="2787578" y="39327"/>
                  <a:pt x="2793134" y="26544"/>
                </a:cubicBezTo>
                <a:close/>
                <a:moveTo>
                  <a:pt x="2816543" y="0"/>
                </a:moveTo>
                <a:lnTo>
                  <a:pt x="2818593" y="0"/>
                </a:lnTo>
                <a:lnTo>
                  <a:pt x="2818137" y="978"/>
                </a:lnTo>
                <a:cubicBezTo>
                  <a:pt x="2818137" y="978"/>
                  <a:pt x="2818137" y="978"/>
                  <a:pt x="2817095" y="339"/>
                </a:cubicBezTo>
                <a:close/>
              </a:path>
            </a:pathLst>
          </a:custGeom>
          <a:solidFill>
            <a:schemeClr val="accent1"/>
          </a:solidFill>
          <a:ln>
            <a:noFill/>
          </a:ln>
        </p:spPr>
        <p:txBody>
          <a:bodyPr anchor="ctr"/>
          <a:lstStyle/>
          <a:p>
            <a:pPr lvl="0" algn="ctr"/>
            <a:endParaRPr lang="zh-CN" altLang="en-US">
              <a:solidFill>
                <a:schemeClr val="tx1"/>
              </a:solidFill>
            </a:endParaRPr>
          </a:p>
        </p:txBody>
      </p:sp>
      <p:sp>
        <p:nvSpPr>
          <p:cNvPr id="10" name="副标题 9">
            <a:extLst>
              <a:ext uri="{FF2B5EF4-FFF2-40B4-BE49-F238E27FC236}">
                <a16:creationId xmlns:a16="http://schemas.microsoft.com/office/drawing/2014/main" id="{8C9FDA18-25FB-9949-9C52-0A8441038BA1}"/>
              </a:ext>
            </a:extLst>
          </p:cNvPr>
          <p:cNvSpPr>
            <a:spLocks noGrp="1"/>
          </p:cNvSpPr>
          <p:nvPr>
            <p:ph type="subTitle" idx="1"/>
          </p:nvPr>
        </p:nvSpPr>
        <p:spPr/>
        <p:txBody>
          <a:bodyPr/>
          <a:lstStyle/>
          <a:p>
            <a:endParaRPr lang="zh-CN" alt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t>并发导致不一致</a:t>
            </a:r>
            <a:r>
              <a:rPr lang="en-US" altLang="zh-CN" dirty="0"/>
              <a:t>——</a:t>
            </a:r>
            <a:r>
              <a:rPr lang="zh-CN" altLang="en-US" dirty="0"/>
              <a:t>双写并发问题（先更新缓存，后</a:t>
            </a:r>
            <a:r>
              <a:rPr lang="en-US" altLang="zh-CN" dirty="0"/>
              <a:t>DB</a:t>
            </a:r>
            <a:r>
              <a:rPr lang="zh-CN" altLang="en-US" dirty="0"/>
              <a:t>）</a:t>
            </a:r>
          </a:p>
        </p:txBody>
      </p:sp>
      <p:pic>
        <p:nvPicPr>
          <p:cNvPr id="3" name="图片 2"/>
          <p:cNvPicPr>
            <a:picLocks noChangeAspect="1"/>
          </p:cNvPicPr>
          <p:nvPr/>
        </p:nvPicPr>
        <p:blipFill>
          <a:blip r:embed="rId3"/>
          <a:stretch>
            <a:fillRect/>
          </a:stretch>
        </p:blipFill>
        <p:spPr>
          <a:xfrm>
            <a:off x="950595" y="1488440"/>
            <a:ext cx="10288270" cy="489331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t>写操作的四种写法</a:t>
            </a:r>
            <a:r>
              <a:rPr lang="en-US" altLang="zh-CN" dirty="0"/>
              <a:t>——</a:t>
            </a:r>
            <a:r>
              <a:rPr lang="zh-CN" altLang="en-US" dirty="0"/>
              <a:t>先更新存储，后更新缓存</a:t>
            </a:r>
          </a:p>
        </p:txBody>
      </p:sp>
      <p:sp>
        <p:nvSpPr>
          <p:cNvPr id="4" name="矩形 3"/>
          <p:cNvSpPr/>
          <p:nvPr/>
        </p:nvSpPr>
        <p:spPr>
          <a:xfrm>
            <a:off x="5903595" y="1840230"/>
            <a:ext cx="2177415" cy="10814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pplication</a:t>
            </a:r>
          </a:p>
        </p:txBody>
      </p:sp>
      <p:sp>
        <p:nvSpPr>
          <p:cNvPr id="5" name="流程图: 库存数据 4"/>
          <p:cNvSpPr/>
          <p:nvPr/>
        </p:nvSpPr>
        <p:spPr>
          <a:xfrm>
            <a:off x="5758815" y="3933825"/>
            <a:ext cx="2466340" cy="1042670"/>
          </a:xfrm>
          <a:prstGeom prst="flowChartOnline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DB</a:t>
            </a:r>
          </a:p>
          <a:p>
            <a:pPr algn="ctr"/>
            <a:r>
              <a:rPr lang="en-US" altLang="zh-CN"/>
              <a:t>money=new</a:t>
            </a:r>
          </a:p>
        </p:txBody>
      </p:sp>
      <p:sp>
        <p:nvSpPr>
          <p:cNvPr id="6" name="流程图: 终止 5"/>
          <p:cNvSpPr/>
          <p:nvPr/>
        </p:nvSpPr>
        <p:spPr>
          <a:xfrm>
            <a:off x="9544685" y="1823085"/>
            <a:ext cx="2060575" cy="1081405"/>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che</a:t>
            </a:r>
          </a:p>
          <a:p>
            <a:pPr algn="ctr"/>
            <a:r>
              <a:rPr lang="en-US" altLang="zh-CN"/>
              <a:t>money=old</a:t>
            </a:r>
          </a:p>
        </p:txBody>
      </p:sp>
      <p:cxnSp>
        <p:nvCxnSpPr>
          <p:cNvPr id="7" name="直接箭头连接符 6"/>
          <p:cNvCxnSpPr>
            <a:stCxn id="4" idx="3"/>
            <a:endCxn id="6" idx="1"/>
          </p:cNvCxnSpPr>
          <p:nvPr/>
        </p:nvCxnSpPr>
        <p:spPr>
          <a:xfrm flipV="1">
            <a:off x="8081010" y="2364105"/>
            <a:ext cx="1463675" cy="171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a:stCxn id="4" idx="2"/>
            <a:endCxn id="5" idx="0"/>
          </p:cNvCxnSpPr>
          <p:nvPr/>
        </p:nvCxnSpPr>
        <p:spPr>
          <a:xfrm flipH="1">
            <a:off x="6991985" y="2921635"/>
            <a:ext cx="635" cy="10121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8012430" y="1840230"/>
            <a:ext cx="1592580" cy="368300"/>
          </a:xfrm>
          <a:prstGeom prst="rect">
            <a:avLst/>
          </a:prstGeom>
          <a:noFill/>
        </p:spPr>
        <p:txBody>
          <a:bodyPr wrap="none" rtlCol="0">
            <a:spAutoFit/>
          </a:bodyPr>
          <a:lstStyle/>
          <a:p>
            <a:r>
              <a:rPr lang="en-US" altLang="zh-CN"/>
              <a:t>2. update</a:t>
            </a:r>
            <a:r>
              <a:rPr lang="zh-CN" altLang="en-US"/>
              <a:t>失败</a:t>
            </a:r>
          </a:p>
        </p:txBody>
      </p:sp>
      <p:sp>
        <p:nvSpPr>
          <p:cNvPr id="11" name="文本框 10"/>
          <p:cNvSpPr txBox="1"/>
          <p:nvPr/>
        </p:nvSpPr>
        <p:spPr>
          <a:xfrm>
            <a:off x="7100570" y="3243580"/>
            <a:ext cx="1592580" cy="368300"/>
          </a:xfrm>
          <a:prstGeom prst="rect">
            <a:avLst/>
          </a:prstGeom>
          <a:noFill/>
        </p:spPr>
        <p:txBody>
          <a:bodyPr wrap="none" rtlCol="0">
            <a:spAutoFit/>
          </a:bodyPr>
          <a:lstStyle/>
          <a:p>
            <a:r>
              <a:rPr lang="en-US" altLang="zh-CN"/>
              <a:t>1. update</a:t>
            </a:r>
            <a:r>
              <a:rPr lang="zh-CN" altLang="en-US"/>
              <a:t>成功</a:t>
            </a:r>
          </a:p>
        </p:txBody>
      </p:sp>
      <p:sp>
        <p:nvSpPr>
          <p:cNvPr id="12" name="流程图: 决策 11"/>
          <p:cNvSpPr/>
          <p:nvPr/>
        </p:nvSpPr>
        <p:spPr>
          <a:xfrm>
            <a:off x="8858250" y="3663950"/>
            <a:ext cx="1570355" cy="1604645"/>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补救措施</a:t>
            </a:r>
          </a:p>
        </p:txBody>
      </p:sp>
      <p:cxnSp>
        <p:nvCxnSpPr>
          <p:cNvPr id="13" name="直接箭头连接符 12"/>
          <p:cNvCxnSpPr>
            <a:stCxn id="5" idx="3"/>
            <a:endCxn id="12" idx="1"/>
          </p:cNvCxnSpPr>
          <p:nvPr/>
        </p:nvCxnSpPr>
        <p:spPr>
          <a:xfrm>
            <a:off x="7814310" y="4455160"/>
            <a:ext cx="1043940" cy="11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a:stCxn id="12" idx="3"/>
          </p:cNvCxnSpPr>
          <p:nvPr/>
        </p:nvCxnSpPr>
        <p:spPr>
          <a:xfrm>
            <a:off x="10428605" y="4466590"/>
            <a:ext cx="725805" cy="88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12" idx="2"/>
          </p:cNvCxnSpPr>
          <p:nvPr/>
        </p:nvCxnSpPr>
        <p:spPr>
          <a:xfrm>
            <a:off x="9643745" y="5268595"/>
            <a:ext cx="7620" cy="7435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文本框 15"/>
          <p:cNvSpPr txBox="1"/>
          <p:nvPr/>
        </p:nvSpPr>
        <p:spPr>
          <a:xfrm>
            <a:off x="10279380" y="3933825"/>
            <a:ext cx="1783080" cy="368300"/>
          </a:xfrm>
          <a:prstGeom prst="rect">
            <a:avLst/>
          </a:prstGeom>
          <a:noFill/>
        </p:spPr>
        <p:txBody>
          <a:bodyPr wrap="none" rtlCol="0">
            <a:spAutoFit/>
          </a:bodyPr>
          <a:lstStyle/>
          <a:p>
            <a:r>
              <a:rPr lang="zh-CN" altLang="en-US"/>
              <a:t>重复更新缓存？</a:t>
            </a:r>
          </a:p>
        </p:txBody>
      </p:sp>
      <p:sp>
        <p:nvSpPr>
          <p:cNvPr id="17" name="文本框 16"/>
          <p:cNvSpPr txBox="1"/>
          <p:nvPr/>
        </p:nvSpPr>
        <p:spPr>
          <a:xfrm>
            <a:off x="9828530" y="5456555"/>
            <a:ext cx="1325880" cy="368300"/>
          </a:xfrm>
          <a:prstGeom prst="rect">
            <a:avLst/>
          </a:prstGeom>
          <a:noFill/>
        </p:spPr>
        <p:txBody>
          <a:bodyPr wrap="none" rtlCol="0">
            <a:spAutoFit/>
          </a:bodyPr>
          <a:lstStyle/>
          <a:p>
            <a:r>
              <a:rPr lang="zh-CN" altLang="en-US"/>
              <a:t>删除缓存？</a:t>
            </a:r>
          </a:p>
        </p:txBody>
      </p:sp>
      <p:sp>
        <p:nvSpPr>
          <p:cNvPr id="18" name="iṡľïḑè"/>
          <p:cNvSpPr txBox="1"/>
          <p:nvPr/>
        </p:nvSpPr>
        <p:spPr bwMode="auto">
          <a:xfrm>
            <a:off x="669925" y="1511300"/>
            <a:ext cx="4913630"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潜在问题</a:t>
            </a: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缓存更新</a:t>
            </a:r>
            <a:r>
              <a:rPr lang="en-US" altLang="zh-CN" sz="1400" b="0" dirty="0">
                <a:solidFill>
                  <a:schemeClr val="bg1">
                    <a:lumMod val="50000"/>
                  </a:schemeClr>
                </a:solidFill>
                <a:latin typeface="+mn-lt"/>
                <a:ea typeface="+mn-ea"/>
                <a:sym typeface="+mn-lt"/>
              </a:rPr>
              <a:t>IO</a:t>
            </a:r>
            <a:r>
              <a:rPr lang="zh-CN" altLang="en-US" sz="1400" b="0" dirty="0">
                <a:solidFill>
                  <a:schemeClr val="bg1">
                    <a:lumMod val="50000"/>
                  </a:schemeClr>
                </a:solidFill>
                <a:latin typeface="+mn-lt"/>
                <a:ea typeface="+mn-ea"/>
                <a:sym typeface="+mn-lt"/>
              </a:rPr>
              <a:t>异常造成数据不一致</a:t>
            </a:r>
            <a:endParaRPr lang="en-US" altLang="zh-CN" sz="1400" b="0" dirty="0">
              <a:solidFill>
                <a:schemeClr val="bg1">
                  <a:lumMod val="50000"/>
                </a:schemeClr>
              </a:solidFill>
              <a:latin typeface="+mn-lt"/>
              <a:ea typeface="+mn-ea"/>
              <a:sym typeface="+mn-lt"/>
            </a:endParaRP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两次写入并发造成数据不一致</a:t>
            </a: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读写并发造成不一致</a:t>
            </a:r>
          </a:p>
          <a:p>
            <a:pPr marL="1028700" lvl="1" indent="-571500">
              <a:lnSpc>
                <a:spcPct val="150000"/>
              </a:lnSpc>
              <a:buFont typeface="Wingdings" panose="05000000000000000000" charset="0"/>
              <a:buChar char=""/>
            </a:pPr>
            <a:endParaRPr lang="zh-CN" altLang="en-US" sz="14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针对</a:t>
            </a:r>
            <a:r>
              <a:rPr lang="en-US" altLang="zh-CN" sz="2000" b="0" dirty="0">
                <a:solidFill>
                  <a:schemeClr val="bg1">
                    <a:lumMod val="50000"/>
                  </a:schemeClr>
                </a:solidFill>
                <a:latin typeface="+mn-lt"/>
                <a:ea typeface="+mn-ea"/>
                <a:sym typeface="+mn-lt"/>
              </a:rPr>
              <a:t>IO</a:t>
            </a:r>
            <a:r>
              <a:rPr lang="zh-CN" altLang="en-US" sz="2000" b="0" dirty="0">
                <a:solidFill>
                  <a:schemeClr val="bg1">
                    <a:lumMod val="50000"/>
                  </a:schemeClr>
                </a:solidFill>
                <a:latin typeface="+mn-lt"/>
                <a:ea typeface="+mn-ea"/>
                <a:sym typeface="+mn-lt"/>
              </a:rPr>
              <a:t>异常可能的补救措施</a:t>
            </a:r>
          </a:p>
          <a:p>
            <a:pPr marL="742950" lvl="1" indent="-28575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重复更新缓存，实现逻辑复杂</a:t>
            </a:r>
          </a:p>
          <a:p>
            <a:pPr marL="742950" lvl="1" indent="-28575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删除缓存（变成另外一种写法）</a:t>
            </a:r>
            <a:endParaRPr lang="zh-CN" altLang="en-US" sz="4000" b="0" dirty="0">
              <a:solidFill>
                <a:schemeClr val="bg1">
                  <a:lumMod val="50000"/>
                </a:schemeClr>
              </a:solidFill>
              <a:latin typeface="+mn-lt"/>
              <a:ea typeface="+mn-ea"/>
              <a:sym typeface="+mn-lt"/>
            </a:endParaRPr>
          </a:p>
          <a:p>
            <a:pPr indent="0">
              <a:lnSpc>
                <a:spcPct val="150000"/>
              </a:lnSpc>
              <a:buFont typeface="Wingdings" panose="05000000000000000000" charset="0"/>
              <a:buNone/>
            </a:pPr>
            <a:endParaRPr lang="zh-CN" altLang="en-US" sz="2000" b="0" dirty="0">
              <a:solidFill>
                <a:schemeClr val="bg1">
                  <a:lumMod val="50000"/>
                </a:schemeClr>
              </a:solidFill>
              <a:latin typeface="+mn-lt"/>
              <a:ea typeface="+mn-ea"/>
              <a:sym typeface="+mn-l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sym typeface="+mn-ea"/>
              </a:rPr>
              <a:t>并发导致不一致</a:t>
            </a:r>
            <a:r>
              <a:rPr lang="en-US" altLang="zh-CN" dirty="0"/>
              <a:t>——</a:t>
            </a:r>
            <a:r>
              <a:rPr lang="zh-CN" altLang="en-US" dirty="0"/>
              <a:t>双写并发问题（先</a:t>
            </a:r>
            <a:r>
              <a:rPr lang="en-US" altLang="zh-CN" dirty="0"/>
              <a:t>DB</a:t>
            </a:r>
            <a:r>
              <a:rPr lang="zh-CN" altLang="en-US" dirty="0"/>
              <a:t>，后更新缓存）</a:t>
            </a:r>
          </a:p>
        </p:txBody>
      </p:sp>
      <p:pic>
        <p:nvPicPr>
          <p:cNvPr id="18" name="图片 17"/>
          <p:cNvPicPr>
            <a:picLocks noChangeAspect="1"/>
          </p:cNvPicPr>
          <p:nvPr/>
        </p:nvPicPr>
        <p:blipFill>
          <a:blip r:embed="rId3"/>
          <a:stretch>
            <a:fillRect/>
          </a:stretch>
        </p:blipFill>
        <p:spPr>
          <a:xfrm>
            <a:off x="669925" y="1409065"/>
            <a:ext cx="11155680" cy="505015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sym typeface="+mn-ea"/>
              </a:rPr>
              <a:t>四种写法</a:t>
            </a:r>
            <a:r>
              <a:rPr lang="en-US" altLang="zh-CN" dirty="0">
                <a:sym typeface="+mn-ea"/>
              </a:rPr>
              <a:t>——</a:t>
            </a:r>
            <a:r>
              <a:rPr lang="zh-CN" altLang="en-US" dirty="0">
                <a:sym typeface="+mn-ea"/>
              </a:rPr>
              <a:t>先删除缓存，后更新存储</a:t>
            </a:r>
            <a:endParaRPr lang="zh-CN" altLang="en-US" dirty="0"/>
          </a:p>
        </p:txBody>
      </p:sp>
      <p:sp>
        <p:nvSpPr>
          <p:cNvPr id="3" name="矩形 2"/>
          <p:cNvSpPr/>
          <p:nvPr/>
        </p:nvSpPr>
        <p:spPr>
          <a:xfrm>
            <a:off x="5903595" y="1840230"/>
            <a:ext cx="2177415" cy="10814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pplication</a:t>
            </a:r>
          </a:p>
        </p:txBody>
      </p:sp>
      <p:sp>
        <p:nvSpPr>
          <p:cNvPr id="4" name="流程图: 库存数据 3"/>
          <p:cNvSpPr/>
          <p:nvPr/>
        </p:nvSpPr>
        <p:spPr>
          <a:xfrm>
            <a:off x="5758815" y="3933825"/>
            <a:ext cx="2466340" cy="1042670"/>
          </a:xfrm>
          <a:prstGeom prst="flowChartOnline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DB</a:t>
            </a:r>
          </a:p>
          <a:p>
            <a:pPr algn="ctr"/>
            <a:r>
              <a:rPr lang="en-US" altLang="zh-CN"/>
              <a:t>money=old</a:t>
            </a:r>
          </a:p>
        </p:txBody>
      </p:sp>
      <p:sp>
        <p:nvSpPr>
          <p:cNvPr id="5" name="流程图: 终止 4"/>
          <p:cNvSpPr/>
          <p:nvPr/>
        </p:nvSpPr>
        <p:spPr>
          <a:xfrm>
            <a:off x="9544685" y="1823085"/>
            <a:ext cx="2060575" cy="1081405"/>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che</a:t>
            </a:r>
          </a:p>
          <a:p>
            <a:pPr algn="ctr"/>
            <a:r>
              <a:rPr lang="en-US" altLang="zh-CN"/>
              <a:t>money=NULL</a:t>
            </a:r>
          </a:p>
        </p:txBody>
      </p:sp>
      <p:cxnSp>
        <p:nvCxnSpPr>
          <p:cNvPr id="6" name="直接箭头连接符 5"/>
          <p:cNvCxnSpPr>
            <a:stCxn id="3" idx="3"/>
            <a:endCxn id="5" idx="1"/>
          </p:cNvCxnSpPr>
          <p:nvPr/>
        </p:nvCxnSpPr>
        <p:spPr>
          <a:xfrm flipV="1">
            <a:off x="8081010" y="2364105"/>
            <a:ext cx="1463675" cy="171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a:stCxn id="3" idx="2"/>
            <a:endCxn id="4" idx="0"/>
          </p:cNvCxnSpPr>
          <p:nvPr/>
        </p:nvCxnSpPr>
        <p:spPr>
          <a:xfrm flipH="1">
            <a:off x="6991985" y="2921635"/>
            <a:ext cx="635" cy="10121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8012430" y="1840230"/>
            <a:ext cx="1516380" cy="368300"/>
          </a:xfrm>
          <a:prstGeom prst="rect">
            <a:avLst/>
          </a:prstGeom>
          <a:noFill/>
        </p:spPr>
        <p:txBody>
          <a:bodyPr wrap="none" rtlCol="0">
            <a:spAutoFit/>
          </a:bodyPr>
          <a:lstStyle/>
          <a:p>
            <a:r>
              <a:rPr lang="en-US" altLang="zh-CN"/>
              <a:t>1. delete</a:t>
            </a:r>
            <a:r>
              <a:rPr lang="zh-CN" altLang="en-US"/>
              <a:t>成功</a:t>
            </a:r>
          </a:p>
        </p:txBody>
      </p:sp>
      <p:sp>
        <p:nvSpPr>
          <p:cNvPr id="10" name="文本框 9"/>
          <p:cNvSpPr txBox="1"/>
          <p:nvPr/>
        </p:nvSpPr>
        <p:spPr>
          <a:xfrm>
            <a:off x="6992620" y="3243580"/>
            <a:ext cx="1592580" cy="368300"/>
          </a:xfrm>
          <a:prstGeom prst="rect">
            <a:avLst/>
          </a:prstGeom>
          <a:noFill/>
        </p:spPr>
        <p:txBody>
          <a:bodyPr wrap="none" rtlCol="0">
            <a:spAutoFit/>
          </a:bodyPr>
          <a:lstStyle/>
          <a:p>
            <a:r>
              <a:rPr lang="en-US" altLang="zh-CN"/>
              <a:t>2. update</a:t>
            </a:r>
            <a:r>
              <a:rPr lang="zh-CN" altLang="en-US"/>
              <a:t>成功</a:t>
            </a:r>
          </a:p>
        </p:txBody>
      </p:sp>
      <p:cxnSp>
        <p:nvCxnSpPr>
          <p:cNvPr id="12" name="直接箭头连接符 11"/>
          <p:cNvCxnSpPr>
            <a:stCxn id="4" idx="3"/>
            <a:endCxn id="11" idx="1"/>
          </p:cNvCxnSpPr>
          <p:nvPr/>
        </p:nvCxnSpPr>
        <p:spPr>
          <a:xfrm>
            <a:off x="7814310" y="4455160"/>
            <a:ext cx="1043940" cy="11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iṡľïḑè"/>
          <p:cNvSpPr txBox="1"/>
          <p:nvPr/>
        </p:nvSpPr>
        <p:spPr bwMode="auto">
          <a:xfrm>
            <a:off x="669925" y="1511300"/>
            <a:ext cx="4913630"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优点</a:t>
            </a:r>
          </a:p>
          <a:p>
            <a:pPr marL="1028700" lvl="1" indent="-57150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不会因为</a:t>
            </a:r>
            <a:r>
              <a:rPr lang="en-US" altLang="zh-CN" sz="2000" b="0" dirty="0">
                <a:solidFill>
                  <a:schemeClr val="bg1">
                    <a:lumMod val="50000"/>
                  </a:schemeClr>
                </a:solidFill>
                <a:latin typeface="+mn-lt"/>
                <a:ea typeface="+mn-ea"/>
                <a:sym typeface="+mn-lt"/>
              </a:rPr>
              <a:t>IO</a:t>
            </a:r>
            <a:r>
              <a:rPr lang="zh-CN" altLang="en-US" sz="2000" b="0" dirty="0">
                <a:solidFill>
                  <a:schemeClr val="bg1">
                    <a:lumMod val="50000"/>
                  </a:schemeClr>
                </a:solidFill>
                <a:latin typeface="+mn-lt"/>
                <a:ea typeface="+mn-ea"/>
                <a:sym typeface="+mn-lt"/>
              </a:rPr>
              <a:t>异常造成数据不一致</a:t>
            </a:r>
            <a:endParaRPr lang="en-US" altLang="zh-CN" sz="2000" b="0" dirty="0">
              <a:solidFill>
                <a:schemeClr val="bg1">
                  <a:lumMod val="50000"/>
                </a:schemeClr>
              </a:solidFill>
              <a:latin typeface="+mn-lt"/>
              <a:ea typeface="+mn-ea"/>
              <a:sym typeface="+mn-lt"/>
            </a:endParaRPr>
          </a:p>
          <a:p>
            <a:pPr marL="1028700" lvl="1" indent="-57150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不存在两次写入并发的问题</a:t>
            </a:r>
          </a:p>
          <a:p>
            <a:pPr marL="1028700" lvl="1" indent="-571500">
              <a:lnSpc>
                <a:spcPct val="150000"/>
              </a:lnSpc>
              <a:buFont typeface="Wingdings" panose="05000000000000000000" charset="0"/>
              <a:buChar char=""/>
            </a:pPr>
            <a:endParaRPr lang="zh-CN" altLang="en-US" sz="2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潜在问题</a:t>
            </a:r>
            <a:endParaRPr lang="zh-CN" altLang="en-US" sz="1400" b="0" dirty="0">
              <a:solidFill>
                <a:schemeClr val="bg1">
                  <a:lumMod val="50000"/>
                </a:schemeClr>
              </a:solidFill>
              <a:latin typeface="+mn-lt"/>
              <a:ea typeface="+mn-ea"/>
              <a:sym typeface="+mn-lt"/>
            </a:endParaRP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读多写少</a:t>
            </a: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读写并发不一致的概率大幅增加</a:t>
            </a:r>
          </a:p>
          <a:p>
            <a:pPr lvl="0" indent="0">
              <a:lnSpc>
                <a:spcPct val="150000"/>
              </a:lnSpc>
              <a:buFont typeface="Wingdings" panose="05000000000000000000" charset="0"/>
              <a:buNone/>
            </a:pPr>
            <a:endParaRPr lang="zh-CN" altLang="en-US" sz="4000" b="0" dirty="0">
              <a:solidFill>
                <a:schemeClr val="bg1">
                  <a:lumMod val="50000"/>
                </a:schemeClr>
              </a:solidFill>
              <a:latin typeface="+mn-lt"/>
              <a:ea typeface="+mn-ea"/>
              <a:sym typeface="+mn-lt"/>
            </a:endParaRPr>
          </a:p>
          <a:p>
            <a:pPr indent="0">
              <a:lnSpc>
                <a:spcPct val="150000"/>
              </a:lnSpc>
              <a:buFont typeface="Wingdings" panose="05000000000000000000" charset="0"/>
              <a:buNone/>
            </a:pPr>
            <a:endParaRPr lang="zh-CN" altLang="en-US" sz="2000" b="0" dirty="0">
              <a:solidFill>
                <a:schemeClr val="bg1">
                  <a:lumMod val="50000"/>
                </a:schemeClr>
              </a:solidFill>
              <a:latin typeface="+mn-lt"/>
              <a:ea typeface="+mn-ea"/>
              <a:sym typeface="+mn-lt"/>
            </a:endParaRPr>
          </a:p>
        </p:txBody>
      </p:sp>
      <p:sp>
        <p:nvSpPr>
          <p:cNvPr id="18" name="流程图: 决策 17"/>
          <p:cNvSpPr/>
          <p:nvPr/>
        </p:nvSpPr>
        <p:spPr>
          <a:xfrm>
            <a:off x="8858250" y="3663950"/>
            <a:ext cx="1907540" cy="1604645"/>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后续</a:t>
            </a:r>
          </a:p>
          <a:p>
            <a:pPr algn="ctr"/>
            <a:r>
              <a:rPr lang="zh-CN" altLang="en-US"/>
              <a:t>读操作</a:t>
            </a:r>
          </a:p>
        </p:txBody>
      </p:sp>
      <p:cxnSp>
        <p:nvCxnSpPr>
          <p:cNvPr id="20" name="直接箭头连接符 19"/>
          <p:cNvCxnSpPr>
            <a:stCxn id="18" idx="2"/>
          </p:cNvCxnSpPr>
          <p:nvPr/>
        </p:nvCxnSpPr>
        <p:spPr>
          <a:xfrm>
            <a:off x="9812020" y="5268595"/>
            <a:ext cx="7620" cy="7435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文本框 21"/>
          <p:cNvSpPr txBox="1"/>
          <p:nvPr/>
        </p:nvSpPr>
        <p:spPr>
          <a:xfrm>
            <a:off x="9819640" y="5455920"/>
            <a:ext cx="1129030" cy="368300"/>
          </a:xfrm>
          <a:prstGeom prst="rect">
            <a:avLst/>
          </a:prstGeom>
          <a:noFill/>
        </p:spPr>
        <p:txBody>
          <a:bodyPr wrap="none" rtlCol="0">
            <a:spAutoFit/>
          </a:bodyPr>
          <a:lstStyle/>
          <a:p>
            <a:r>
              <a:rPr lang="en-US" altLang="zh-CN"/>
              <a:t>MISS + 1</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sym typeface="+mn-ea"/>
              </a:rPr>
              <a:t>并发导致不一致</a:t>
            </a:r>
            <a:r>
              <a:rPr lang="en-US" altLang="zh-CN" dirty="0"/>
              <a:t>——</a:t>
            </a:r>
            <a:r>
              <a:rPr lang="zh-CN" altLang="en-US" dirty="0"/>
              <a:t>读写并发问题（先删除缓存，后</a:t>
            </a:r>
            <a:r>
              <a:rPr lang="en-US" altLang="zh-CN" dirty="0"/>
              <a:t>DB</a:t>
            </a:r>
            <a:r>
              <a:rPr lang="zh-CN" altLang="en-US" dirty="0"/>
              <a:t>）</a:t>
            </a:r>
          </a:p>
        </p:txBody>
      </p:sp>
      <p:pic>
        <p:nvPicPr>
          <p:cNvPr id="4" name="图片 3"/>
          <p:cNvPicPr>
            <a:picLocks noChangeAspect="1"/>
          </p:cNvPicPr>
          <p:nvPr/>
        </p:nvPicPr>
        <p:blipFill>
          <a:blip r:embed="rId3"/>
          <a:stretch>
            <a:fillRect/>
          </a:stretch>
        </p:blipFill>
        <p:spPr>
          <a:xfrm>
            <a:off x="925830" y="1680845"/>
            <a:ext cx="10085705" cy="445389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t>四种写法</a:t>
            </a:r>
            <a:r>
              <a:rPr lang="en-US" altLang="zh-CN" dirty="0"/>
              <a:t>——</a:t>
            </a:r>
            <a:r>
              <a:rPr lang="zh-CN" altLang="en-US" dirty="0"/>
              <a:t>先更新存储，后删除缓存</a:t>
            </a:r>
          </a:p>
        </p:txBody>
      </p:sp>
      <p:sp>
        <p:nvSpPr>
          <p:cNvPr id="4" name="矩形 3"/>
          <p:cNvSpPr/>
          <p:nvPr/>
        </p:nvSpPr>
        <p:spPr>
          <a:xfrm>
            <a:off x="5903595" y="1840230"/>
            <a:ext cx="2177415" cy="10814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pplication</a:t>
            </a:r>
          </a:p>
        </p:txBody>
      </p:sp>
      <p:sp>
        <p:nvSpPr>
          <p:cNvPr id="5" name="流程图: 库存数据 4"/>
          <p:cNvSpPr/>
          <p:nvPr/>
        </p:nvSpPr>
        <p:spPr>
          <a:xfrm>
            <a:off x="5758815" y="3933825"/>
            <a:ext cx="2466340" cy="1042670"/>
          </a:xfrm>
          <a:prstGeom prst="flowChartOnline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DB</a:t>
            </a:r>
          </a:p>
          <a:p>
            <a:pPr algn="ctr"/>
            <a:r>
              <a:rPr lang="en-US" altLang="zh-CN"/>
              <a:t>money=new</a:t>
            </a:r>
          </a:p>
        </p:txBody>
      </p:sp>
      <p:sp>
        <p:nvSpPr>
          <p:cNvPr id="6" name="流程图: 终止 5"/>
          <p:cNvSpPr/>
          <p:nvPr/>
        </p:nvSpPr>
        <p:spPr>
          <a:xfrm>
            <a:off x="9544685" y="1823085"/>
            <a:ext cx="2060575" cy="1081405"/>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che</a:t>
            </a:r>
          </a:p>
          <a:p>
            <a:pPr algn="ctr"/>
            <a:r>
              <a:rPr lang="en-US" altLang="zh-CN"/>
              <a:t>money=old</a:t>
            </a:r>
          </a:p>
        </p:txBody>
      </p:sp>
      <p:cxnSp>
        <p:nvCxnSpPr>
          <p:cNvPr id="7" name="直接箭头连接符 6"/>
          <p:cNvCxnSpPr>
            <a:stCxn id="4" idx="3"/>
            <a:endCxn id="6" idx="1"/>
          </p:cNvCxnSpPr>
          <p:nvPr/>
        </p:nvCxnSpPr>
        <p:spPr>
          <a:xfrm flipV="1">
            <a:off x="8081010" y="2364105"/>
            <a:ext cx="1463675" cy="171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a:stCxn id="4" idx="2"/>
            <a:endCxn id="5" idx="0"/>
          </p:cNvCxnSpPr>
          <p:nvPr/>
        </p:nvCxnSpPr>
        <p:spPr>
          <a:xfrm flipH="1">
            <a:off x="6991985" y="2921635"/>
            <a:ext cx="635" cy="10121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8012430" y="1840230"/>
            <a:ext cx="1516380" cy="368300"/>
          </a:xfrm>
          <a:prstGeom prst="rect">
            <a:avLst/>
          </a:prstGeom>
          <a:noFill/>
        </p:spPr>
        <p:txBody>
          <a:bodyPr wrap="none" rtlCol="0">
            <a:spAutoFit/>
          </a:bodyPr>
          <a:lstStyle/>
          <a:p>
            <a:r>
              <a:rPr lang="en-US" altLang="zh-CN"/>
              <a:t>2. delete</a:t>
            </a:r>
            <a:r>
              <a:rPr lang="zh-CN" altLang="en-US"/>
              <a:t>失败</a:t>
            </a:r>
          </a:p>
        </p:txBody>
      </p:sp>
      <p:sp>
        <p:nvSpPr>
          <p:cNvPr id="11" name="文本框 10"/>
          <p:cNvSpPr txBox="1"/>
          <p:nvPr/>
        </p:nvSpPr>
        <p:spPr>
          <a:xfrm>
            <a:off x="7100570" y="3243580"/>
            <a:ext cx="1592580" cy="368300"/>
          </a:xfrm>
          <a:prstGeom prst="rect">
            <a:avLst/>
          </a:prstGeom>
          <a:noFill/>
        </p:spPr>
        <p:txBody>
          <a:bodyPr wrap="none" rtlCol="0">
            <a:spAutoFit/>
          </a:bodyPr>
          <a:lstStyle/>
          <a:p>
            <a:r>
              <a:rPr lang="en-US" altLang="zh-CN"/>
              <a:t>1. update</a:t>
            </a:r>
            <a:r>
              <a:rPr lang="zh-CN" altLang="en-US"/>
              <a:t>成功</a:t>
            </a:r>
          </a:p>
        </p:txBody>
      </p:sp>
      <p:sp>
        <p:nvSpPr>
          <p:cNvPr id="12" name="流程图: 决策 11"/>
          <p:cNvSpPr/>
          <p:nvPr/>
        </p:nvSpPr>
        <p:spPr>
          <a:xfrm>
            <a:off x="8858250" y="3663950"/>
            <a:ext cx="1570355" cy="1604645"/>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补救措施</a:t>
            </a:r>
          </a:p>
        </p:txBody>
      </p:sp>
      <p:cxnSp>
        <p:nvCxnSpPr>
          <p:cNvPr id="13" name="直接箭头连接符 12"/>
          <p:cNvCxnSpPr>
            <a:stCxn id="5" idx="3"/>
            <a:endCxn id="12" idx="1"/>
          </p:cNvCxnSpPr>
          <p:nvPr/>
        </p:nvCxnSpPr>
        <p:spPr>
          <a:xfrm>
            <a:off x="7814310" y="4455160"/>
            <a:ext cx="1043940" cy="11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12" idx="2"/>
          </p:cNvCxnSpPr>
          <p:nvPr/>
        </p:nvCxnSpPr>
        <p:spPr>
          <a:xfrm>
            <a:off x="9643745" y="5268595"/>
            <a:ext cx="7620" cy="7435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文本框 16"/>
          <p:cNvSpPr txBox="1"/>
          <p:nvPr/>
        </p:nvSpPr>
        <p:spPr>
          <a:xfrm>
            <a:off x="9828530" y="5456555"/>
            <a:ext cx="1783080" cy="368300"/>
          </a:xfrm>
          <a:prstGeom prst="rect">
            <a:avLst/>
          </a:prstGeom>
          <a:noFill/>
        </p:spPr>
        <p:txBody>
          <a:bodyPr wrap="none" rtlCol="0">
            <a:spAutoFit/>
          </a:bodyPr>
          <a:lstStyle/>
          <a:p>
            <a:r>
              <a:rPr lang="zh-CN" altLang="en-US"/>
              <a:t>重复删除缓存？</a:t>
            </a:r>
          </a:p>
        </p:txBody>
      </p:sp>
      <p:sp>
        <p:nvSpPr>
          <p:cNvPr id="18" name="iṡľïḑè"/>
          <p:cNvSpPr txBox="1"/>
          <p:nvPr/>
        </p:nvSpPr>
        <p:spPr bwMode="auto">
          <a:xfrm>
            <a:off x="669925" y="1511300"/>
            <a:ext cx="4913630"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潜在问题</a:t>
            </a: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缓存删除</a:t>
            </a:r>
            <a:r>
              <a:rPr lang="en-US" altLang="zh-CN" sz="1400" b="0" dirty="0">
                <a:solidFill>
                  <a:schemeClr val="bg1">
                    <a:lumMod val="50000"/>
                  </a:schemeClr>
                </a:solidFill>
                <a:latin typeface="+mn-lt"/>
                <a:ea typeface="+mn-ea"/>
                <a:sym typeface="+mn-lt"/>
              </a:rPr>
              <a:t>IO</a:t>
            </a:r>
            <a:r>
              <a:rPr lang="zh-CN" altLang="en-US" sz="1400" b="0" dirty="0">
                <a:solidFill>
                  <a:schemeClr val="bg1">
                    <a:lumMod val="50000"/>
                  </a:schemeClr>
                </a:solidFill>
                <a:latin typeface="+mn-lt"/>
                <a:ea typeface="+mn-ea"/>
                <a:sym typeface="+mn-lt"/>
              </a:rPr>
              <a:t>异常造成数据不一致</a:t>
            </a: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读写并发造成不一致</a:t>
            </a:r>
          </a:p>
          <a:p>
            <a:pPr marL="1028700" lvl="1" indent="-571500">
              <a:lnSpc>
                <a:spcPct val="150000"/>
              </a:lnSpc>
              <a:buFont typeface="Wingdings" panose="05000000000000000000" charset="0"/>
              <a:buChar char=""/>
            </a:pPr>
            <a:endParaRPr lang="zh-CN" altLang="en-US" sz="14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针对</a:t>
            </a:r>
            <a:r>
              <a:rPr lang="en-US" altLang="zh-CN" sz="2000" b="0" dirty="0">
                <a:solidFill>
                  <a:schemeClr val="bg1">
                    <a:lumMod val="50000"/>
                  </a:schemeClr>
                </a:solidFill>
                <a:latin typeface="+mn-lt"/>
                <a:ea typeface="+mn-ea"/>
                <a:sym typeface="+mn-lt"/>
              </a:rPr>
              <a:t>IO</a:t>
            </a:r>
            <a:r>
              <a:rPr lang="zh-CN" altLang="en-US" sz="2000" b="0" dirty="0">
                <a:solidFill>
                  <a:schemeClr val="bg1">
                    <a:lumMod val="50000"/>
                  </a:schemeClr>
                </a:solidFill>
                <a:latin typeface="+mn-lt"/>
                <a:ea typeface="+mn-ea"/>
                <a:sym typeface="+mn-lt"/>
              </a:rPr>
              <a:t>异常可能的补救措施</a:t>
            </a:r>
            <a:endParaRPr lang="zh-CN" altLang="en-US" sz="1400" b="0" dirty="0">
              <a:solidFill>
                <a:schemeClr val="bg1">
                  <a:lumMod val="50000"/>
                </a:schemeClr>
              </a:solidFill>
              <a:latin typeface="+mn-lt"/>
              <a:ea typeface="+mn-ea"/>
              <a:sym typeface="+mn-lt"/>
            </a:endParaRPr>
          </a:p>
          <a:p>
            <a:pPr marL="742950" lvl="1" indent="-28575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删除缓存（变成另外一种写法）</a:t>
            </a:r>
            <a:endParaRPr lang="zh-CN" altLang="en-US" sz="4000" b="0" dirty="0">
              <a:solidFill>
                <a:schemeClr val="bg1">
                  <a:lumMod val="50000"/>
                </a:schemeClr>
              </a:solidFill>
              <a:latin typeface="+mn-lt"/>
              <a:ea typeface="+mn-ea"/>
              <a:sym typeface="+mn-lt"/>
            </a:endParaRPr>
          </a:p>
          <a:p>
            <a:pPr indent="0">
              <a:lnSpc>
                <a:spcPct val="150000"/>
              </a:lnSpc>
              <a:buFont typeface="Wingdings" panose="05000000000000000000" charset="0"/>
              <a:buNone/>
            </a:pPr>
            <a:endParaRPr lang="zh-CN" altLang="en-US" sz="2000" b="0" dirty="0">
              <a:solidFill>
                <a:schemeClr val="bg1">
                  <a:lumMod val="50000"/>
                </a:schemeClr>
              </a:solidFill>
              <a:latin typeface="+mn-lt"/>
              <a:ea typeface="+mn-ea"/>
              <a:sym typeface="+mn-l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sym typeface="+mn-ea"/>
              </a:rPr>
              <a:t>并发导致不一致</a:t>
            </a:r>
            <a:r>
              <a:rPr lang="en-US" altLang="zh-CN" dirty="0"/>
              <a:t>——</a:t>
            </a:r>
            <a:r>
              <a:rPr lang="zh-CN" altLang="en-US" dirty="0"/>
              <a:t>读写并发问题（先</a:t>
            </a:r>
            <a:r>
              <a:rPr lang="en-US" altLang="zh-CN" dirty="0"/>
              <a:t>DB</a:t>
            </a:r>
            <a:r>
              <a:rPr lang="zh-CN" altLang="en-US" dirty="0"/>
              <a:t>，后删除缓存）</a:t>
            </a:r>
          </a:p>
        </p:txBody>
      </p:sp>
      <p:pic>
        <p:nvPicPr>
          <p:cNvPr id="3" name="图片 2"/>
          <p:cNvPicPr>
            <a:picLocks noChangeAspect="1"/>
          </p:cNvPicPr>
          <p:nvPr/>
        </p:nvPicPr>
        <p:blipFill>
          <a:blip r:embed="rId3"/>
          <a:stretch>
            <a:fillRect/>
          </a:stretch>
        </p:blipFill>
        <p:spPr>
          <a:xfrm>
            <a:off x="669290" y="1343025"/>
            <a:ext cx="10511790" cy="508381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en-US" altLang="zh-CN" dirty="0"/>
              <a:t>Cache Aside</a:t>
            </a:r>
            <a:r>
              <a:rPr lang="zh-CN" altLang="en-US" dirty="0"/>
              <a:t>最佳探索</a:t>
            </a:r>
            <a:r>
              <a:rPr lang="en-US" altLang="zh-CN" dirty="0"/>
              <a:t>——</a:t>
            </a:r>
            <a:r>
              <a:rPr lang="zh-CN" altLang="en-US" dirty="0"/>
              <a:t>一些总结</a:t>
            </a:r>
          </a:p>
        </p:txBody>
      </p:sp>
      <p:sp>
        <p:nvSpPr>
          <p:cNvPr id="18" name="iṡľïḑè"/>
          <p:cNvSpPr txBox="1"/>
          <p:nvPr/>
        </p:nvSpPr>
        <p:spPr bwMode="auto">
          <a:xfrm>
            <a:off x="669925" y="1410970"/>
            <a:ext cx="10284460" cy="444754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先操作存储，还是先操作缓存？</a:t>
            </a:r>
          </a:p>
          <a:p>
            <a:pPr marL="914400" lvl="1" indent="-4572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一般情况下，先操作存储</a:t>
            </a:r>
            <a:endParaRPr lang="zh-CN" altLang="en-US" sz="28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删除缓存，还是更新缓存？</a:t>
            </a:r>
            <a:endParaRPr lang="zh-CN" altLang="en-US" sz="1400" b="0" dirty="0">
              <a:solidFill>
                <a:schemeClr val="bg1">
                  <a:lumMod val="50000"/>
                </a:schemeClr>
              </a:solidFill>
              <a:latin typeface="+mn-lt"/>
              <a:ea typeface="+mn-ea"/>
              <a:sym typeface="+mn-lt"/>
            </a:endParaRPr>
          </a:p>
          <a:p>
            <a:pPr marL="742950" lvl="1" indent="-28575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更新操作不支持幂等性</a:t>
            </a:r>
          </a:p>
          <a:p>
            <a:pPr marL="742950" lvl="1" indent="-28575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一般情况下，删除缓存</a:t>
            </a:r>
            <a:r>
              <a:rPr lang="en-US" altLang="zh-CN" sz="1400" b="0" dirty="0">
                <a:solidFill>
                  <a:schemeClr val="bg1">
                    <a:lumMod val="50000"/>
                  </a:schemeClr>
                </a:solidFill>
                <a:latin typeface="+mn-lt"/>
                <a:ea typeface="+mn-ea"/>
                <a:sym typeface="+mn-lt"/>
              </a:rPr>
              <a:t>(</a:t>
            </a:r>
            <a:r>
              <a:rPr lang="zh-CN" altLang="en-US" sz="1400" b="0" dirty="0">
                <a:solidFill>
                  <a:schemeClr val="bg1">
                    <a:lumMod val="50000"/>
                  </a:schemeClr>
                </a:solidFill>
                <a:latin typeface="+mn-lt"/>
                <a:ea typeface="+mn-ea"/>
                <a:sym typeface="+mn-lt"/>
              </a:rPr>
              <a:t>可以避免双写并发，代价是多一次</a:t>
            </a:r>
            <a:r>
              <a:rPr lang="en-US" altLang="zh-CN" sz="1400" b="0" dirty="0">
                <a:solidFill>
                  <a:schemeClr val="bg1">
                    <a:lumMod val="50000"/>
                  </a:schemeClr>
                </a:solidFill>
                <a:latin typeface="+mn-lt"/>
                <a:ea typeface="+mn-ea"/>
                <a:sym typeface="+mn-lt"/>
              </a:rPr>
              <a:t>MISS</a:t>
            </a:r>
            <a:r>
              <a:rPr lang="zh-CN" altLang="en-US" sz="1400" b="0" dirty="0">
                <a:solidFill>
                  <a:schemeClr val="bg1">
                    <a:lumMod val="50000"/>
                  </a:schemeClr>
                </a:solidFill>
                <a:latin typeface="+mn-lt"/>
                <a:ea typeface="+mn-ea"/>
                <a:sym typeface="+mn-lt"/>
              </a:rPr>
              <a:t>）</a:t>
            </a:r>
            <a:endParaRPr lang="en-US" altLang="zh-CN" sz="14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关于并发异常</a:t>
            </a: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读写并发，不可避免</a:t>
            </a: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双写并发，可以避免</a:t>
            </a:r>
            <a:endParaRPr lang="zh-CN" altLang="en-US" sz="1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不借助外部力量，不可能实现</a:t>
            </a:r>
            <a:r>
              <a:rPr lang="en-US" altLang="zh-CN" sz="2000" b="0" dirty="0">
                <a:solidFill>
                  <a:schemeClr val="bg1">
                    <a:lumMod val="50000"/>
                  </a:schemeClr>
                </a:solidFill>
                <a:latin typeface="+mn-lt"/>
                <a:ea typeface="+mn-ea"/>
                <a:sym typeface="+mn-lt"/>
              </a:rPr>
              <a:t>100%</a:t>
            </a:r>
            <a:r>
              <a:rPr lang="zh-CN" altLang="en-US" sz="2000" b="0" dirty="0">
                <a:solidFill>
                  <a:schemeClr val="bg1">
                    <a:lumMod val="50000"/>
                  </a:schemeClr>
                </a:solidFill>
                <a:latin typeface="+mn-lt"/>
                <a:ea typeface="+mn-ea"/>
                <a:sym typeface="+mn-lt"/>
              </a:rPr>
              <a:t>强一致</a:t>
            </a:r>
          </a:p>
          <a:p>
            <a:pPr marL="914400" lvl="1" indent="-457200">
              <a:lnSpc>
                <a:spcPct val="150000"/>
              </a:lnSpc>
              <a:buFont typeface="Wingdings" panose="05000000000000000000" charset="0"/>
              <a:buChar char=""/>
            </a:pPr>
            <a:r>
              <a:rPr lang="zh-CN" altLang="en-US" sz="1400" b="0" dirty="0">
                <a:solidFill>
                  <a:schemeClr val="bg1">
                    <a:lumMod val="50000"/>
                  </a:schemeClr>
                </a:solidFill>
                <a:latin typeface="+mn-lt"/>
                <a:ea typeface="+mn-ea"/>
                <a:cs typeface="+mn-cs"/>
                <a:sym typeface="+mn-lt"/>
              </a:rPr>
              <a:t>完美的分布式锁或者分布式事务</a:t>
            </a:r>
            <a:endParaRPr lang="zh-CN" altLang="en-US" sz="8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en-US" altLang="zh-CN" sz="2000" b="0" dirty="0">
                <a:solidFill>
                  <a:schemeClr val="bg1">
                    <a:lumMod val="50000"/>
                  </a:schemeClr>
                </a:solidFill>
                <a:latin typeface="+mn-lt"/>
                <a:ea typeface="+mn-ea"/>
                <a:sym typeface="+mn-lt"/>
              </a:rPr>
              <a:t>IO</a:t>
            </a:r>
            <a:r>
              <a:rPr lang="zh-CN" altLang="en-US" sz="2000" b="0" dirty="0">
                <a:solidFill>
                  <a:schemeClr val="bg1">
                    <a:lumMod val="50000"/>
                  </a:schemeClr>
                </a:solidFill>
                <a:latin typeface="+mn-lt"/>
                <a:ea typeface="+mn-ea"/>
                <a:sym typeface="+mn-lt"/>
              </a:rPr>
              <a:t>异常造成不一致的概率，借助重试可以无限趋近于</a:t>
            </a:r>
            <a:r>
              <a:rPr lang="en-US" altLang="zh-CN" sz="2000" b="0" dirty="0">
                <a:solidFill>
                  <a:schemeClr val="bg1">
                    <a:lumMod val="50000"/>
                  </a:schemeClr>
                </a:solidFill>
                <a:latin typeface="+mn-lt"/>
                <a:ea typeface="+mn-ea"/>
                <a:sym typeface="+mn-lt"/>
              </a:rPr>
              <a:t>0</a:t>
            </a:r>
            <a:endParaRPr lang="zh-CN" altLang="en-US" sz="2000" b="0" dirty="0">
              <a:solidFill>
                <a:schemeClr val="bg1">
                  <a:lumMod val="50000"/>
                </a:schemeClr>
              </a:solidFill>
              <a:latin typeface="+mn-lt"/>
              <a:ea typeface="+mn-ea"/>
              <a:sym typeface="+mn-lt"/>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标题 1"/>
          <p:cNvSpPr>
            <a:spLocks noGrp="1"/>
          </p:cNvSpPr>
          <p:nvPr>
            <p:ph type="title"/>
          </p:nvPr>
        </p:nvSpPr>
        <p:spPr/>
        <p:txBody>
          <a:bodyPr/>
          <a:lstStyle/>
          <a:p>
            <a:r>
              <a:rPr lang="en-US" altLang="zh-CN" dirty="0">
                <a:sym typeface="+mn-ea"/>
              </a:rPr>
              <a:t>Cache Aside</a:t>
            </a:r>
            <a:r>
              <a:rPr lang="zh-CN" altLang="en-US" dirty="0">
                <a:sym typeface="+mn-ea"/>
              </a:rPr>
              <a:t>模式</a:t>
            </a:r>
            <a:r>
              <a:rPr lang="en-US" altLang="zh-CN" dirty="0">
                <a:sym typeface="+mn-ea"/>
              </a:rPr>
              <a:t>——</a:t>
            </a:r>
            <a:r>
              <a:rPr lang="zh-CN" altLang="en-US" dirty="0">
                <a:sym typeface="+mn-ea"/>
              </a:rPr>
              <a:t>最佳实践</a:t>
            </a:r>
            <a:endParaRPr lang="zh-CN" altLang="en-US" dirty="0"/>
          </a:p>
        </p:txBody>
      </p:sp>
      <p:grpSp>
        <p:nvGrpSpPr>
          <p:cNvPr id="270" name="#28212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21650" y="1209324"/>
            <a:ext cx="11542125" cy="4843068"/>
            <a:chOff x="-21650" y="1209324"/>
            <a:chExt cx="11542125" cy="4843068"/>
          </a:xfrm>
        </p:grpSpPr>
        <p:sp>
          <p:nvSpPr>
            <p:cNvPr id="271" name="ïSḷîḓé"/>
            <p:cNvSpPr/>
            <p:nvPr/>
          </p:nvSpPr>
          <p:spPr bwMode="auto">
            <a:xfrm flipH="1">
              <a:off x="0" y="1209324"/>
              <a:ext cx="2881571" cy="4007704"/>
            </a:xfrm>
            <a:custGeom>
              <a:avLst/>
              <a:gdLst>
                <a:gd name="connsiteX0" fmla="*/ 2875537 w 2881571"/>
                <a:gd name="connsiteY0" fmla="*/ 0 h 4007704"/>
                <a:gd name="connsiteX1" fmla="*/ 2875537 w 2881571"/>
                <a:gd name="connsiteY1" fmla="*/ 68861 h 4007704"/>
                <a:gd name="connsiteX2" fmla="*/ 815103 w 2881571"/>
                <a:gd name="connsiteY2" fmla="*/ 68861 h 4007704"/>
                <a:gd name="connsiteX3" fmla="*/ 0 w 2881571"/>
                <a:gd name="connsiteY3" fmla="*/ 883964 h 4007704"/>
                <a:gd name="connsiteX4" fmla="*/ 0 w 2881571"/>
                <a:gd name="connsiteY4" fmla="*/ 4007704 h 4007704"/>
                <a:gd name="connsiteX5" fmla="*/ 439899 w 2881571"/>
                <a:gd name="connsiteY5" fmla="*/ 4007704 h 4007704"/>
                <a:gd name="connsiteX6" fmla="*/ 439899 w 2881571"/>
                <a:gd name="connsiteY6" fmla="*/ 883964 h 4007704"/>
                <a:gd name="connsiteX7" fmla="*/ 815103 w 2881571"/>
                <a:gd name="connsiteY7" fmla="*/ 508760 h 4007704"/>
                <a:gd name="connsiteX8" fmla="*/ 2875537 w 2881571"/>
                <a:gd name="connsiteY8" fmla="*/ 508760 h 4007704"/>
                <a:gd name="connsiteX9" fmla="*/ 2875537 w 2881571"/>
                <a:gd name="connsiteY9" fmla="*/ 577621 h 4007704"/>
                <a:gd name="connsiteX10" fmla="*/ 2881571 w 2881571"/>
                <a:gd name="connsiteY10" fmla="*/ 575288 h 4007704"/>
                <a:gd name="connsiteX11" fmla="*/ 2881571 w 2881571"/>
                <a:gd name="connsiteY11" fmla="*/ 2334 h 400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1571" h="4007704">
                  <a:moveTo>
                    <a:pt x="2875537" y="0"/>
                  </a:moveTo>
                  <a:lnTo>
                    <a:pt x="2875537" y="68861"/>
                  </a:lnTo>
                  <a:lnTo>
                    <a:pt x="815103" y="68861"/>
                  </a:lnTo>
                  <a:cubicBezTo>
                    <a:pt x="364934" y="68861"/>
                    <a:pt x="0" y="433795"/>
                    <a:pt x="0" y="883964"/>
                  </a:cubicBezTo>
                  <a:lnTo>
                    <a:pt x="0" y="4007704"/>
                  </a:lnTo>
                  <a:lnTo>
                    <a:pt x="439899" y="4007704"/>
                  </a:lnTo>
                  <a:lnTo>
                    <a:pt x="439899" y="883964"/>
                  </a:lnTo>
                  <a:cubicBezTo>
                    <a:pt x="439899" y="676745"/>
                    <a:pt x="607884" y="508760"/>
                    <a:pt x="815103" y="508760"/>
                  </a:cubicBezTo>
                  <a:lnTo>
                    <a:pt x="2875537" y="508760"/>
                  </a:lnTo>
                  <a:lnTo>
                    <a:pt x="2875537" y="577621"/>
                  </a:lnTo>
                  <a:lnTo>
                    <a:pt x="2881571" y="575288"/>
                  </a:lnTo>
                  <a:lnTo>
                    <a:pt x="2881571" y="2334"/>
                  </a:lnTo>
                  <a:close/>
                </a:path>
              </a:pathLst>
            </a:custGeom>
            <a:solidFill>
              <a:schemeClr val="bg1">
                <a:lumMod val="85000"/>
              </a:schemeClr>
            </a:solidFill>
            <a:ln>
              <a:noFill/>
            </a:ln>
            <a:effectLst/>
          </p:spPr>
          <p:txBody>
            <a:bodyPr wrap="square" anchor="ctr">
              <a:noAutofit/>
            </a:bodyPr>
            <a:lstStyle/>
            <a:p>
              <a:pPr algn="ctr"/>
              <a:endParaRPr/>
            </a:p>
          </p:txBody>
        </p:sp>
        <p:sp>
          <p:nvSpPr>
            <p:cNvPr id="272" name="íśḻïďé"/>
            <p:cNvSpPr/>
            <p:nvPr/>
          </p:nvSpPr>
          <p:spPr bwMode="auto">
            <a:xfrm flipH="1" flipV="1">
              <a:off x="0" y="2044688"/>
              <a:ext cx="2881571" cy="4007704"/>
            </a:xfrm>
            <a:custGeom>
              <a:avLst/>
              <a:gdLst>
                <a:gd name="connsiteX0" fmla="*/ 439899 w 2881571"/>
                <a:gd name="connsiteY0" fmla="*/ 4007704 h 4007704"/>
                <a:gd name="connsiteX1" fmla="*/ 0 w 2881571"/>
                <a:gd name="connsiteY1" fmla="*/ 4007704 h 4007704"/>
                <a:gd name="connsiteX2" fmla="*/ 0 w 2881571"/>
                <a:gd name="connsiteY2" fmla="*/ 883964 h 4007704"/>
                <a:gd name="connsiteX3" fmla="*/ 815103 w 2881571"/>
                <a:gd name="connsiteY3" fmla="*/ 68861 h 4007704"/>
                <a:gd name="connsiteX4" fmla="*/ 2875537 w 2881571"/>
                <a:gd name="connsiteY4" fmla="*/ 68861 h 4007704"/>
                <a:gd name="connsiteX5" fmla="*/ 2875537 w 2881571"/>
                <a:gd name="connsiteY5" fmla="*/ 0 h 4007704"/>
                <a:gd name="connsiteX6" fmla="*/ 2881571 w 2881571"/>
                <a:gd name="connsiteY6" fmla="*/ 2334 h 4007704"/>
                <a:gd name="connsiteX7" fmla="*/ 2881571 w 2881571"/>
                <a:gd name="connsiteY7" fmla="*/ 575288 h 4007704"/>
                <a:gd name="connsiteX8" fmla="*/ 2875537 w 2881571"/>
                <a:gd name="connsiteY8" fmla="*/ 577621 h 4007704"/>
                <a:gd name="connsiteX9" fmla="*/ 2875537 w 2881571"/>
                <a:gd name="connsiteY9" fmla="*/ 508760 h 4007704"/>
                <a:gd name="connsiteX10" fmla="*/ 815103 w 2881571"/>
                <a:gd name="connsiteY10" fmla="*/ 508760 h 4007704"/>
                <a:gd name="connsiteX11" fmla="*/ 439899 w 2881571"/>
                <a:gd name="connsiteY11" fmla="*/ 883964 h 400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1571" h="4007704">
                  <a:moveTo>
                    <a:pt x="439899" y="4007704"/>
                  </a:moveTo>
                  <a:lnTo>
                    <a:pt x="0" y="4007704"/>
                  </a:lnTo>
                  <a:lnTo>
                    <a:pt x="0" y="883964"/>
                  </a:lnTo>
                  <a:cubicBezTo>
                    <a:pt x="0" y="433795"/>
                    <a:pt x="364934" y="68861"/>
                    <a:pt x="815103" y="68861"/>
                  </a:cubicBezTo>
                  <a:lnTo>
                    <a:pt x="2875537" y="68861"/>
                  </a:lnTo>
                  <a:lnTo>
                    <a:pt x="2875537" y="0"/>
                  </a:lnTo>
                  <a:lnTo>
                    <a:pt x="2881571" y="2334"/>
                  </a:lnTo>
                  <a:lnTo>
                    <a:pt x="2881571" y="575288"/>
                  </a:lnTo>
                  <a:lnTo>
                    <a:pt x="2875537" y="577621"/>
                  </a:lnTo>
                  <a:lnTo>
                    <a:pt x="2875537" y="508760"/>
                  </a:lnTo>
                  <a:lnTo>
                    <a:pt x="815103" y="508760"/>
                  </a:lnTo>
                  <a:cubicBezTo>
                    <a:pt x="607884" y="508760"/>
                    <a:pt x="439899" y="676745"/>
                    <a:pt x="439899" y="883964"/>
                  </a:cubicBezTo>
                  <a:close/>
                </a:path>
              </a:pathLst>
            </a:custGeom>
            <a:solidFill>
              <a:schemeClr val="bg1">
                <a:lumMod val="85000"/>
              </a:schemeClr>
            </a:solidFill>
            <a:ln>
              <a:noFill/>
            </a:ln>
            <a:effectLst/>
          </p:spPr>
          <p:txBody>
            <a:bodyPr wrap="square" anchor="ctr">
              <a:noAutofit/>
            </a:bodyPr>
            <a:lstStyle/>
            <a:p>
              <a:pPr algn="ctr"/>
              <a:endParaRPr/>
            </a:p>
          </p:txBody>
        </p:sp>
        <p:sp>
          <p:nvSpPr>
            <p:cNvPr id="273" name="ïṧlîḍe"/>
            <p:cNvSpPr/>
            <p:nvPr/>
          </p:nvSpPr>
          <p:spPr>
            <a:xfrm rot="5400000" flipH="1">
              <a:off x="2145129" y="1509728"/>
              <a:ext cx="520928" cy="480096"/>
            </a:xfrm>
            <a:custGeom>
              <a:avLst/>
              <a:gdLst>
                <a:gd name="connsiteX0" fmla="*/ 1214556 w 2429112"/>
                <a:gd name="connsiteY0" fmla="*/ 0 h 1200150"/>
                <a:gd name="connsiteX1" fmla="*/ 2423604 w 2429112"/>
                <a:gd name="connsiteY1" fmla="*/ 1091063 h 1200150"/>
                <a:gd name="connsiteX2" fmla="*/ 2429112 w 2429112"/>
                <a:gd name="connsiteY2" fmla="*/ 1200150 h 1200150"/>
                <a:gd name="connsiteX3" fmla="*/ 0 w 2429112"/>
                <a:gd name="connsiteY3" fmla="*/ 1200150 h 1200150"/>
                <a:gd name="connsiteX4" fmla="*/ 5509 w 2429112"/>
                <a:gd name="connsiteY4" fmla="*/ 1091063 h 1200150"/>
                <a:gd name="connsiteX5" fmla="*/ 1214556 w 2429112"/>
                <a:gd name="connsiteY5" fmla="*/ 0 h 1200150"/>
                <a:gd name="connsiteX0-1" fmla="*/ 1214556 w 2429112"/>
                <a:gd name="connsiteY0-2" fmla="*/ 0 h 1420283"/>
                <a:gd name="connsiteX1-3" fmla="*/ 2423604 w 2429112"/>
                <a:gd name="connsiteY1-4" fmla="*/ 1091063 h 1420283"/>
                <a:gd name="connsiteX2-5" fmla="*/ 2429112 w 2429112"/>
                <a:gd name="connsiteY2-6" fmla="*/ 1200150 h 1420283"/>
                <a:gd name="connsiteX3-7" fmla="*/ 0 w 2429112"/>
                <a:gd name="connsiteY3-8" fmla="*/ 1200150 h 1420283"/>
                <a:gd name="connsiteX4-9" fmla="*/ 5509 w 2429112"/>
                <a:gd name="connsiteY4-10" fmla="*/ 1091063 h 1420283"/>
                <a:gd name="connsiteX5-11" fmla="*/ 1214556 w 2429112"/>
                <a:gd name="connsiteY5-12" fmla="*/ 0 h 1420283"/>
                <a:gd name="connsiteX0-13" fmla="*/ 0 w 2429112"/>
                <a:gd name="connsiteY0-14" fmla="*/ 1200150 h 1450099"/>
                <a:gd name="connsiteX1-15" fmla="*/ 5509 w 2429112"/>
                <a:gd name="connsiteY1-16" fmla="*/ 1091063 h 1450099"/>
                <a:gd name="connsiteX2-17" fmla="*/ 1214556 w 2429112"/>
                <a:gd name="connsiteY2-18" fmla="*/ 0 h 1450099"/>
                <a:gd name="connsiteX3-19" fmla="*/ 2423604 w 2429112"/>
                <a:gd name="connsiteY3-20" fmla="*/ 1091063 h 1450099"/>
                <a:gd name="connsiteX4-21" fmla="*/ 2429112 w 2429112"/>
                <a:gd name="connsiteY4-22" fmla="*/ 1200150 h 1450099"/>
                <a:gd name="connsiteX5-23" fmla="*/ 91440 w 2429112"/>
                <a:gd name="connsiteY5-24" fmla="*/ 1291590 h 1450099"/>
                <a:gd name="connsiteX0-25" fmla="*/ 0 w 2429112"/>
                <a:gd name="connsiteY0-26" fmla="*/ 1200150 h 1450099"/>
                <a:gd name="connsiteX1-27" fmla="*/ 5509 w 2429112"/>
                <a:gd name="connsiteY1-28" fmla="*/ 1091063 h 1450099"/>
                <a:gd name="connsiteX2-29" fmla="*/ 1214556 w 2429112"/>
                <a:gd name="connsiteY2-30" fmla="*/ 0 h 1450099"/>
                <a:gd name="connsiteX3-31" fmla="*/ 2423604 w 2429112"/>
                <a:gd name="connsiteY3-32" fmla="*/ 1091063 h 1450099"/>
                <a:gd name="connsiteX4-33" fmla="*/ 2429112 w 2429112"/>
                <a:gd name="connsiteY4-34" fmla="*/ 1200150 h 1450099"/>
                <a:gd name="connsiteX5-35" fmla="*/ 43815 w 2429112"/>
                <a:gd name="connsiteY5-36" fmla="*/ 1291590 h 1450099"/>
                <a:gd name="connsiteX0-37" fmla="*/ 0 w 2429112"/>
                <a:gd name="connsiteY0-38" fmla="*/ 1200150 h 1450099"/>
                <a:gd name="connsiteX1-39" fmla="*/ 5509 w 2429112"/>
                <a:gd name="connsiteY1-40" fmla="*/ 1091063 h 1450099"/>
                <a:gd name="connsiteX2-41" fmla="*/ 1214556 w 2429112"/>
                <a:gd name="connsiteY2-42" fmla="*/ 0 h 1450099"/>
                <a:gd name="connsiteX3-43" fmla="*/ 2423604 w 2429112"/>
                <a:gd name="connsiteY3-44" fmla="*/ 1091063 h 1450099"/>
                <a:gd name="connsiteX4-45" fmla="*/ 2429112 w 2429112"/>
                <a:gd name="connsiteY4-46" fmla="*/ 1200150 h 1450099"/>
                <a:gd name="connsiteX5-47" fmla="*/ 34290 w 2429112"/>
                <a:gd name="connsiteY5-48" fmla="*/ 1291590 h 1450099"/>
                <a:gd name="connsiteX0-49" fmla="*/ 0 w 2429112"/>
                <a:gd name="connsiteY0-50" fmla="*/ 1200150 h 1442532"/>
                <a:gd name="connsiteX1-51" fmla="*/ 5509 w 2429112"/>
                <a:gd name="connsiteY1-52" fmla="*/ 1091063 h 1442532"/>
                <a:gd name="connsiteX2-53" fmla="*/ 1214556 w 2429112"/>
                <a:gd name="connsiteY2-54" fmla="*/ 0 h 1442532"/>
                <a:gd name="connsiteX3-55" fmla="*/ 2423604 w 2429112"/>
                <a:gd name="connsiteY3-56" fmla="*/ 1091063 h 1442532"/>
                <a:gd name="connsiteX4-57" fmla="*/ 2429112 w 2429112"/>
                <a:gd name="connsiteY4-58" fmla="*/ 1200150 h 1442532"/>
                <a:gd name="connsiteX5-59" fmla="*/ 34290 w 2429112"/>
                <a:gd name="connsiteY5-60" fmla="*/ 1282065 h 1442532"/>
                <a:gd name="connsiteX0-61" fmla="*/ 0 w 2429112"/>
                <a:gd name="connsiteY0-62" fmla="*/ 1200150 h 1442532"/>
                <a:gd name="connsiteX1-63" fmla="*/ 5509 w 2429112"/>
                <a:gd name="connsiteY1-64" fmla="*/ 1091063 h 1442532"/>
                <a:gd name="connsiteX2-65" fmla="*/ 1214556 w 2429112"/>
                <a:gd name="connsiteY2-66" fmla="*/ 0 h 1442532"/>
                <a:gd name="connsiteX3-67" fmla="*/ 2423604 w 2429112"/>
                <a:gd name="connsiteY3-68" fmla="*/ 1091063 h 1442532"/>
                <a:gd name="connsiteX4-69" fmla="*/ 2429112 w 2429112"/>
                <a:gd name="connsiteY4-70" fmla="*/ 1200150 h 1442532"/>
                <a:gd name="connsiteX5-71" fmla="*/ 53340 w 2429112"/>
                <a:gd name="connsiteY5-72" fmla="*/ 1282065 h 1442532"/>
                <a:gd name="connsiteX0-73" fmla="*/ 0 w 2429112"/>
                <a:gd name="connsiteY0-74" fmla="*/ 1200150 h 1617722"/>
                <a:gd name="connsiteX1-75" fmla="*/ 5509 w 2429112"/>
                <a:gd name="connsiteY1-76" fmla="*/ 1091063 h 1617722"/>
                <a:gd name="connsiteX2-77" fmla="*/ 1214556 w 2429112"/>
                <a:gd name="connsiteY2-78" fmla="*/ 0 h 1617722"/>
                <a:gd name="connsiteX3-79" fmla="*/ 2423604 w 2429112"/>
                <a:gd name="connsiteY3-80" fmla="*/ 1091063 h 1617722"/>
                <a:gd name="connsiteX4-81" fmla="*/ 2429112 w 2429112"/>
                <a:gd name="connsiteY4-82" fmla="*/ 1200150 h 1617722"/>
                <a:gd name="connsiteX5-83" fmla="*/ 186690 w 2429112"/>
                <a:gd name="connsiteY5-84" fmla="*/ 1491615 h 1617722"/>
                <a:gd name="connsiteX0-85" fmla="*/ 0 w 2429112"/>
                <a:gd name="connsiteY0-86" fmla="*/ 1200150 h 1200150"/>
                <a:gd name="connsiteX1-87" fmla="*/ 5509 w 2429112"/>
                <a:gd name="connsiteY1-88" fmla="*/ 1091063 h 1200150"/>
                <a:gd name="connsiteX2-89" fmla="*/ 1214556 w 2429112"/>
                <a:gd name="connsiteY2-90" fmla="*/ 0 h 1200150"/>
                <a:gd name="connsiteX3-91" fmla="*/ 2423604 w 2429112"/>
                <a:gd name="connsiteY3-92" fmla="*/ 1091063 h 1200150"/>
                <a:gd name="connsiteX4-93" fmla="*/ 2429112 w 2429112"/>
                <a:gd name="connsiteY4-94" fmla="*/ 1200150 h 1200150"/>
                <a:gd name="connsiteX0-95" fmla="*/ 0 w 2429112"/>
                <a:gd name="connsiteY0-96" fmla="*/ 1200150 h 1200150"/>
                <a:gd name="connsiteX1-97" fmla="*/ 1214556 w 2429112"/>
                <a:gd name="connsiteY1-98" fmla="*/ 0 h 1200150"/>
                <a:gd name="connsiteX2-99" fmla="*/ 2423604 w 2429112"/>
                <a:gd name="connsiteY2-100" fmla="*/ 1091063 h 1200150"/>
                <a:gd name="connsiteX3-101" fmla="*/ 2429112 w 2429112"/>
                <a:gd name="connsiteY3-102" fmla="*/ 1200150 h 1200150"/>
                <a:gd name="connsiteX0-103" fmla="*/ -1 w 1214555"/>
                <a:gd name="connsiteY0-104" fmla="*/ 0 h 1200150"/>
                <a:gd name="connsiteX1-105" fmla="*/ 1209047 w 1214555"/>
                <a:gd name="connsiteY1-106" fmla="*/ 1091063 h 1200150"/>
                <a:gd name="connsiteX2-107" fmla="*/ 1214555 w 1214555"/>
                <a:gd name="connsiteY2-108" fmla="*/ 1200150 h 1200150"/>
                <a:gd name="connsiteX0-109" fmla="*/ -1 w 1209047"/>
                <a:gd name="connsiteY0-110" fmla="*/ 0 h 1091063"/>
                <a:gd name="connsiteX1-111" fmla="*/ 1209047 w 1209047"/>
                <a:gd name="connsiteY1-112" fmla="*/ 1091063 h 1091063"/>
              </a:gdLst>
              <a:ahLst/>
              <a:cxnLst>
                <a:cxn ang="0">
                  <a:pos x="connsiteX0-1" y="connsiteY0-2"/>
                </a:cxn>
                <a:cxn ang="0">
                  <a:pos x="connsiteX1-3" y="connsiteY1-4"/>
                </a:cxn>
              </a:cxnLst>
              <a:rect l="l" t="t" r="r" b="b"/>
              <a:pathLst>
                <a:path w="1209047" h="1091063">
                  <a:moveTo>
                    <a:pt x="-1" y="0"/>
                  </a:moveTo>
                  <a:cubicBezTo>
                    <a:pt x="629253" y="0"/>
                    <a:pt x="1146810" y="478229"/>
                    <a:pt x="1209047" y="1091063"/>
                  </a:cubicBezTo>
                </a:path>
              </a:pathLst>
            </a:custGeom>
            <a:noFill/>
            <a:ln w="19050" cap="rnd">
              <a:solidFill>
                <a:schemeClr val="bg1"/>
              </a:solidFill>
              <a:prstDash val="dash"/>
              <a:beve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cxnSp>
          <p:nvCxnSpPr>
            <p:cNvPr id="274" name="直接连接符 273"/>
            <p:cNvCxnSpPr/>
            <p:nvPr/>
          </p:nvCxnSpPr>
          <p:spPr>
            <a:xfrm flipH="1">
              <a:off x="-21650" y="1489311"/>
              <a:ext cx="2187198"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75" name="iŝḻîdê"/>
            <p:cNvSpPr/>
            <p:nvPr/>
          </p:nvSpPr>
          <p:spPr>
            <a:xfrm rot="16200000" flipH="1" flipV="1">
              <a:off x="2163481" y="5256968"/>
              <a:ext cx="520928" cy="480096"/>
            </a:xfrm>
            <a:custGeom>
              <a:avLst/>
              <a:gdLst>
                <a:gd name="connsiteX0" fmla="*/ 1214556 w 2429112"/>
                <a:gd name="connsiteY0" fmla="*/ 0 h 1200150"/>
                <a:gd name="connsiteX1" fmla="*/ 2423604 w 2429112"/>
                <a:gd name="connsiteY1" fmla="*/ 1091063 h 1200150"/>
                <a:gd name="connsiteX2" fmla="*/ 2429112 w 2429112"/>
                <a:gd name="connsiteY2" fmla="*/ 1200150 h 1200150"/>
                <a:gd name="connsiteX3" fmla="*/ 0 w 2429112"/>
                <a:gd name="connsiteY3" fmla="*/ 1200150 h 1200150"/>
                <a:gd name="connsiteX4" fmla="*/ 5509 w 2429112"/>
                <a:gd name="connsiteY4" fmla="*/ 1091063 h 1200150"/>
                <a:gd name="connsiteX5" fmla="*/ 1214556 w 2429112"/>
                <a:gd name="connsiteY5" fmla="*/ 0 h 1200150"/>
                <a:gd name="connsiteX0-1" fmla="*/ 1214556 w 2429112"/>
                <a:gd name="connsiteY0-2" fmla="*/ 0 h 1420283"/>
                <a:gd name="connsiteX1-3" fmla="*/ 2423604 w 2429112"/>
                <a:gd name="connsiteY1-4" fmla="*/ 1091063 h 1420283"/>
                <a:gd name="connsiteX2-5" fmla="*/ 2429112 w 2429112"/>
                <a:gd name="connsiteY2-6" fmla="*/ 1200150 h 1420283"/>
                <a:gd name="connsiteX3-7" fmla="*/ 0 w 2429112"/>
                <a:gd name="connsiteY3-8" fmla="*/ 1200150 h 1420283"/>
                <a:gd name="connsiteX4-9" fmla="*/ 5509 w 2429112"/>
                <a:gd name="connsiteY4-10" fmla="*/ 1091063 h 1420283"/>
                <a:gd name="connsiteX5-11" fmla="*/ 1214556 w 2429112"/>
                <a:gd name="connsiteY5-12" fmla="*/ 0 h 1420283"/>
                <a:gd name="connsiteX0-13" fmla="*/ 0 w 2429112"/>
                <a:gd name="connsiteY0-14" fmla="*/ 1200150 h 1450099"/>
                <a:gd name="connsiteX1-15" fmla="*/ 5509 w 2429112"/>
                <a:gd name="connsiteY1-16" fmla="*/ 1091063 h 1450099"/>
                <a:gd name="connsiteX2-17" fmla="*/ 1214556 w 2429112"/>
                <a:gd name="connsiteY2-18" fmla="*/ 0 h 1450099"/>
                <a:gd name="connsiteX3-19" fmla="*/ 2423604 w 2429112"/>
                <a:gd name="connsiteY3-20" fmla="*/ 1091063 h 1450099"/>
                <a:gd name="connsiteX4-21" fmla="*/ 2429112 w 2429112"/>
                <a:gd name="connsiteY4-22" fmla="*/ 1200150 h 1450099"/>
                <a:gd name="connsiteX5-23" fmla="*/ 91440 w 2429112"/>
                <a:gd name="connsiteY5-24" fmla="*/ 1291590 h 1450099"/>
                <a:gd name="connsiteX0-25" fmla="*/ 0 w 2429112"/>
                <a:gd name="connsiteY0-26" fmla="*/ 1200150 h 1450099"/>
                <a:gd name="connsiteX1-27" fmla="*/ 5509 w 2429112"/>
                <a:gd name="connsiteY1-28" fmla="*/ 1091063 h 1450099"/>
                <a:gd name="connsiteX2-29" fmla="*/ 1214556 w 2429112"/>
                <a:gd name="connsiteY2-30" fmla="*/ 0 h 1450099"/>
                <a:gd name="connsiteX3-31" fmla="*/ 2423604 w 2429112"/>
                <a:gd name="connsiteY3-32" fmla="*/ 1091063 h 1450099"/>
                <a:gd name="connsiteX4-33" fmla="*/ 2429112 w 2429112"/>
                <a:gd name="connsiteY4-34" fmla="*/ 1200150 h 1450099"/>
                <a:gd name="connsiteX5-35" fmla="*/ 43815 w 2429112"/>
                <a:gd name="connsiteY5-36" fmla="*/ 1291590 h 1450099"/>
                <a:gd name="connsiteX0-37" fmla="*/ 0 w 2429112"/>
                <a:gd name="connsiteY0-38" fmla="*/ 1200150 h 1450099"/>
                <a:gd name="connsiteX1-39" fmla="*/ 5509 w 2429112"/>
                <a:gd name="connsiteY1-40" fmla="*/ 1091063 h 1450099"/>
                <a:gd name="connsiteX2-41" fmla="*/ 1214556 w 2429112"/>
                <a:gd name="connsiteY2-42" fmla="*/ 0 h 1450099"/>
                <a:gd name="connsiteX3-43" fmla="*/ 2423604 w 2429112"/>
                <a:gd name="connsiteY3-44" fmla="*/ 1091063 h 1450099"/>
                <a:gd name="connsiteX4-45" fmla="*/ 2429112 w 2429112"/>
                <a:gd name="connsiteY4-46" fmla="*/ 1200150 h 1450099"/>
                <a:gd name="connsiteX5-47" fmla="*/ 34290 w 2429112"/>
                <a:gd name="connsiteY5-48" fmla="*/ 1291590 h 1450099"/>
                <a:gd name="connsiteX0-49" fmla="*/ 0 w 2429112"/>
                <a:gd name="connsiteY0-50" fmla="*/ 1200150 h 1442532"/>
                <a:gd name="connsiteX1-51" fmla="*/ 5509 w 2429112"/>
                <a:gd name="connsiteY1-52" fmla="*/ 1091063 h 1442532"/>
                <a:gd name="connsiteX2-53" fmla="*/ 1214556 w 2429112"/>
                <a:gd name="connsiteY2-54" fmla="*/ 0 h 1442532"/>
                <a:gd name="connsiteX3-55" fmla="*/ 2423604 w 2429112"/>
                <a:gd name="connsiteY3-56" fmla="*/ 1091063 h 1442532"/>
                <a:gd name="connsiteX4-57" fmla="*/ 2429112 w 2429112"/>
                <a:gd name="connsiteY4-58" fmla="*/ 1200150 h 1442532"/>
                <a:gd name="connsiteX5-59" fmla="*/ 34290 w 2429112"/>
                <a:gd name="connsiteY5-60" fmla="*/ 1282065 h 1442532"/>
                <a:gd name="connsiteX0-61" fmla="*/ 0 w 2429112"/>
                <a:gd name="connsiteY0-62" fmla="*/ 1200150 h 1442532"/>
                <a:gd name="connsiteX1-63" fmla="*/ 5509 w 2429112"/>
                <a:gd name="connsiteY1-64" fmla="*/ 1091063 h 1442532"/>
                <a:gd name="connsiteX2-65" fmla="*/ 1214556 w 2429112"/>
                <a:gd name="connsiteY2-66" fmla="*/ 0 h 1442532"/>
                <a:gd name="connsiteX3-67" fmla="*/ 2423604 w 2429112"/>
                <a:gd name="connsiteY3-68" fmla="*/ 1091063 h 1442532"/>
                <a:gd name="connsiteX4-69" fmla="*/ 2429112 w 2429112"/>
                <a:gd name="connsiteY4-70" fmla="*/ 1200150 h 1442532"/>
                <a:gd name="connsiteX5-71" fmla="*/ 53340 w 2429112"/>
                <a:gd name="connsiteY5-72" fmla="*/ 1282065 h 1442532"/>
                <a:gd name="connsiteX0-73" fmla="*/ 0 w 2429112"/>
                <a:gd name="connsiteY0-74" fmla="*/ 1200150 h 1617722"/>
                <a:gd name="connsiteX1-75" fmla="*/ 5509 w 2429112"/>
                <a:gd name="connsiteY1-76" fmla="*/ 1091063 h 1617722"/>
                <a:gd name="connsiteX2-77" fmla="*/ 1214556 w 2429112"/>
                <a:gd name="connsiteY2-78" fmla="*/ 0 h 1617722"/>
                <a:gd name="connsiteX3-79" fmla="*/ 2423604 w 2429112"/>
                <a:gd name="connsiteY3-80" fmla="*/ 1091063 h 1617722"/>
                <a:gd name="connsiteX4-81" fmla="*/ 2429112 w 2429112"/>
                <a:gd name="connsiteY4-82" fmla="*/ 1200150 h 1617722"/>
                <a:gd name="connsiteX5-83" fmla="*/ 186690 w 2429112"/>
                <a:gd name="connsiteY5-84" fmla="*/ 1491615 h 1617722"/>
                <a:gd name="connsiteX0-85" fmla="*/ 0 w 2429112"/>
                <a:gd name="connsiteY0-86" fmla="*/ 1200150 h 1200150"/>
                <a:gd name="connsiteX1-87" fmla="*/ 5509 w 2429112"/>
                <a:gd name="connsiteY1-88" fmla="*/ 1091063 h 1200150"/>
                <a:gd name="connsiteX2-89" fmla="*/ 1214556 w 2429112"/>
                <a:gd name="connsiteY2-90" fmla="*/ 0 h 1200150"/>
                <a:gd name="connsiteX3-91" fmla="*/ 2423604 w 2429112"/>
                <a:gd name="connsiteY3-92" fmla="*/ 1091063 h 1200150"/>
                <a:gd name="connsiteX4-93" fmla="*/ 2429112 w 2429112"/>
                <a:gd name="connsiteY4-94" fmla="*/ 1200150 h 1200150"/>
                <a:gd name="connsiteX0-95" fmla="*/ 0 w 2429112"/>
                <a:gd name="connsiteY0-96" fmla="*/ 1200150 h 1200150"/>
                <a:gd name="connsiteX1-97" fmla="*/ 1214556 w 2429112"/>
                <a:gd name="connsiteY1-98" fmla="*/ 0 h 1200150"/>
                <a:gd name="connsiteX2-99" fmla="*/ 2423604 w 2429112"/>
                <a:gd name="connsiteY2-100" fmla="*/ 1091063 h 1200150"/>
                <a:gd name="connsiteX3-101" fmla="*/ 2429112 w 2429112"/>
                <a:gd name="connsiteY3-102" fmla="*/ 1200150 h 1200150"/>
                <a:gd name="connsiteX0-103" fmla="*/ -1 w 1214555"/>
                <a:gd name="connsiteY0-104" fmla="*/ 0 h 1200150"/>
                <a:gd name="connsiteX1-105" fmla="*/ 1209047 w 1214555"/>
                <a:gd name="connsiteY1-106" fmla="*/ 1091063 h 1200150"/>
                <a:gd name="connsiteX2-107" fmla="*/ 1214555 w 1214555"/>
                <a:gd name="connsiteY2-108" fmla="*/ 1200150 h 1200150"/>
                <a:gd name="connsiteX0-109" fmla="*/ -1 w 1209047"/>
                <a:gd name="connsiteY0-110" fmla="*/ 0 h 1091063"/>
                <a:gd name="connsiteX1-111" fmla="*/ 1209047 w 1209047"/>
                <a:gd name="connsiteY1-112" fmla="*/ 1091063 h 1091063"/>
              </a:gdLst>
              <a:ahLst/>
              <a:cxnLst>
                <a:cxn ang="0">
                  <a:pos x="connsiteX0-1" y="connsiteY0-2"/>
                </a:cxn>
                <a:cxn ang="0">
                  <a:pos x="connsiteX1-3" y="connsiteY1-4"/>
                </a:cxn>
              </a:cxnLst>
              <a:rect l="l" t="t" r="r" b="b"/>
              <a:pathLst>
                <a:path w="1209047" h="1091063">
                  <a:moveTo>
                    <a:pt x="-1" y="0"/>
                  </a:moveTo>
                  <a:cubicBezTo>
                    <a:pt x="629253" y="0"/>
                    <a:pt x="1146810" y="478229"/>
                    <a:pt x="1209047" y="1091063"/>
                  </a:cubicBezTo>
                </a:path>
              </a:pathLst>
            </a:custGeom>
            <a:noFill/>
            <a:ln w="19050" cap="rnd">
              <a:solidFill>
                <a:schemeClr val="bg1"/>
              </a:solidFill>
              <a:prstDash val="dash"/>
              <a:beve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cxnSp>
          <p:nvCxnSpPr>
            <p:cNvPr id="276" name="直接连接符 275"/>
            <p:cNvCxnSpPr/>
            <p:nvPr/>
          </p:nvCxnSpPr>
          <p:spPr>
            <a:xfrm flipH="1" flipV="1">
              <a:off x="961756" y="5371719"/>
              <a:ext cx="1222143"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77" name="直接连接符 276"/>
            <p:cNvCxnSpPr/>
            <p:nvPr/>
          </p:nvCxnSpPr>
          <p:spPr>
            <a:xfrm>
              <a:off x="2645641" y="2102870"/>
              <a:ext cx="23465" cy="3148606"/>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78" name="直接连接符 277"/>
            <p:cNvCxnSpPr/>
            <p:nvPr/>
          </p:nvCxnSpPr>
          <p:spPr>
            <a:xfrm flipH="1">
              <a:off x="-21650" y="5757480"/>
              <a:ext cx="2187198"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279" name="îṧḻíḍe"/>
            <p:cNvGrpSpPr/>
            <p:nvPr/>
          </p:nvGrpSpPr>
          <p:grpSpPr>
            <a:xfrm>
              <a:off x="3850707" y="1599634"/>
              <a:ext cx="826068" cy="826068"/>
              <a:chOff x="5035546" y="1746815"/>
              <a:chExt cx="874606" cy="874606"/>
            </a:xfrm>
          </p:grpSpPr>
          <p:sp>
            <p:nvSpPr>
              <p:cNvPr id="316" name="îślîdé"/>
              <p:cNvSpPr/>
              <p:nvPr/>
            </p:nvSpPr>
            <p:spPr>
              <a:xfrm rot="8100000">
                <a:off x="5035546" y="1746815"/>
                <a:ext cx="874606" cy="874606"/>
              </a:xfrm>
              <a:prstGeom prst="teardrop">
                <a:avLst/>
              </a:prstGeom>
              <a:solidFill>
                <a:schemeClr val="accent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17" name="îśliḋê"/>
              <p:cNvSpPr/>
              <p:nvPr/>
            </p:nvSpPr>
            <p:spPr bwMode="auto">
              <a:xfrm>
                <a:off x="5255015" y="1966284"/>
                <a:ext cx="435668" cy="435668"/>
              </a:xfrm>
              <a:custGeom>
                <a:avLst/>
                <a:gdLst>
                  <a:gd name="T0" fmla="*/ 184 w 260"/>
                  <a:gd name="T1" fmla="*/ 106 h 260"/>
                  <a:gd name="T2" fmla="*/ 193 w 260"/>
                  <a:gd name="T3" fmla="*/ 143 h 260"/>
                  <a:gd name="T4" fmla="*/ 117 w 260"/>
                  <a:gd name="T5" fmla="*/ 219 h 260"/>
                  <a:gd name="T6" fmla="*/ 42 w 260"/>
                  <a:gd name="T7" fmla="*/ 143 h 260"/>
                  <a:gd name="T8" fmla="*/ 117 w 260"/>
                  <a:gd name="T9" fmla="*/ 66 h 260"/>
                  <a:gd name="T10" fmla="*/ 154 w 260"/>
                  <a:gd name="T11" fmla="*/ 76 h 260"/>
                  <a:gd name="T12" fmla="*/ 183 w 260"/>
                  <a:gd name="T13" fmla="*/ 46 h 260"/>
                  <a:gd name="T14" fmla="*/ 117 w 260"/>
                  <a:gd name="T15" fmla="*/ 25 h 260"/>
                  <a:gd name="T16" fmla="*/ 0 w 260"/>
                  <a:gd name="T17" fmla="*/ 143 h 260"/>
                  <a:gd name="T18" fmla="*/ 117 w 260"/>
                  <a:gd name="T19" fmla="*/ 260 h 260"/>
                  <a:gd name="T20" fmla="*/ 233 w 260"/>
                  <a:gd name="T21" fmla="*/ 143 h 260"/>
                  <a:gd name="T22" fmla="*/ 213 w 260"/>
                  <a:gd name="T23" fmla="*/ 77 h 260"/>
                  <a:gd name="T24" fmla="*/ 184 w 260"/>
                  <a:gd name="T25" fmla="*/ 106 h 260"/>
                  <a:gd name="T26" fmla="*/ 225 w 260"/>
                  <a:gd name="T27" fmla="*/ 35 h 260"/>
                  <a:gd name="T28" fmla="*/ 225 w 260"/>
                  <a:gd name="T29" fmla="*/ 35 h 260"/>
                  <a:gd name="T30" fmla="*/ 225 w 260"/>
                  <a:gd name="T31" fmla="*/ 0 h 260"/>
                  <a:gd name="T32" fmla="*/ 203 w 260"/>
                  <a:gd name="T33" fmla="*/ 23 h 260"/>
                  <a:gd name="T34" fmla="*/ 203 w 260"/>
                  <a:gd name="T35" fmla="*/ 46 h 260"/>
                  <a:gd name="T36" fmla="*/ 139 w 260"/>
                  <a:gd name="T37" fmla="*/ 111 h 260"/>
                  <a:gd name="T38" fmla="*/ 117 w 260"/>
                  <a:gd name="T39" fmla="*/ 104 h 260"/>
                  <a:gd name="T40" fmla="*/ 79 w 260"/>
                  <a:gd name="T41" fmla="*/ 143 h 260"/>
                  <a:gd name="T42" fmla="*/ 117 w 260"/>
                  <a:gd name="T43" fmla="*/ 181 h 260"/>
                  <a:gd name="T44" fmla="*/ 155 w 260"/>
                  <a:gd name="T45" fmla="*/ 143 h 260"/>
                  <a:gd name="T46" fmla="*/ 150 w 260"/>
                  <a:gd name="T47" fmla="*/ 123 h 260"/>
                  <a:gd name="T48" fmla="*/ 215 w 260"/>
                  <a:gd name="T49" fmla="*/ 58 h 260"/>
                  <a:gd name="T50" fmla="*/ 237 w 260"/>
                  <a:gd name="T51" fmla="*/ 58 h 260"/>
                  <a:gd name="T52" fmla="*/ 260 w 260"/>
                  <a:gd name="T53" fmla="*/ 35 h 260"/>
                  <a:gd name="T54" fmla="*/ 225 w 260"/>
                  <a:gd name="T55"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0" h="260">
                    <a:moveTo>
                      <a:pt x="184" y="106"/>
                    </a:moveTo>
                    <a:cubicBezTo>
                      <a:pt x="190" y="117"/>
                      <a:pt x="193" y="129"/>
                      <a:pt x="193" y="143"/>
                    </a:cubicBezTo>
                    <a:cubicBezTo>
                      <a:pt x="193" y="185"/>
                      <a:pt x="159" y="219"/>
                      <a:pt x="117" y="219"/>
                    </a:cubicBezTo>
                    <a:cubicBezTo>
                      <a:pt x="76" y="219"/>
                      <a:pt x="42" y="185"/>
                      <a:pt x="42" y="143"/>
                    </a:cubicBezTo>
                    <a:cubicBezTo>
                      <a:pt x="42" y="100"/>
                      <a:pt x="76" y="66"/>
                      <a:pt x="117" y="66"/>
                    </a:cubicBezTo>
                    <a:cubicBezTo>
                      <a:pt x="131" y="66"/>
                      <a:pt x="143" y="70"/>
                      <a:pt x="154" y="76"/>
                    </a:cubicBezTo>
                    <a:cubicBezTo>
                      <a:pt x="183" y="46"/>
                      <a:pt x="183" y="46"/>
                      <a:pt x="183" y="46"/>
                    </a:cubicBezTo>
                    <a:cubicBezTo>
                      <a:pt x="165" y="33"/>
                      <a:pt x="141" y="25"/>
                      <a:pt x="117" y="25"/>
                    </a:cubicBezTo>
                    <a:cubicBezTo>
                      <a:pt x="52" y="25"/>
                      <a:pt x="0" y="78"/>
                      <a:pt x="0" y="143"/>
                    </a:cubicBezTo>
                    <a:cubicBezTo>
                      <a:pt x="0" y="207"/>
                      <a:pt x="52" y="260"/>
                      <a:pt x="117" y="260"/>
                    </a:cubicBezTo>
                    <a:cubicBezTo>
                      <a:pt x="181" y="260"/>
                      <a:pt x="233" y="207"/>
                      <a:pt x="233" y="143"/>
                    </a:cubicBezTo>
                    <a:cubicBezTo>
                      <a:pt x="233" y="118"/>
                      <a:pt x="226" y="96"/>
                      <a:pt x="213" y="77"/>
                    </a:cubicBezTo>
                    <a:cubicBezTo>
                      <a:pt x="184" y="106"/>
                      <a:pt x="184" y="106"/>
                      <a:pt x="184" y="106"/>
                    </a:cubicBezTo>
                    <a:close/>
                    <a:moveTo>
                      <a:pt x="225" y="35"/>
                    </a:moveTo>
                    <a:cubicBezTo>
                      <a:pt x="225" y="35"/>
                      <a:pt x="225" y="35"/>
                      <a:pt x="225" y="35"/>
                    </a:cubicBezTo>
                    <a:cubicBezTo>
                      <a:pt x="225" y="0"/>
                      <a:pt x="225" y="0"/>
                      <a:pt x="225" y="0"/>
                    </a:cubicBezTo>
                    <a:cubicBezTo>
                      <a:pt x="203" y="23"/>
                      <a:pt x="203" y="23"/>
                      <a:pt x="203" y="23"/>
                    </a:cubicBezTo>
                    <a:cubicBezTo>
                      <a:pt x="203" y="46"/>
                      <a:pt x="203" y="46"/>
                      <a:pt x="203" y="46"/>
                    </a:cubicBezTo>
                    <a:cubicBezTo>
                      <a:pt x="139" y="111"/>
                      <a:pt x="139" y="111"/>
                      <a:pt x="139" y="111"/>
                    </a:cubicBezTo>
                    <a:cubicBezTo>
                      <a:pt x="133" y="106"/>
                      <a:pt x="125" y="104"/>
                      <a:pt x="117" y="104"/>
                    </a:cubicBezTo>
                    <a:cubicBezTo>
                      <a:pt x="96" y="104"/>
                      <a:pt x="79" y="121"/>
                      <a:pt x="79" y="143"/>
                    </a:cubicBezTo>
                    <a:cubicBezTo>
                      <a:pt x="79" y="164"/>
                      <a:pt x="96" y="181"/>
                      <a:pt x="117" y="181"/>
                    </a:cubicBezTo>
                    <a:cubicBezTo>
                      <a:pt x="138" y="181"/>
                      <a:pt x="155" y="164"/>
                      <a:pt x="155" y="143"/>
                    </a:cubicBezTo>
                    <a:cubicBezTo>
                      <a:pt x="155" y="136"/>
                      <a:pt x="154" y="129"/>
                      <a:pt x="150" y="123"/>
                    </a:cubicBezTo>
                    <a:cubicBezTo>
                      <a:pt x="215" y="58"/>
                      <a:pt x="215" y="58"/>
                      <a:pt x="215" y="58"/>
                    </a:cubicBezTo>
                    <a:cubicBezTo>
                      <a:pt x="237" y="58"/>
                      <a:pt x="237" y="58"/>
                      <a:pt x="237" y="58"/>
                    </a:cubicBezTo>
                    <a:cubicBezTo>
                      <a:pt x="260" y="35"/>
                      <a:pt x="260" y="35"/>
                      <a:pt x="260" y="35"/>
                    </a:cubicBezTo>
                    <a:cubicBezTo>
                      <a:pt x="225" y="35"/>
                      <a:pt x="225" y="35"/>
                      <a:pt x="225" y="35"/>
                    </a:cubicBezTo>
                    <a:close/>
                  </a:path>
                </a:pathLst>
              </a:custGeom>
              <a:solidFill>
                <a:schemeClr val="bg1"/>
              </a:solidFill>
              <a:ln>
                <a:noFill/>
              </a:ln>
            </p:spPr>
            <p:txBody>
              <a:bodyPr anchor="ctr"/>
              <a:lstStyle/>
              <a:p>
                <a:pPr algn="ctr"/>
                <a:endParaRPr/>
              </a:p>
            </p:txBody>
          </p:sp>
        </p:grpSp>
        <p:grpSp>
          <p:nvGrpSpPr>
            <p:cNvPr id="280" name="íṡḻïḋe"/>
            <p:cNvGrpSpPr/>
            <p:nvPr/>
          </p:nvGrpSpPr>
          <p:grpSpPr>
            <a:xfrm>
              <a:off x="2564678" y="2013608"/>
              <a:ext cx="1307279" cy="161925"/>
              <a:chOff x="3307628" y="2261258"/>
              <a:chExt cx="1307279" cy="161925"/>
            </a:xfrm>
          </p:grpSpPr>
          <p:cxnSp>
            <p:nvCxnSpPr>
              <p:cNvPr id="314" name="直接连接符 313"/>
              <p:cNvCxnSpPr/>
              <p:nvPr/>
            </p:nvCxnSpPr>
            <p:spPr>
              <a:xfrm>
                <a:off x="3469553" y="2342220"/>
                <a:ext cx="1145354" cy="0"/>
              </a:xfrm>
              <a:prstGeom prst="line">
                <a:avLst/>
              </a:prstGeom>
              <a:ln>
                <a:solidFill>
                  <a:schemeClr val="accent1"/>
                </a:solidFill>
                <a:tailEnd type="none"/>
              </a:ln>
              <a:effectLst/>
            </p:spPr>
            <p:style>
              <a:lnRef idx="1">
                <a:schemeClr val="accent1"/>
              </a:lnRef>
              <a:fillRef idx="0">
                <a:schemeClr val="accent1"/>
              </a:fillRef>
              <a:effectRef idx="0">
                <a:schemeClr val="accent1"/>
              </a:effectRef>
              <a:fontRef idx="minor">
                <a:schemeClr val="tx1"/>
              </a:fontRef>
            </p:style>
          </p:cxnSp>
          <p:sp>
            <p:nvSpPr>
              <p:cNvPr id="315" name="îş1iďê"/>
              <p:cNvSpPr/>
              <p:nvPr/>
            </p:nvSpPr>
            <p:spPr>
              <a:xfrm>
                <a:off x="3307628" y="2261258"/>
                <a:ext cx="161925" cy="161925"/>
              </a:xfrm>
              <a:prstGeom prst="ellipse">
                <a:avLst/>
              </a:prstGeom>
              <a:solidFill>
                <a:schemeClr val="accent1"/>
              </a:solidFill>
              <a:ln w="285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grpSp>
          <p:nvGrpSpPr>
            <p:cNvPr id="281" name="i$ļiďê"/>
            <p:cNvGrpSpPr/>
            <p:nvPr/>
          </p:nvGrpSpPr>
          <p:grpSpPr>
            <a:xfrm>
              <a:off x="4752010" y="1444561"/>
              <a:ext cx="6768465" cy="1316355"/>
              <a:chOff x="660400" y="1447800"/>
              <a:chExt cx="7837246" cy="1316355"/>
            </a:xfrm>
          </p:grpSpPr>
          <p:sp>
            <p:nvSpPr>
              <p:cNvPr id="312" name="iṣlíďe"/>
              <p:cNvSpPr/>
              <p:nvPr/>
            </p:nvSpPr>
            <p:spPr bwMode="auto">
              <a:xfrm>
                <a:off x="660400" y="1984375"/>
                <a:ext cx="7837246" cy="779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nSpc>
                    <a:spcPct val="120000"/>
                  </a:lnSpc>
                </a:pPr>
                <a:r>
                  <a:rPr lang="en-US" altLang="zh-CN" sz="2000" dirty="0"/>
                  <a:t> </a:t>
                </a:r>
                <a:r>
                  <a:rPr lang="zh-CN" altLang="en-US" sz="2000" dirty="0"/>
                  <a:t>应用程序先访问</a:t>
                </a:r>
                <a:r>
                  <a:rPr lang="en-US" altLang="zh-CN" sz="2000" dirty="0"/>
                  <a:t>cache, </a:t>
                </a:r>
                <a:r>
                  <a:rPr lang="zh-CN" altLang="en-US" sz="2000" dirty="0"/>
                  <a:t>没有得到，则</a:t>
                </a:r>
                <a:r>
                  <a:rPr lang="zh-CN" altLang="en-US" sz="2000">
                    <a:sym typeface="+mn-ea"/>
                  </a:rPr>
                  <a:t>从</a:t>
                </a:r>
                <a:r>
                  <a:rPr lang="en-US" altLang="zh-CN" sz="2000">
                    <a:sym typeface="+mn-ea"/>
                  </a:rPr>
                  <a:t>数据库中取数据，成功后，放到缓存中。</a:t>
                </a:r>
                <a:endParaRPr lang="en-US" altLang="zh-CN" sz="2000" dirty="0">
                  <a:sym typeface="+mn-ea"/>
                </a:endParaRPr>
              </a:p>
            </p:txBody>
          </p:sp>
          <p:sp>
            <p:nvSpPr>
              <p:cNvPr id="313" name="î$ḻîḓè"/>
              <p:cNvSpPr txBox="1"/>
              <p:nvPr/>
            </p:nvSpPr>
            <p:spPr bwMode="auto">
              <a:xfrm>
                <a:off x="660400" y="1447800"/>
                <a:ext cx="3031978" cy="536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l" eaLnBrk="1" hangingPunct="1">
                  <a:lnSpc>
                    <a:spcPct val="100000"/>
                  </a:lnSpc>
                  <a:spcBef>
                    <a:spcPct val="0"/>
                  </a:spcBef>
                  <a:buFontTx/>
                  <a:buNone/>
                </a:pPr>
                <a:r>
                  <a:rPr lang="zh-CN" altLang="en-US" sz="2400" b="1" dirty="0">
                    <a:sym typeface="+mn-ea"/>
                  </a:rPr>
                  <a:t>失效</a:t>
                </a:r>
              </a:p>
            </p:txBody>
          </p:sp>
        </p:grpSp>
        <p:grpSp>
          <p:nvGrpSpPr>
            <p:cNvPr id="283" name="îŝļîḍé"/>
            <p:cNvGrpSpPr/>
            <p:nvPr/>
          </p:nvGrpSpPr>
          <p:grpSpPr>
            <a:xfrm>
              <a:off x="3850707" y="3167384"/>
              <a:ext cx="826068" cy="826068"/>
              <a:chOff x="5035546" y="1746815"/>
              <a:chExt cx="874606" cy="874606"/>
            </a:xfrm>
          </p:grpSpPr>
          <p:sp>
            <p:nvSpPr>
              <p:cNvPr id="308" name="íşľídè"/>
              <p:cNvSpPr/>
              <p:nvPr/>
            </p:nvSpPr>
            <p:spPr>
              <a:xfrm rot="8100000">
                <a:off x="5035546" y="1746815"/>
                <a:ext cx="874606" cy="874606"/>
              </a:xfrm>
              <a:prstGeom prst="teardrop">
                <a:avLst/>
              </a:prstGeom>
              <a:solidFill>
                <a:schemeClr val="accent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09" name="ïsḷiḑè"/>
              <p:cNvSpPr/>
              <p:nvPr/>
            </p:nvSpPr>
            <p:spPr bwMode="auto">
              <a:xfrm>
                <a:off x="5255015" y="1966284"/>
                <a:ext cx="435668" cy="435668"/>
              </a:xfrm>
              <a:custGeom>
                <a:avLst/>
                <a:gdLst>
                  <a:gd name="T0" fmla="*/ 184 w 260"/>
                  <a:gd name="T1" fmla="*/ 106 h 260"/>
                  <a:gd name="T2" fmla="*/ 193 w 260"/>
                  <a:gd name="T3" fmla="*/ 143 h 260"/>
                  <a:gd name="T4" fmla="*/ 117 w 260"/>
                  <a:gd name="T5" fmla="*/ 219 h 260"/>
                  <a:gd name="T6" fmla="*/ 42 w 260"/>
                  <a:gd name="T7" fmla="*/ 143 h 260"/>
                  <a:gd name="T8" fmla="*/ 117 w 260"/>
                  <a:gd name="T9" fmla="*/ 66 h 260"/>
                  <a:gd name="T10" fmla="*/ 154 w 260"/>
                  <a:gd name="T11" fmla="*/ 76 h 260"/>
                  <a:gd name="T12" fmla="*/ 183 w 260"/>
                  <a:gd name="T13" fmla="*/ 46 h 260"/>
                  <a:gd name="T14" fmla="*/ 117 w 260"/>
                  <a:gd name="T15" fmla="*/ 25 h 260"/>
                  <a:gd name="T16" fmla="*/ 0 w 260"/>
                  <a:gd name="T17" fmla="*/ 143 h 260"/>
                  <a:gd name="T18" fmla="*/ 117 w 260"/>
                  <a:gd name="T19" fmla="*/ 260 h 260"/>
                  <a:gd name="T20" fmla="*/ 233 w 260"/>
                  <a:gd name="T21" fmla="*/ 143 h 260"/>
                  <a:gd name="T22" fmla="*/ 213 w 260"/>
                  <a:gd name="T23" fmla="*/ 77 h 260"/>
                  <a:gd name="T24" fmla="*/ 184 w 260"/>
                  <a:gd name="T25" fmla="*/ 106 h 260"/>
                  <a:gd name="T26" fmla="*/ 225 w 260"/>
                  <a:gd name="T27" fmla="*/ 35 h 260"/>
                  <a:gd name="T28" fmla="*/ 225 w 260"/>
                  <a:gd name="T29" fmla="*/ 35 h 260"/>
                  <a:gd name="T30" fmla="*/ 225 w 260"/>
                  <a:gd name="T31" fmla="*/ 0 h 260"/>
                  <a:gd name="T32" fmla="*/ 203 w 260"/>
                  <a:gd name="T33" fmla="*/ 23 h 260"/>
                  <a:gd name="T34" fmla="*/ 203 w 260"/>
                  <a:gd name="T35" fmla="*/ 46 h 260"/>
                  <a:gd name="T36" fmla="*/ 139 w 260"/>
                  <a:gd name="T37" fmla="*/ 111 h 260"/>
                  <a:gd name="T38" fmla="*/ 117 w 260"/>
                  <a:gd name="T39" fmla="*/ 104 h 260"/>
                  <a:gd name="T40" fmla="*/ 79 w 260"/>
                  <a:gd name="T41" fmla="*/ 143 h 260"/>
                  <a:gd name="T42" fmla="*/ 117 w 260"/>
                  <a:gd name="T43" fmla="*/ 181 h 260"/>
                  <a:gd name="T44" fmla="*/ 155 w 260"/>
                  <a:gd name="T45" fmla="*/ 143 h 260"/>
                  <a:gd name="T46" fmla="*/ 150 w 260"/>
                  <a:gd name="T47" fmla="*/ 123 h 260"/>
                  <a:gd name="T48" fmla="*/ 215 w 260"/>
                  <a:gd name="T49" fmla="*/ 58 h 260"/>
                  <a:gd name="T50" fmla="*/ 237 w 260"/>
                  <a:gd name="T51" fmla="*/ 58 h 260"/>
                  <a:gd name="T52" fmla="*/ 260 w 260"/>
                  <a:gd name="T53" fmla="*/ 35 h 260"/>
                  <a:gd name="T54" fmla="*/ 225 w 260"/>
                  <a:gd name="T55"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0" h="260">
                    <a:moveTo>
                      <a:pt x="184" y="106"/>
                    </a:moveTo>
                    <a:cubicBezTo>
                      <a:pt x="190" y="117"/>
                      <a:pt x="193" y="129"/>
                      <a:pt x="193" y="143"/>
                    </a:cubicBezTo>
                    <a:cubicBezTo>
                      <a:pt x="193" y="185"/>
                      <a:pt x="159" y="219"/>
                      <a:pt x="117" y="219"/>
                    </a:cubicBezTo>
                    <a:cubicBezTo>
                      <a:pt x="76" y="219"/>
                      <a:pt x="42" y="185"/>
                      <a:pt x="42" y="143"/>
                    </a:cubicBezTo>
                    <a:cubicBezTo>
                      <a:pt x="42" y="100"/>
                      <a:pt x="76" y="66"/>
                      <a:pt x="117" y="66"/>
                    </a:cubicBezTo>
                    <a:cubicBezTo>
                      <a:pt x="131" y="66"/>
                      <a:pt x="143" y="70"/>
                      <a:pt x="154" y="76"/>
                    </a:cubicBezTo>
                    <a:cubicBezTo>
                      <a:pt x="183" y="46"/>
                      <a:pt x="183" y="46"/>
                      <a:pt x="183" y="46"/>
                    </a:cubicBezTo>
                    <a:cubicBezTo>
                      <a:pt x="165" y="33"/>
                      <a:pt x="141" y="25"/>
                      <a:pt x="117" y="25"/>
                    </a:cubicBezTo>
                    <a:cubicBezTo>
                      <a:pt x="52" y="25"/>
                      <a:pt x="0" y="78"/>
                      <a:pt x="0" y="143"/>
                    </a:cubicBezTo>
                    <a:cubicBezTo>
                      <a:pt x="0" y="207"/>
                      <a:pt x="52" y="260"/>
                      <a:pt x="117" y="260"/>
                    </a:cubicBezTo>
                    <a:cubicBezTo>
                      <a:pt x="181" y="260"/>
                      <a:pt x="233" y="207"/>
                      <a:pt x="233" y="143"/>
                    </a:cubicBezTo>
                    <a:cubicBezTo>
                      <a:pt x="233" y="118"/>
                      <a:pt x="226" y="96"/>
                      <a:pt x="213" y="77"/>
                    </a:cubicBezTo>
                    <a:cubicBezTo>
                      <a:pt x="184" y="106"/>
                      <a:pt x="184" y="106"/>
                      <a:pt x="184" y="106"/>
                    </a:cubicBezTo>
                    <a:close/>
                    <a:moveTo>
                      <a:pt x="225" y="35"/>
                    </a:moveTo>
                    <a:cubicBezTo>
                      <a:pt x="225" y="35"/>
                      <a:pt x="225" y="35"/>
                      <a:pt x="225" y="35"/>
                    </a:cubicBezTo>
                    <a:cubicBezTo>
                      <a:pt x="225" y="0"/>
                      <a:pt x="225" y="0"/>
                      <a:pt x="225" y="0"/>
                    </a:cubicBezTo>
                    <a:cubicBezTo>
                      <a:pt x="203" y="23"/>
                      <a:pt x="203" y="23"/>
                      <a:pt x="203" y="23"/>
                    </a:cubicBezTo>
                    <a:cubicBezTo>
                      <a:pt x="203" y="46"/>
                      <a:pt x="203" y="46"/>
                      <a:pt x="203" y="46"/>
                    </a:cubicBezTo>
                    <a:cubicBezTo>
                      <a:pt x="139" y="111"/>
                      <a:pt x="139" y="111"/>
                      <a:pt x="139" y="111"/>
                    </a:cubicBezTo>
                    <a:cubicBezTo>
                      <a:pt x="133" y="106"/>
                      <a:pt x="125" y="104"/>
                      <a:pt x="117" y="104"/>
                    </a:cubicBezTo>
                    <a:cubicBezTo>
                      <a:pt x="96" y="104"/>
                      <a:pt x="79" y="121"/>
                      <a:pt x="79" y="143"/>
                    </a:cubicBezTo>
                    <a:cubicBezTo>
                      <a:pt x="79" y="164"/>
                      <a:pt x="96" y="181"/>
                      <a:pt x="117" y="181"/>
                    </a:cubicBezTo>
                    <a:cubicBezTo>
                      <a:pt x="138" y="181"/>
                      <a:pt x="155" y="164"/>
                      <a:pt x="155" y="143"/>
                    </a:cubicBezTo>
                    <a:cubicBezTo>
                      <a:pt x="155" y="136"/>
                      <a:pt x="154" y="129"/>
                      <a:pt x="150" y="123"/>
                    </a:cubicBezTo>
                    <a:cubicBezTo>
                      <a:pt x="215" y="58"/>
                      <a:pt x="215" y="58"/>
                      <a:pt x="215" y="58"/>
                    </a:cubicBezTo>
                    <a:cubicBezTo>
                      <a:pt x="237" y="58"/>
                      <a:pt x="237" y="58"/>
                      <a:pt x="237" y="58"/>
                    </a:cubicBezTo>
                    <a:cubicBezTo>
                      <a:pt x="260" y="35"/>
                      <a:pt x="260" y="35"/>
                      <a:pt x="260" y="35"/>
                    </a:cubicBezTo>
                    <a:cubicBezTo>
                      <a:pt x="225" y="35"/>
                      <a:pt x="225" y="35"/>
                      <a:pt x="225" y="35"/>
                    </a:cubicBezTo>
                    <a:close/>
                  </a:path>
                </a:pathLst>
              </a:custGeom>
              <a:solidFill>
                <a:schemeClr val="bg1"/>
              </a:solidFill>
              <a:ln>
                <a:noFill/>
              </a:ln>
            </p:spPr>
            <p:txBody>
              <a:bodyPr anchor="ctr"/>
              <a:lstStyle/>
              <a:p>
                <a:pPr algn="ctr"/>
                <a:endParaRPr/>
              </a:p>
            </p:txBody>
          </p:sp>
        </p:grpSp>
        <p:grpSp>
          <p:nvGrpSpPr>
            <p:cNvPr id="284" name="íś1íḑê"/>
            <p:cNvGrpSpPr/>
            <p:nvPr/>
          </p:nvGrpSpPr>
          <p:grpSpPr>
            <a:xfrm>
              <a:off x="2564678" y="3581358"/>
              <a:ext cx="1307279" cy="161925"/>
              <a:chOff x="3307628" y="2261258"/>
              <a:chExt cx="1307279" cy="161925"/>
            </a:xfrm>
          </p:grpSpPr>
          <p:cxnSp>
            <p:nvCxnSpPr>
              <p:cNvPr id="306" name="直接连接符 305"/>
              <p:cNvCxnSpPr/>
              <p:nvPr/>
            </p:nvCxnSpPr>
            <p:spPr>
              <a:xfrm>
                <a:off x="3469553" y="2342220"/>
                <a:ext cx="1145354" cy="0"/>
              </a:xfrm>
              <a:prstGeom prst="line">
                <a:avLst/>
              </a:prstGeom>
              <a:ln>
                <a:solidFill>
                  <a:schemeClr val="accent1"/>
                </a:solidFill>
                <a:tailEnd type="none"/>
              </a:ln>
              <a:effectLst/>
            </p:spPr>
            <p:style>
              <a:lnRef idx="1">
                <a:schemeClr val="accent1"/>
              </a:lnRef>
              <a:fillRef idx="0">
                <a:schemeClr val="accent1"/>
              </a:fillRef>
              <a:effectRef idx="0">
                <a:schemeClr val="accent1"/>
              </a:effectRef>
              <a:fontRef idx="minor">
                <a:schemeClr val="tx1"/>
              </a:fontRef>
            </p:style>
          </p:cxnSp>
          <p:sp>
            <p:nvSpPr>
              <p:cNvPr id="307" name="ï$liḋê"/>
              <p:cNvSpPr/>
              <p:nvPr/>
            </p:nvSpPr>
            <p:spPr>
              <a:xfrm>
                <a:off x="3307628" y="2261258"/>
                <a:ext cx="161925" cy="161925"/>
              </a:xfrm>
              <a:prstGeom prst="ellipse">
                <a:avLst/>
              </a:prstGeom>
              <a:solidFill>
                <a:schemeClr val="accent1"/>
              </a:solidFill>
              <a:ln w="285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grpSp>
          <p:nvGrpSpPr>
            <p:cNvPr id="285" name="íś1iḑê"/>
            <p:cNvGrpSpPr/>
            <p:nvPr/>
          </p:nvGrpSpPr>
          <p:grpSpPr>
            <a:xfrm>
              <a:off x="4752010" y="3012311"/>
              <a:ext cx="5624830" cy="1316355"/>
              <a:chOff x="660400" y="1447800"/>
              <a:chExt cx="6513024" cy="1316355"/>
            </a:xfrm>
          </p:grpSpPr>
          <p:sp>
            <p:nvSpPr>
              <p:cNvPr id="304" name="ïşľïḓe"/>
              <p:cNvSpPr/>
              <p:nvPr/>
            </p:nvSpPr>
            <p:spPr bwMode="auto">
              <a:xfrm>
                <a:off x="660400" y="1984375"/>
                <a:ext cx="6513024" cy="779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nSpc>
                    <a:spcPct val="120000"/>
                  </a:lnSpc>
                </a:pPr>
                <a:r>
                  <a:rPr lang="zh-CN" altLang="en-US" sz="2000">
                    <a:sym typeface="+mn-ea"/>
                  </a:rPr>
                  <a:t>应用程序从</a:t>
                </a:r>
                <a:r>
                  <a:rPr lang="en-US" altLang="zh-CN" sz="2000">
                    <a:sym typeface="+mn-ea"/>
                  </a:rPr>
                  <a:t>cache中取数据，取到后返回</a:t>
                </a:r>
                <a:r>
                  <a:rPr lang="zh-CN" altLang="en-US" sz="2000">
                    <a:sym typeface="+mn-ea"/>
                  </a:rPr>
                  <a:t>。</a:t>
                </a:r>
                <a:endParaRPr lang="zh-CN" altLang="en-US" sz="2000" dirty="0">
                  <a:sym typeface="+mn-ea"/>
                </a:endParaRPr>
              </a:p>
            </p:txBody>
          </p:sp>
          <p:sp>
            <p:nvSpPr>
              <p:cNvPr id="305" name="ïş1îḓe"/>
              <p:cNvSpPr txBox="1"/>
              <p:nvPr/>
            </p:nvSpPr>
            <p:spPr bwMode="auto">
              <a:xfrm>
                <a:off x="660400" y="1447800"/>
                <a:ext cx="3031978" cy="536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l">
                  <a:spcBef>
                    <a:spcPct val="0"/>
                  </a:spcBef>
                </a:pPr>
                <a:r>
                  <a:rPr lang="zh-CN" altLang="en-US" sz="2400" b="1" dirty="0">
                    <a:sym typeface="+mn-ea"/>
                  </a:rPr>
                  <a:t>命中</a:t>
                </a:r>
              </a:p>
            </p:txBody>
          </p:sp>
        </p:grpSp>
        <p:grpSp>
          <p:nvGrpSpPr>
            <p:cNvPr id="287" name="i$ḻiḍê"/>
            <p:cNvGrpSpPr/>
            <p:nvPr/>
          </p:nvGrpSpPr>
          <p:grpSpPr>
            <a:xfrm>
              <a:off x="3850707" y="4735134"/>
              <a:ext cx="826068" cy="826068"/>
              <a:chOff x="5035546" y="1746815"/>
              <a:chExt cx="874606" cy="874606"/>
            </a:xfrm>
          </p:grpSpPr>
          <p:sp>
            <p:nvSpPr>
              <p:cNvPr id="300" name="íśḷîďê"/>
              <p:cNvSpPr/>
              <p:nvPr/>
            </p:nvSpPr>
            <p:spPr>
              <a:xfrm rot="8100000">
                <a:off x="5035546" y="1746815"/>
                <a:ext cx="874606" cy="874606"/>
              </a:xfrm>
              <a:prstGeom prst="teardrop">
                <a:avLst/>
              </a:prstGeom>
              <a:solidFill>
                <a:schemeClr val="accent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01" name="iśľiḑè"/>
              <p:cNvSpPr/>
              <p:nvPr/>
            </p:nvSpPr>
            <p:spPr bwMode="auto">
              <a:xfrm>
                <a:off x="5255015" y="1966284"/>
                <a:ext cx="435668" cy="435668"/>
              </a:xfrm>
              <a:custGeom>
                <a:avLst/>
                <a:gdLst>
                  <a:gd name="T0" fmla="*/ 184 w 260"/>
                  <a:gd name="T1" fmla="*/ 106 h 260"/>
                  <a:gd name="T2" fmla="*/ 193 w 260"/>
                  <a:gd name="T3" fmla="*/ 143 h 260"/>
                  <a:gd name="T4" fmla="*/ 117 w 260"/>
                  <a:gd name="T5" fmla="*/ 219 h 260"/>
                  <a:gd name="T6" fmla="*/ 42 w 260"/>
                  <a:gd name="T7" fmla="*/ 143 h 260"/>
                  <a:gd name="T8" fmla="*/ 117 w 260"/>
                  <a:gd name="T9" fmla="*/ 66 h 260"/>
                  <a:gd name="T10" fmla="*/ 154 w 260"/>
                  <a:gd name="T11" fmla="*/ 76 h 260"/>
                  <a:gd name="T12" fmla="*/ 183 w 260"/>
                  <a:gd name="T13" fmla="*/ 46 h 260"/>
                  <a:gd name="T14" fmla="*/ 117 w 260"/>
                  <a:gd name="T15" fmla="*/ 25 h 260"/>
                  <a:gd name="T16" fmla="*/ 0 w 260"/>
                  <a:gd name="T17" fmla="*/ 143 h 260"/>
                  <a:gd name="T18" fmla="*/ 117 w 260"/>
                  <a:gd name="T19" fmla="*/ 260 h 260"/>
                  <a:gd name="T20" fmla="*/ 233 w 260"/>
                  <a:gd name="T21" fmla="*/ 143 h 260"/>
                  <a:gd name="T22" fmla="*/ 213 w 260"/>
                  <a:gd name="T23" fmla="*/ 77 h 260"/>
                  <a:gd name="T24" fmla="*/ 184 w 260"/>
                  <a:gd name="T25" fmla="*/ 106 h 260"/>
                  <a:gd name="T26" fmla="*/ 225 w 260"/>
                  <a:gd name="T27" fmla="*/ 35 h 260"/>
                  <a:gd name="T28" fmla="*/ 225 w 260"/>
                  <a:gd name="T29" fmla="*/ 35 h 260"/>
                  <a:gd name="T30" fmla="*/ 225 w 260"/>
                  <a:gd name="T31" fmla="*/ 0 h 260"/>
                  <a:gd name="T32" fmla="*/ 203 w 260"/>
                  <a:gd name="T33" fmla="*/ 23 h 260"/>
                  <a:gd name="T34" fmla="*/ 203 w 260"/>
                  <a:gd name="T35" fmla="*/ 46 h 260"/>
                  <a:gd name="T36" fmla="*/ 139 w 260"/>
                  <a:gd name="T37" fmla="*/ 111 h 260"/>
                  <a:gd name="T38" fmla="*/ 117 w 260"/>
                  <a:gd name="T39" fmla="*/ 104 h 260"/>
                  <a:gd name="T40" fmla="*/ 79 w 260"/>
                  <a:gd name="T41" fmla="*/ 143 h 260"/>
                  <a:gd name="T42" fmla="*/ 117 w 260"/>
                  <a:gd name="T43" fmla="*/ 181 h 260"/>
                  <a:gd name="T44" fmla="*/ 155 w 260"/>
                  <a:gd name="T45" fmla="*/ 143 h 260"/>
                  <a:gd name="T46" fmla="*/ 150 w 260"/>
                  <a:gd name="T47" fmla="*/ 123 h 260"/>
                  <a:gd name="T48" fmla="*/ 215 w 260"/>
                  <a:gd name="T49" fmla="*/ 58 h 260"/>
                  <a:gd name="T50" fmla="*/ 237 w 260"/>
                  <a:gd name="T51" fmla="*/ 58 h 260"/>
                  <a:gd name="T52" fmla="*/ 260 w 260"/>
                  <a:gd name="T53" fmla="*/ 35 h 260"/>
                  <a:gd name="T54" fmla="*/ 225 w 260"/>
                  <a:gd name="T55"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0" h="260">
                    <a:moveTo>
                      <a:pt x="184" y="106"/>
                    </a:moveTo>
                    <a:cubicBezTo>
                      <a:pt x="190" y="117"/>
                      <a:pt x="193" y="129"/>
                      <a:pt x="193" y="143"/>
                    </a:cubicBezTo>
                    <a:cubicBezTo>
                      <a:pt x="193" y="185"/>
                      <a:pt x="159" y="219"/>
                      <a:pt x="117" y="219"/>
                    </a:cubicBezTo>
                    <a:cubicBezTo>
                      <a:pt x="76" y="219"/>
                      <a:pt x="42" y="185"/>
                      <a:pt x="42" y="143"/>
                    </a:cubicBezTo>
                    <a:cubicBezTo>
                      <a:pt x="42" y="100"/>
                      <a:pt x="76" y="66"/>
                      <a:pt x="117" y="66"/>
                    </a:cubicBezTo>
                    <a:cubicBezTo>
                      <a:pt x="131" y="66"/>
                      <a:pt x="143" y="70"/>
                      <a:pt x="154" y="76"/>
                    </a:cubicBezTo>
                    <a:cubicBezTo>
                      <a:pt x="183" y="46"/>
                      <a:pt x="183" y="46"/>
                      <a:pt x="183" y="46"/>
                    </a:cubicBezTo>
                    <a:cubicBezTo>
                      <a:pt x="165" y="33"/>
                      <a:pt x="141" y="25"/>
                      <a:pt x="117" y="25"/>
                    </a:cubicBezTo>
                    <a:cubicBezTo>
                      <a:pt x="52" y="25"/>
                      <a:pt x="0" y="78"/>
                      <a:pt x="0" y="143"/>
                    </a:cubicBezTo>
                    <a:cubicBezTo>
                      <a:pt x="0" y="207"/>
                      <a:pt x="52" y="260"/>
                      <a:pt x="117" y="260"/>
                    </a:cubicBezTo>
                    <a:cubicBezTo>
                      <a:pt x="181" y="260"/>
                      <a:pt x="233" y="207"/>
                      <a:pt x="233" y="143"/>
                    </a:cubicBezTo>
                    <a:cubicBezTo>
                      <a:pt x="233" y="118"/>
                      <a:pt x="226" y="96"/>
                      <a:pt x="213" y="77"/>
                    </a:cubicBezTo>
                    <a:cubicBezTo>
                      <a:pt x="184" y="106"/>
                      <a:pt x="184" y="106"/>
                      <a:pt x="184" y="106"/>
                    </a:cubicBezTo>
                    <a:close/>
                    <a:moveTo>
                      <a:pt x="225" y="35"/>
                    </a:moveTo>
                    <a:cubicBezTo>
                      <a:pt x="225" y="35"/>
                      <a:pt x="225" y="35"/>
                      <a:pt x="225" y="35"/>
                    </a:cubicBezTo>
                    <a:cubicBezTo>
                      <a:pt x="225" y="0"/>
                      <a:pt x="225" y="0"/>
                      <a:pt x="225" y="0"/>
                    </a:cubicBezTo>
                    <a:cubicBezTo>
                      <a:pt x="203" y="23"/>
                      <a:pt x="203" y="23"/>
                      <a:pt x="203" y="23"/>
                    </a:cubicBezTo>
                    <a:cubicBezTo>
                      <a:pt x="203" y="46"/>
                      <a:pt x="203" y="46"/>
                      <a:pt x="203" y="46"/>
                    </a:cubicBezTo>
                    <a:cubicBezTo>
                      <a:pt x="139" y="111"/>
                      <a:pt x="139" y="111"/>
                      <a:pt x="139" y="111"/>
                    </a:cubicBezTo>
                    <a:cubicBezTo>
                      <a:pt x="133" y="106"/>
                      <a:pt x="125" y="104"/>
                      <a:pt x="117" y="104"/>
                    </a:cubicBezTo>
                    <a:cubicBezTo>
                      <a:pt x="96" y="104"/>
                      <a:pt x="79" y="121"/>
                      <a:pt x="79" y="143"/>
                    </a:cubicBezTo>
                    <a:cubicBezTo>
                      <a:pt x="79" y="164"/>
                      <a:pt x="96" y="181"/>
                      <a:pt x="117" y="181"/>
                    </a:cubicBezTo>
                    <a:cubicBezTo>
                      <a:pt x="138" y="181"/>
                      <a:pt x="155" y="164"/>
                      <a:pt x="155" y="143"/>
                    </a:cubicBezTo>
                    <a:cubicBezTo>
                      <a:pt x="155" y="136"/>
                      <a:pt x="154" y="129"/>
                      <a:pt x="150" y="123"/>
                    </a:cubicBezTo>
                    <a:cubicBezTo>
                      <a:pt x="215" y="58"/>
                      <a:pt x="215" y="58"/>
                      <a:pt x="215" y="58"/>
                    </a:cubicBezTo>
                    <a:cubicBezTo>
                      <a:pt x="237" y="58"/>
                      <a:pt x="237" y="58"/>
                      <a:pt x="237" y="58"/>
                    </a:cubicBezTo>
                    <a:cubicBezTo>
                      <a:pt x="260" y="35"/>
                      <a:pt x="260" y="35"/>
                      <a:pt x="260" y="35"/>
                    </a:cubicBezTo>
                    <a:cubicBezTo>
                      <a:pt x="225" y="35"/>
                      <a:pt x="225" y="35"/>
                      <a:pt x="225" y="35"/>
                    </a:cubicBezTo>
                    <a:close/>
                  </a:path>
                </a:pathLst>
              </a:custGeom>
              <a:solidFill>
                <a:schemeClr val="bg1"/>
              </a:solidFill>
              <a:ln>
                <a:noFill/>
              </a:ln>
            </p:spPr>
            <p:txBody>
              <a:bodyPr anchor="ctr"/>
              <a:lstStyle/>
              <a:p>
                <a:pPr algn="ctr"/>
                <a:endParaRPr/>
              </a:p>
            </p:txBody>
          </p:sp>
        </p:grpSp>
        <p:grpSp>
          <p:nvGrpSpPr>
            <p:cNvPr id="288" name="ïṩlîďé"/>
            <p:cNvGrpSpPr/>
            <p:nvPr/>
          </p:nvGrpSpPr>
          <p:grpSpPr>
            <a:xfrm>
              <a:off x="2564678" y="5149108"/>
              <a:ext cx="1307279" cy="161925"/>
              <a:chOff x="3307628" y="2261258"/>
              <a:chExt cx="1307279" cy="161925"/>
            </a:xfrm>
          </p:grpSpPr>
          <p:cxnSp>
            <p:nvCxnSpPr>
              <p:cNvPr id="298" name="直接连接符 297"/>
              <p:cNvCxnSpPr/>
              <p:nvPr/>
            </p:nvCxnSpPr>
            <p:spPr>
              <a:xfrm>
                <a:off x="3469553" y="2342220"/>
                <a:ext cx="1145354" cy="0"/>
              </a:xfrm>
              <a:prstGeom prst="line">
                <a:avLst/>
              </a:prstGeom>
              <a:ln>
                <a:solidFill>
                  <a:schemeClr val="accent1"/>
                </a:solidFill>
                <a:tailEnd type="none"/>
              </a:ln>
              <a:effectLst/>
            </p:spPr>
            <p:style>
              <a:lnRef idx="1">
                <a:schemeClr val="accent1"/>
              </a:lnRef>
              <a:fillRef idx="0">
                <a:schemeClr val="accent1"/>
              </a:fillRef>
              <a:effectRef idx="0">
                <a:schemeClr val="accent1"/>
              </a:effectRef>
              <a:fontRef idx="minor">
                <a:schemeClr val="tx1"/>
              </a:fontRef>
            </p:style>
          </p:cxnSp>
          <p:sp>
            <p:nvSpPr>
              <p:cNvPr id="299" name="iṡlíḑe"/>
              <p:cNvSpPr/>
              <p:nvPr/>
            </p:nvSpPr>
            <p:spPr>
              <a:xfrm>
                <a:off x="3307628" y="2261258"/>
                <a:ext cx="161925" cy="161925"/>
              </a:xfrm>
              <a:prstGeom prst="ellipse">
                <a:avLst/>
              </a:prstGeom>
              <a:solidFill>
                <a:schemeClr val="accent1"/>
              </a:solidFill>
              <a:ln w="285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grpSp>
          <p:nvGrpSpPr>
            <p:cNvPr id="289" name="îŝḻíḋê"/>
            <p:cNvGrpSpPr/>
            <p:nvPr/>
          </p:nvGrpSpPr>
          <p:grpSpPr>
            <a:xfrm>
              <a:off x="4752010" y="4580061"/>
              <a:ext cx="5979795" cy="1316355"/>
              <a:chOff x="660400" y="1447800"/>
              <a:chExt cx="6924040" cy="1316355"/>
            </a:xfrm>
          </p:grpSpPr>
          <p:sp>
            <p:nvSpPr>
              <p:cNvPr id="296" name="í$ľîḍê"/>
              <p:cNvSpPr/>
              <p:nvPr/>
            </p:nvSpPr>
            <p:spPr bwMode="auto">
              <a:xfrm>
                <a:off x="660400" y="1984375"/>
                <a:ext cx="6924040" cy="779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nSpc>
                    <a:spcPct val="120000"/>
                  </a:lnSpc>
                </a:pPr>
                <a:r>
                  <a:rPr lang="zh-CN" altLang="en-US" sz="2000">
                    <a:sym typeface="+mn-ea"/>
                  </a:rPr>
                  <a:t>先</a:t>
                </a:r>
                <a:r>
                  <a:rPr lang="en-US" altLang="zh-CN" sz="2000">
                    <a:sym typeface="+mn-ea"/>
                  </a:rPr>
                  <a:t>存数据库，成功后，再让cache失效。</a:t>
                </a:r>
                <a:endParaRPr lang="en-US" altLang="zh-CN" sz="2000" dirty="0">
                  <a:sym typeface="+mn-ea"/>
                </a:endParaRPr>
              </a:p>
            </p:txBody>
          </p:sp>
          <p:sp>
            <p:nvSpPr>
              <p:cNvPr id="297" name="i$1íḍe"/>
              <p:cNvSpPr txBox="1"/>
              <p:nvPr/>
            </p:nvSpPr>
            <p:spPr bwMode="auto">
              <a:xfrm>
                <a:off x="660400" y="1447800"/>
                <a:ext cx="3031978" cy="536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spcBef>
                    <a:spcPct val="0"/>
                  </a:spcBef>
                </a:pPr>
                <a:r>
                  <a:rPr lang="zh-CN" altLang="en-US" sz="2400" b="1" dirty="0"/>
                  <a:t>更新</a:t>
                </a:r>
              </a:p>
            </p:txBody>
          </p:sp>
        </p:grpSp>
        <p:sp>
          <p:nvSpPr>
            <p:cNvPr id="291" name="îṥlïḍê"/>
            <p:cNvSpPr/>
            <p:nvPr/>
          </p:nvSpPr>
          <p:spPr>
            <a:xfrm>
              <a:off x="1071379" y="1827270"/>
              <a:ext cx="1262246" cy="555196"/>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r"/>
              <a:r>
                <a:rPr lang="en-US" altLang="zh-CN" b="1" dirty="0">
                  <a:solidFill>
                    <a:schemeClr val="tx1"/>
                  </a:solidFill>
                </a:rPr>
                <a:t>1…</a:t>
              </a:r>
              <a:endParaRPr lang="zh-CN" altLang="en-US" b="1" dirty="0">
                <a:solidFill>
                  <a:schemeClr val="tx1"/>
                </a:solidFill>
              </a:endParaRPr>
            </a:p>
          </p:txBody>
        </p:sp>
        <p:sp>
          <p:nvSpPr>
            <p:cNvPr id="292" name="ï$ļiďé"/>
            <p:cNvSpPr/>
            <p:nvPr/>
          </p:nvSpPr>
          <p:spPr>
            <a:xfrm>
              <a:off x="1071379" y="3383640"/>
              <a:ext cx="1262246" cy="555196"/>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r"/>
              <a:r>
                <a:rPr lang="en-US" altLang="zh-CN" b="1" dirty="0">
                  <a:solidFill>
                    <a:schemeClr val="tx1"/>
                  </a:solidFill>
                </a:rPr>
                <a:t>2…</a:t>
              </a:r>
              <a:endParaRPr lang="zh-CN" altLang="en-US" b="1" dirty="0">
                <a:solidFill>
                  <a:schemeClr val="tx1"/>
                </a:solidFill>
              </a:endParaRPr>
            </a:p>
          </p:txBody>
        </p:sp>
        <p:sp>
          <p:nvSpPr>
            <p:cNvPr id="293" name="íšḻïḋé"/>
            <p:cNvSpPr/>
            <p:nvPr/>
          </p:nvSpPr>
          <p:spPr>
            <a:xfrm>
              <a:off x="1071379" y="4949192"/>
              <a:ext cx="1262246" cy="555196"/>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r"/>
              <a:r>
                <a:rPr lang="en-US" altLang="zh-CN" b="1" dirty="0">
                  <a:solidFill>
                    <a:schemeClr val="tx1"/>
                  </a:solidFill>
                </a:rPr>
                <a:t>3…</a:t>
              </a:r>
              <a:endParaRPr lang="zh-CN" altLang="en-US" b="1" dirty="0">
                <a:solidFill>
                  <a:schemeClr val="tx1"/>
                </a:solidFill>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íṧḻîďé"/>
          <p:cNvSpPr/>
          <p:nvPr/>
        </p:nvSpPr>
        <p:spPr>
          <a:xfrm flipH="1">
            <a:off x="6324600" y="1"/>
            <a:ext cx="5867401" cy="6858000"/>
          </a:xfrm>
          <a:prstGeom prst="homePlate">
            <a:avLst/>
          </a:prstGeom>
          <a:solidFill>
            <a:schemeClr val="accent1"/>
          </a:solidFill>
          <a:ln w="12700" cap="flat" cmpd="sng" algn="ctr">
            <a:noFill/>
            <a:prstDash val="solid"/>
            <a:miter lim="800000"/>
          </a:ln>
          <a:effectLst/>
        </p:spPr>
        <p:txBody>
          <a:bodyPr wrap="square" lIns="91440" tIns="45720" rIns="91440" bIns="45720" anchor="ctr">
            <a:norm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FFFFFF"/>
              </a:solidFill>
              <a:effectLst/>
              <a:uLnTx/>
              <a:uFillTx/>
              <a:latin typeface="Arial" panose="020B0604020202090204"/>
              <a:ea typeface="微软雅黑"/>
              <a:cs typeface="+mn-cs"/>
            </a:endParaRPr>
          </a:p>
        </p:txBody>
      </p:sp>
      <p:sp>
        <p:nvSpPr>
          <p:cNvPr id="9" name="išľïḋé"/>
          <p:cNvSpPr txBox="1"/>
          <p:nvPr/>
        </p:nvSpPr>
        <p:spPr>
          <a:xfrm>
            <a:off x="757282" y="2290447"/>
            <a:ext cx="2623091" cy="953135"/>
          </a:xfrm>
          <a:prstGeom prst="rect">
            <a:avLst/>
          </a:prstGeom>
          <a:solidFill>
            <a:schemeClr val="bg1"/>
          </a:solidFill>
        </p:spPr>
        <p:txBody>
          <a:bodyPr wrap="square" rtlCol="0">
            <a:spAutoFit/>
          </a:bodyPr>
          <a:lstStyle/>
          <a:p>
            <a:pPr algn="r"/>
            <a:r>
              <a:rPr lang="tr-TR" sz="2800" dirty="0">
                <a:solidFill>
                  <a:schemeClr val="accent1"/>
                </a:solidFill>
                <a:cs typeface="+mn-ea"/>
                <a:sym typeface="+mn-lt"/>
              </a:rPr>
              <a:t>CONTE</a:t>
            </a:r>
            <a:r>
              <a:rPr lang="tr-TR" sz="100" dirty="0">
                <a:solidFill>
                  <a:schemeClr val="accent1"/>
                </a:solidFill>
                <a:cs typeface="+mn-ea"/>
                <a:sym typeface="+mn-lt"/>
              </a:rPr>
              <a:t> </a:t>
            </a:r>
            <a:r>
              <a:rPr lang="tr-TR" sz="2800" dirty="0">
                <a:solidFill>
                  <a:schemeClr val="accent1"/>
                </a:solidFill>
                <a:cs typeface="+mn-ea"/>
                <a:sym typeface="+mn-lt"/>
              </a:rPr>
              <a:t>NTS</a:t>
            </a:r>
            <a:endParaRPr lang="en-US" sz="2800" dirty="0">
              <a:solidFill>
                <a:schemeClr val="accent1"/>
              </a:solidFill>
              <a:cs typeface="+mn-ea"/>
              <a:sym typeface="+mn-lt"/>
            </a:endParaRPr>
          </a:p>
          <a:p>
            <a:pPr algn="r"/>
            <a:r>
              <a:rPr lang="zh-CN" altLang="en-US" sz="2800" b="1" dirty="0">
                <a:solidFill>
                  <a:schemeClr val="accent1"/>
                </a:solidFill>
                <a:cs typeface="+mn-ea"/>
                <a:sym typeface="+mn-lt"/>
              </a:rPr>
              <a:t>缓存一致性</a:t>
            </a:r>
          </a:p>
        </p:txBody>
      </p:sp>
      <p:grpSp>
        <p:nvGrpSpPr>
          <p:cNvPr id="11" name="组合 10"/>
          <p:cNvGrpSpPr/>
          <p:nvPr/>
        </p:nvGrpSpPr>
        <p:grpSpPr>
          <a:xfrm>
            <a:off x="4431867" y="1303496"/>
            <a:ext cx="5197532" cy="4741942"/>
            <a:chOff x="1637439" y="2251772"/>
            <a:chExt cx="3378619" cy="3082466"/>
          </a:xfrm>
        </p:grpSpPr>
        <p:sp>
          <p:nvSpPr>
            <p:cNvPr id="12" name="íṣlïdé"/>
            <p:cNvSpPr/>
            <p:nvPr/>
          </p:nvSpPr>
          <p:spPr bwMode="auto">
            <a:xfrm>
              <a:off x="2875001" y="2251772"/>
              <a:ext cx="903494" cy="3082466"/>
            </a:xfrm>
            <a:custGeom>
              <a:avLst/>
              <a:gdLst>
                <a:gd name="T0" fmla="*/ 1764 w 4053"/>
                <a:gd name="T1" fmla="*/ 0 h 16197"/>
                <a:gd name="T2" fmla="*/ 2323 w 4053"/>
                <a:gd name="T3" fmla="*/ 0 h 16197"/>
                <a:gd name="T4" fmla="*/ 2323 w 4053"/>
                <a:gd name="T5" fmla="*/ 892 h 16197"/>
                <a:gd name="T6" fmla="*/ 1764 w 4053"/>
                <a:gd name="T7" fmla="*/ 892 h 16197"/>
                <a:gd name="T8" fmla="*/ 1764 w 4053"/>
                <a:gd name="T9" fmla="*/ 0 h 16197"/>
                <a:gd name="T10" fmla="*/ 1831 w 4053"/>
                <a:gd name="T11" fmla="*/ 11317 h 16197"/>
                <a:gd name="T12" fmla="*/ 2256 w 4053"/>
                <a:gd name="T13" fmla="*/ 11317 h 16197"/>
                <a:gd name="T14" fmla="*/ 2256 w 4053"/>
                <a:gd name="T15" fmla="*/ 13709 h 16197"/>
                <a:gd name="T16" fmla="*/ 4053 w 4053"/>
                <a:gd name="T17" fmla="*/ 15988 h 16197"/>
                <a:gd name="T18" fmla="*/ 3787 w 4053"/>
                <a:gd name="T19" fmla="*/ 16197 h 16197"/>
                <a:gd name="T20" fmla="*/ 2256 w 4053"/>
                <a:gd name="T21" fmla="*/ 14256 h 16197"/>
                <a:gd name="T22" fmla="*/ 2256 w 4053"/>
                <a:gd name="T23" fmla="*/ 16151 h 16197"/>
                <a:gd name="T24" fmla="*/ 1831 w 4053"/>
                <a:gd name="T25" fmla="*/ 16151 h 16197"/>
                <a:gd name="T26" fmla="*/ 1831 w 4053"/>
                <a:gd name="T27" fmla="*/ 14215 h 16197"/>
                <a:gd name="T28" fmla="*/ 266 w 4053"/>
                <a:gd name="T29" fmla="*/ 16197 h 16197"/>
                <a:gd name="T30" fmla="*/ 0 w 4053"/>
                <a:gd name="T31" fmla="*/ 15988 h 16197"/>
                <a:gd name="T32" fmla="*/ 1831 w 4053"/>
                <a:gd name="T33" fmla="*/ 13668 h 16197"/>
                <a:gd name="T34" fmla="*/ 1831 w 4053"/>
                <a:gd name="T35" fmla="*/ 11317 h 16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53" h="16197">
                  <a:moveTo>
                    <a:pt x="1764" y="0"/>
                  </a:moveTo>
                  <a:lnTo>
                    <a:pt x="2323" y="0"/>
                  </a:lnTo>
                  <a:lnTo>
                    <a:pt x="2323" y="892"/>
                  </a:lnTo>
                  <a:lnTo>
                    <a:pt x="1764" y="892"/>
                  </a:lnTo>
                  <a:lnTo>
                    <a:pt x="1764" y="0"/>
                  </a:lnTo>
                  <a:close/>
                  <a:moveTo>
                    <a:pt x="1831" y="11317"/>
                  </a:moveTo>
                  <a:lnTo>
                    <a:pt x="2256" y="11317"/>
                  </a:lnTo>
                  <a:lnTo>
                    <a:pt x="2256" y="13709"/>
                  </a:lnTo>
                  <a:lnTo>
                    <a:pt x="4053" y="15988"/>
                  </a:lnTo>
                  <a:lnTo>
                    <a:pt x="3787" y="16197"/>
                  </a:lnTo>
                  <a:lnTo>
                    <a:pt x="2256" y="14256"/>
                  </a:lnTo>
                  <a:lnTo>
                    <a:pt x="2256" y="16151"/>
                  </a:lnTo>
                  <a:lnTo>
                    <a:pt x="1831" y="16151"/>
                  </a:lnTo>
                  <a:lnTo>
                    <a:pt x="1831" y="14215"/>
                  </a:lnTo>
                  <a:lnTo>
                    <a:pt x="266" y="16197"/>
                  </a:lnTo>
                  <a:lnTo>
                    <a:pt x="0" y="15988"/>
                  </a:lnTo>
                  <a:lnTo>
                    <a:pt x="1831" y="13668"/>
                  </a:lnTo>
                  <a:lnTo>
                    <a:pt x="1831" y="11317"/>
                  </a:lnTo>
                  <a:close/>
                </a:path>
              </a:pathLst>
            </a:custGeom>
            <a:solidFill>
              <a:schemeClr val="bg1">
                <a:lumMod val="95000"/>
              </a:schemeClr>
            </a:solidFill>
            <a:ln>
              <a:noFill/>
            </a:ln>
            <a:effectLst>
              <a:outerShdw blurRad="76200" dir="13500000" sy="23000" kx="1200000" algn="br" rotWithShape="0">
                <a:prstClr val="black">
                  <a:alpha val="20000"/>
                </a:prstClr>
              </a:outerShdw>
            </a:effectLst>
          </p:spPr>
          <p:txBody>
            <a:bodyPr wrap="square" lIns="91440" tIns="45720" rIns="91440" bIns="45720" anchor="ctr">
              <a:normAutofit/>
            </a:bodyPr>
            <a:lstStyle/>
            <a:p>
              <a:pPr algn="ctr"/>
              <a:endParaRPr dirty="0"/>
            </a:p>
          </p:txBody>
        </p:sp>
        <p:sp>
          <p:nvSpPr>
            <p:cNvPr id="13" name="ïśļîḋê"/>
            <p:cNvSpPr/>
            <p:nvPr/>
          </p:nvSpPr>
          <p:spPr bwMode="auto">
            <a:xfrm>
              <a:off x="1637439" y="2338707"/>
              <a:ext cx="3378619" cy="2325660"/>
            </a:xfrm>
            <a:custGeom>
              <a:avLst/>
              <a:gdLst>
                <a:gd name="T0" fmla="*/ 233 w 15146"/>
                <a:gd name="T1" fmla="*/ 466 h 10425"/>
                <a:gd name="T2" fmla="*/ 186 w 15146"/>
                <a:gd name="T3" fmla="*/ 460 h 10425"/>
                <a:gd name="T4" fmla="*/ 142 w 15146"/>
                <a:gd name="T5" fmla="*/ 447 h 10425"/>
                <a:gd name="T6" fmla="*/ 68 w 15146"/>
                <a:gd name="T7" fmla="*/ 397 h 10425"/>
                <a:gd name="T8" fmla="*/ 19 w 15146"/>
                <a:gd name="T9" fmla="*/ 323 h 10425"/>
                <a:gd name="T10" fmla="*/ 5 w 15146"/>
                <a:gd name="T11" fmla="*/ 279 h 10425"/>
                <a:gd name="T12" fmla="*/ 0 w 15146"/>
                <a:gd name="T13" fmla="*/ 233 h 10425"/>
                <a:gd name="T14" fmla="*/ 3 w 15146"/>
                <a:gd name="T15" fmla="*/ 197 h 10425"/>
                <a:gd name="T16" fmla="*/ 15 w 15146"/>
                <a:gd name="T17" fmla="*/ 154 h 10425"/>
                <a:gd name="T18" fmla="*/ 54 w 15146"/>
                <a:gd name="T19" fmla="*/ 85 h 10425"/>
                <a:gd name="T20" fmla="*/ 123 w 15146"/>
                <a:gd name="T21" fmla="*/ 28 h 10425"/>
                <a:gd name="T22" fmla="*/ 175 w 15146"/>
                <a:gd name="T23" fmla="*/ 8 h 10425"/>
                <a:gd name="T24" fmla="*/ 221 w 15146"/>
                <a:gd name="T25" fmla="*/ 1 h 10425"/>
                <a:gd name="T26" fmla="*/ 14938 w 15146"/>
                <a:gd name="T27" fmla="*/ 2 h 10425"/>
                <a:gd name="T28" fmla="*/ 14983 w 15146"/>
                <a:gd name="T29" fmla="*/ 11 h 10425"/>
                <a:gd name="T30" fmla="*/ 15044 w 15146"/>
                <a:gd name="T31" fmla="*/ 40 h 10425"/>
                <a:gd name="T32" fmla="*/ 15106 w 15146"/>
                <a:gd name="T33" fmla="*/ 104 h 10425"/>
                <a:gd name="T34" fmla="*/ 15135 w 15146"/>
                <a:gd name="T35" fmla="*/ 164 h 10425"/>
                <a:gd name="T36" fmla="*/ 15145 w 15146"/>
                <a:gd name="T37" fmla="*/ 209 h 10425"/>
                <a:gd name="T38" fmla="*/ 15146 w 15146"/>
                <a:gd name="T39" fmla="*/ 245 h 10425"/>
                <a:gd name="T40" fmla="*/ 15138 w 15146"/>
                <a:gd name="T41" fmla="*/ 291 h 10425"/>
                <a:gd name="T42" fmla="*/ 15118 w 15146"/>
                <a:gd name="T43" fmla="*/ 343 h 10425"/>
                <a:gd name="T44" fmla="*/ 15061 w 15146"/>
                <a:gd name="T45" fmla="*/ 412 h 10425"/>
                <a:gd name="T46" fmla="*/ 14993 w 15146"/>
                <a:gd name="T47" fmla="*/ 451 h 10425"/>
                <a:gd name="T48" fmla="*/ 14949 w 15146"/>
                <a:gd name="T49" fmla="*/ 462 h 10425"/>
                <a:gd name="T50" fmla="*/ 14729 w 15146"/>
                <a:gd name="T51" fmla="*/ 466 h 10425"/>
                <a:gd name="T52" fmla="*/ 14938 w 15146"/>
                <a:gd name="T53" fmla="*/ 9960 h 10425"/>
                <a:gd name="T54" fmla="*/ 14983 w 15146"/>
                <a:gd name="T55" fmla="*/ 9970 h 10425"/>
                <a:gd name="T56" fmla="*/ 15044 w 15146"/>
                <a:gd name="T57" fmla="*/ 9999 h 10425"/>
                <a:gd name="T58" fmla="*/ 15106 w 15146"/>
                <a:gd name="T59" fmla="*/ 10062 h 10425"/>
                <a:gd name="T60" fmla="*/ 15135 w 15146"/>
                <a:gd name="T61" fmla="*/ 10123 h 10425"/>
                <a:gd name="T62" fmla="*/ 15145 w 15146"/>
                <a:gd name="T63" fmla="*/ 10168 h 10425"/>
                <a:gd name="T64" fmla="*/ 15146 w 15146"/>
                <a:gd name="T65" fmla="*/ 10203 h 10425"/>
                <a:gd name="T66" fmla="*/ 15138 w 15146"/>
                <a:gd name="T67" fmla="*/ 10249 h 10425"/>
                <a:gd name="T68" fmla="*/ 15118 w 15146"/>
                <a:gd name="T69" fmla="*/ 10303 h 10425"/>
                <a:gd name="T70" fmla="*/ 15061 w 15146"/>
                <a:gd name="T71" fmla="*/ 10371 h 10425"/>
                <a:gd name="T72" fmla="*/ 14993 w 15146"/>
                <a:gd name="T73" fmla="*/ 10410 h 10425"/>
                <a:gd name="T74" fmla="*/ 14949 w 15146"/>
                <a:gd name="T75" fmla="*/ 10421 h 10425"/>
                <a:gd name="T76" fmla="*/ 233 w 15146"/>
                <a:gd name="T77" fmla="*/ 10425 h 10425"/>
                <a:gd name="T78" fmla="*/ 186 w 15146"/>
                <a:gd name="T79" fmla="*/ 10419 h 10425"/>
                <a:gd name="T80" fmla="*/ 142 w 15146"/>
                <a:gd name="T81" fmla="*/ 10406 h 10425"/>
                <a:gd name="T82" fmla="*/ 68 w 15146"/>
                <a:gd name="T83" fmla="*/ 10356 h 10425"/>
                <a:gd name="T84" fmla="*/ 19 w 15146"/>
                <a:gd name="T85" fmla="*/ 10282 h 10425"/>
                <a:gd name="T86" fmla="*/ 5 w 15146"/>
                <a:gd name="T87" fmla="*/ 10238 h 10425"/>
                <a:gd name="T88" fmla="*/ 0 w 15146"/>
                <a:gd name="T89" fmla="*/ 10191 h 10425"/>
                <a:gd name="T90" fmla="*/ 3 w 15146"/>
                <a:gd name="T91" fmla="*/ 10156 h 10425"/>
                <a:gd name="T92" fmla="*/ 15 w 15146"/>
                <a:gd name="T93" fmla="*/ 10112 h 10425"/>
                <a:gd name="T94" fmla="*/ 54 w 15146"/>
                <a:gd name="T95" fmla="*/ 10044 h 10425"/>
                <a:gd name="T96" fmla="*/ 123 w 15146"/>
                <a:gd name="T97" fmla="*/ 9987 h 10425"/>
                <a:gd name="T98" fmla="*/ 175 w 15146"/>
                <a:gd name="T99" fmla="*/ 9967 h 10425"/>
                <a:gd name="T100" fmla="*/ 221 w 15146"/>
                <a:gd name="T101" fmla="*/ 9959 h 10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46" h="10425">
                  <a:moveTo>
                    <a:pt x="233" y="9959"/>
                  </a:moveTo>
                  <a:lnTo>
                    <a:pt x="418" y="9959"/>
                  </a:lnTo>
                  <a:lnTo>
                    <a:pt x="418" y="466"/>
                  </a:lnTo>
                  <a:lnTo>
                    <a:pt x="233" y="466"/>
                  </a:lnTo>
                  <a:lnTo>
                    <a:pt x="221" y="466"/>
                  </a:lnTo>
                  <a:lnTo>
                    <a:pt x="209" y="465"/>
                  </a:lnTo>
                  <a:lnTo>
                    <a:pt x="198" y="462"/>
                  </a:lnTo>
                  <a:lnTo>
                    <a:pt x="186" y="460"/>
                  </a:lnTo>
                  <a:lnTo>
                    <a:pt x="175" y="458"/>
                  </a:lnTo>
                  <a:lnTo>
                    <a:pt x="164" y="455"/>
                  </a:lnTo>
                  <a:lnTo>
                    <a:pt x="153" y="451"/>
                  </a:lnTo>
                  <a:lnTo>
                    <a:pt x="142" y="447"/>
                  </a:lnTo>
                  <a:lnTo>
                    <a:pt x="123" y="437"/>
                  </a:lnTo>
                  <a:lnTo>
                    <a:pt x="103" y="425"/>
                  </a:lnTo>
                  <a:lnTo>
                    <a:pt x="85" y="412"/>
                  </a:lnTo>
                  <a:lnTo>
                    <a:pt x="68" y="397"/>
                  </a:lnTo>
                  <a:lnTo>
                    <a:pt x="54" y="381"/>
                  </a:lnTo>
                  <a:lnTo>
                    <a:pt x="40" y="363"/>
                  </a:lnTo>
                  <a:lnTo>
                    <a:pt x="29" y="343"/>
                  </a:lnTo>
                  <a:lnTo>
                    <a:pt x="19" y="323"/>
                  </a:lnTo>
                  <a:lnTo>
                    <a:pt x="15" y="313"/>
                  </a:lnTo>
                  <a:lnTo>
                    <a:pt x="10" y="302"/>
                  </a:lnTo>
                  <a:lnTo>
                    <a:pt x="8" y="291"/>
                  </a:lnTo>
                  <a:lnTo>
                    <a:pt x="5" y="279"/>
                  </a:lnTo>
                  <a:lnTo>
                    <a:pt x="3" y="268"/>
                  </a:lnTo>
                  <a:lnTo>
                    <a:pt x="2" y="256"/>
                  </a:lnTo>
                  <a:lnTo>
                    <a:pt x="0" y="245"/>
                  </a:lnTo>
                  <a:lnTo>
                    <a:pt x="0" y="233"/>
                  </a:lnTo>
                  <a:lnTo>
                    <a:pt x="0" y="233"/>
                  </a:lnTo>
                  <a:lnTo>
                    <a:pt x="0" y="221"/>
                  </a:lnTo>
                  <a:lnTo>
                    <a:pt x="2" y="209"/>
                  </a:lnTo>
                  <a:lnTo>
                    <a:pt x="3" y="197"/>
                  </a:lnTo>
                  <a:lnTo>
                    <a:pt x="5" y="186"/>
                  </a:lnTo>
                  <a:lnTo>
                    <a:pt x="8" y="174"/>
                  </a:lnTo>
                  <a:lnTo>
                    <a:pt x="10" y="164"/>
                  </a:lnTo>
                  <a:lnTo>
                    <a:pt x="15" y="154"/>
                  </a:lnTo>
                  <a:lnTo>
                    <a:pt x="19" y="143"/>
                  </a:lnTo>
                  <a:lnTo>
                    <a:pt x="29" y="122"/>
                  </a:lnTo>
                  <a:lnTo>
                    <a:pt x="40" y="104"/>
                  </a:lnTo>
                  <a:lnTo>
                    <a:pt x="54" y="85"/>
                  </a:lnTo>
                  <a:lnTo>
                    <a:pt x="68" y="69"/>
                  </a:lnTo>
                  <a:lnTo>
                    <a:pt x="85" y="53"/>
                  </a:lnTo>
                  <a:lnTo>
                    <a:pt x="103" y="40"/>
                  </a:lnTo>
                  <a:lnTo>
                    <a:pt x="123" y="28"/>
                  </a:lnTo>
                  <a:lnTo>
                    <a:pt x="142" y="19"/>
                  </a:lnTo>
                  <a:lnTo>
                    <a:pt x="153" y="14"/>
                  </a:lnTo>
                  <a:lnTo>
                    <a:pt x="164" y="11"/>
                  </a:lnTo>
                  <a:lnTo>
                    <a:pt x="175" y="8"/>
                  </a:lnTo>
                  <a:lnTo>
                    <a:pt x="186" y="5"/>
                  </a:lnTo>
                  <a:lnTo>
                    <a:pt x="198" y="3"/>
                  </a:lnTo>
                  <a:lnTo>
                    <a:pt x="209" y="2"/>
                  </a:lnTo>
                  <a:lnTo>
                    <a:pt x="221" y="1"/>
                  </a:lnTo>
                  <a:lnTo>
                    <a:pt x="233" y="0"/>
                  </a:lnTo>
                  <a:lnTo>
                    <a:pt x="14914" y="0"/>
                  </a:lnTo>
                  <a:lnTo>
                    <a:pt x="14926" y="1"/>
                  </a:lnTo>
                  <a:lnTo>
                    <a:pt x="14938" y="2"/>
                  </a:lnTo>
                  <a:lnTo>
                    <a:pt x="14949" y="3"/>
                  </a:lnTo>
                  <a:lnTo>
                    <a:pt x="14961" y="5"/>
                  </a:lnTo>
                  <a:lnTo>
                    <a:pt x="14972" y="8"/>
                  </a:lnTo>
                  <a:lnTo>
                    <a:pt x="14983" y="11"/>
                  </a:lnTo>
                  <a:lnTo>
                    <a:pt x="14993" y="14"/>
                  </a:lnTo>
                  <a:lnTo>
                    <a:pt x="15004" y="19"/>
                  </a:lnTo>
                  <a:lnTo>
                    <a:pt x="15024" y="28"/>
                  </a:lnTo>
                  <a:lnTo>
                    <a:pt x="15044" y="40"/>
                  </a:lnTo>
                  <a:lnTo>
                    <a:pt x="15061" y="53"/>
                  </a:lnTo>
                  <a:lnTo>
                    <a:pt x="15077" y="69"/>
                  </a:lnTo>
                  <a:lnTo>
                    <a:pt x="15093" y="85"/>
                  </a:lnTo>
                  <a:lnTo>
                    <a:pt x="15106" y="104"/>
                  </a:lnTo>
                  <a:lnTo>
                    <a:pt x="15118" y="122"/>
                  </a:lnTo>
                  <a:lnTo>
                    <a:pt x="15127" y="143"/>
                  </a:lnTo>
                  <a:lnTo>
                    <a:pt x="15132" y="154"/>
                  </a:lnTo>
                  <a:lnTo>
                    <a:pt x="15135" y="164"/>
                  </a:lnTo>
                  <a:lnTo>
                    <a:pt x="15138" y="174"/>
                  </a:lnTo>
                  <a:lnTo>
                    <a:pt x="15142" y="186"/>
                  </a:lnTo>
                  <a:lnTo>
                    <a:pt x="15144" y="197"/>
                  </a:lnTo>
                  <a:lnTo>
                    <a:pt x="15145" y="209"/>
                  </a:lnTo>
                  <a:lnTo>
                    <a:pt x="15146" y="221"/>
                  </a:lnTo>
                  <a:lnTo>
                    <a:pt x="15146" y="233"/>
                  </a:lnTo>
                  <a:lnTo>
                    <a:pt x="15146" y="233"/>
                  </a:lnTo>
                  <a:lnTo>
                    <a:pt x="15146" y="245"/>
                  </a:lnTo>
                  <a:lnTo>
                    <a:pt x="15145" y="256"/>
                  </a:lnTo>
                  <a:lnTo>
                    <a:pt x="15144" y="268"/>
                  </a:lnTo>
                  <a:lnTo>
                    <a:pt x="15142" y="279"/>
                  </a:lnTo>
                  <a:lnTo>
                    <a:pt x="15138" y="291"/>
                  </a:lnTo>
                  <a:lnTo>
                    <a:pt x="15135" y="302"/>
                  </a:lnTo>
                  <a:lnTo>
                    <a:pt x="15132" y="313"/>
                  </a:lnTo>
                  <a:lnTo>
                    <a:pt x="15127" y="323"/>
                  </a:lnTo>
                  <a:lnTo>
                    <a:pt x="15118" y="343"/>
                  </a:lnTo>
                  <a:lnTo>
                    <a:pt x="15106" y="363"/>
                  </a:lnTo>
                  <a:lnTo>
                    <a:pt x="15093" y="381"/>
                  </a:lnTo>
                  <a:lnTo>
                    <a:pt x="15077" y="397"/>
                  </a:lnTo>
                  <a:lnTo>
                    <a:pt x="15061" y="412"/>
                  </a:lnTo>
                  <a:lnTo>
                    <a:pt x="15044" y="425"/>
                  </a:lnTo>
                  <a:lnTo>
                    <a:pt x="15024" y="437"/>
                  </a:lnTo>
                  <a:lnTo>
                    <a:pt x="15004" y="447"/>
                  </a:lnTo>
                  <a:lnTo>
                    <a:pt x="14993" y="451"/>
                  </a:lnTo>
                  <a:lnTo>
                    <a:pt x="14983" y="455"/>
                  </a:lnTo>
                  <a:lnTo>
                    <a:pt x="14972" y="458"/>
                  </a:lnTo>
                  <a:lnTo>
                    <a:pt x="14961" y="460"/>
                  </a:lnTo>
                  <a:lnTo>
                    <a:pt x="14949" y="462"/>
                  </a:lnTo>
                  <a:lnTo>
                    <a:pt x="14938" y="465"/>
                  </a:lnTo>
                  <a:lnTo>
                    <a:pt x="14926" y="466"/>
                  </a:lnTo>
                  <a:lnTo>
                    <a:pt x="14914" y="466"/>
                  </a:lnTo>
                  <a:lnTo>
                    <a:pt x="14729" y="466"/>
                  </a:lnTo>
                  <a:lnTo>
                    <a:pt x="14729" y="9959"/>
                  </a:lnTo>
                  <a:lnTo>
                    <a:pt x="14914" y="9959"/>
                  </a:lnTo>
                  <a:lnTo>
                    <a:pt x="14926" y="9959"/>
                  </a:lnTo>
                  <a:lnTo>
                    <a:pt x="14938" y="9960"/>
                  </a:lnTo>
                  <a:lnTo>
                    <a:pt x="14949" y="9962"/>
                  </a:lnTo>
                  <a:lnTo>
                    <a:pt x="14961" y="9964"/>
                  </a:lnTo>
                  <a:lnTo>
                    <a:pt x="14972" y="9967"/>
                  </a:lnTo>
                  <a:lnTo>
                    <a:pt x="14983" y="9970"/>
                  </a:lnTo>
                  <a:lnTo>
                    <a:pt x="14993" y="9973"/>
                  </a:lnTo>
                  <a:lnTo>
                    <a:pt x="15004" y="9978"/>
                  </a:lnTo>
                  <a:lnTo>
                    <a:pt x="15024" y="9987"/>
                  </a:lnTo>
                  <a:lnTo>
                    <a:pt x="15044" y="9999"/>
                  </a:lnTo>
                  <a:lnTo>
                    <a:pt x="15061" y="10012"/>
                  </a:lnTo>
                  <a:lnTo>
                    <a:pt x="15077" y="10028"/>
                  </a:lnTo>
                  <a:lnTo>
                    <a:pt x="15093" y="10044"/>
                  </a:lnTo>
                  <a:lnTo>
                    <a:pt x="15106" y="10062"/>
                  </a:lnTo>
                  <a:lnTo>
                    <a:pt x="15118" y="10081"/>
                  </a:lnTo>
                  <a:lnTo>
                    <a:pt x="15127" y="10102"/>
                  </a:lnTo>
                  <a:lnTo>
                    <a:pt x="15132" y="10112"/>
                  </a:lnTo>
                  <a:lnTo>
                    <a:pt x="15135" y="10123"/>
                  </a:lnTo>
                  <a:lnTo>
                    <a:pt x="15138" y="10133"/>
                  </a:lnTo>
                  <a:lnTo>
                    <a:pt x="15142" y="10145"/>
                  </a:lnTo>
                  <a:lnTo>
                    <a:pt x="15144" y="10156"/>
                  </a:lnTo>
                  <a:lnTo>
                    <a:pt x="15145" y="10168"/>
                  </a:lnTo>
                  <a:lnTo>
                    <a:pt x="15146" y="10179"/>
                  </a:lnTo>
                  <a:lnTo>
                    <a:pt x="15146" y="10191"/>
                  </a:lnTo>
                  <a:lnTo>
                    <a:pt x="15146" y="10191"/>
                  </a:lnTo>
                  <a:lnTo>
                    <a:pt x="15146" y="10203"/>
                  </a:lnTo>
                  <a:lnTo>
                    <a:pt x="15145" y="10215"/>
                  </a:lnTo>
                  <a:lnTo>
                    <a:pt x="15144" y="10227"/>
                  </a:lnTo>
                  <a:lnTo>
                    <a:pt x="15142" y="10238"/>
                  </a:lnTo>
                  <a:lnTo>
                    <a:pt x="15138" y="10249"/>
                  </a:lnTo>
                  <a:lnTo>
                    <a:pt x="15135" y="10261"/>
                  </a:lnTo>
                  <a:lnTo>
                    <a:pt x="15132" y="10271"/>
                  </a:lnTo>
                  <a:lnTo>
                    <a:pt x="15127" y="10282"/>
                  </a:lnTo>
                  <a:lnTo>
                    <a:pt x="15118" y="10303"/>
                  </a:lnTo>
                  <a:lnTo>
                    <a:pt x="15106" y="10321"/>
                  </a:lnTo>
                  <a:lnTo>
                    <a:pt x="15093" y="10340"/>
                  </a:lnTo>
                  <a:lnTo>
                    <a:pt x="15077" y="10356"/>
                  </a:lnTo>
                  <a:lnTo>
                    <a:pt x="15061" y="10371"/>
                  </a:lnTo>
                  <a:lnTo>
                    <a:pt x="15044" y="10384"/>
                  </a:lnTo>
                  <a:lnTo>
                    <a:pt x="15024" y="10396"/>
                  </a:lnTo>
                  <a:lnTo>
                    <a:pt x="15004" y="10406"/>
                  </a:lnTo>
                  <a:lnTo>
                    <a:pt x="14993" y="10410"/>
                  </a:lnTo>
                  <a:lnTo>
                    <a:pt x="14983" y="10414"/>
                  </a:lnTo>
                  <a:lnTo>
                    <a:pt x="14972" y="10417"/>
                  </a:lnTo>
                  <a:lnTo>
                    <a:pt x="14961" y="10419"/>
                  </a:lnTo>
                  <a:lnTo>
                    <a:pt x="14949" y="10421"/>
                  </a:lnTo>
                  <a:lnTo>
                    <a:pt x="14938" y="10422"/>
                  </a:lnTo>
                  <a:lnTo>
                    <a:pt x="14926" y="10424"/>
                  </a:lnTo>
                  <a:lnTo>
                    <a:pt x="14914" y="10425"/>
                  </a:lnTo>
                  <a:lnTo>
                    <a:pt x="233" y="10425"/>
                  </a:lnTo>
                  <a:lnTo>
                    <a:pt x="221" y="10424"/>
                  </a:lnTo>
                  <a:lnTo>
                    <a:pt x="209" y="10422"/>
                  </a:lnTo>
                  <a:lnTo>
                    <a:pt x="198" y="10421"/>
                  </a:lnTo>
                  <a:lnTo>
                    <a:pt x="186" y="10419"/>
                  </a:lnTo>
                  <a:lnTo>
                    <a:pt x="175" y="10417"/>
                  </a:lnTo>
                  <a:lnTo>
                    <a:pt x="164" y="10414"/>
                  </a:lnTo>
                  <a:lnTo>
                    <a:pt x="153" y="10410"/>
                  </a:lnTo>
                  <a:lnTo>
                    <a:pt x="142" y="10406"/>
                  </a:lnTo>
                  <a:lnTo>
                    <a:pt x="123" y="10396"/>
                  </a:lnTo>
                  <a:lnTo>
                    <a:pt x="103" y="10384"/>
                  </a:lnTo>
                  <a:lnTo>
                    <a:pt x="85" y="10371"/>
                  </a:lnTo>
                  <a:lnTo>
                    <a:pt x="68" y="10356"/>
                  </a:lnTo>
                  <a:lnTo>
                    <a:pt x="54" y="10340"/>
                  </a:lnTo>
                  <a:lnTo>
                    <a:pt x="40" y="10321"/>
                  </a:lnTo>
                  <a:lnTo>
                    <a:pt x="29" y="10303"/>
                  </a:lnTo>
                  <a:lnTo>
                    <a:pt x="19" y="10282"/>
                  </a:lnTo>
                  <a:lnTo>
                    <a:pt x="15" y="10271"/>
                  </a:lnTo>
                  <a:lnTo>
                    <a:pt x="10" y="10261"/>
                  </a:lnTo>
                  <a:lnTo>
                    <a:pt x="8" y="10249"/>
                  </a:lnTo>
                  <a:lnTo>
                    <a:pt x="5" y="10238"/>
                  </a:lnTo>
                  <a:lnTo>
                    <a:pt x="3" y="10227"/>
                  </a:lnTo>
                  <a:lnTo>
                    <a:pt x="2" y="10215"/>
                  </a:lnTo>
                  <a:lnTo>
                    <a:pt x="0" y="10203"/>
                  </a:lnTo>
                  <a:lnTo>
                    <a:pt x="0" y="10191"/>
                  </a:lnTo>
                  <a:lnTo>
                    <a:pt x="0" y="10191"/>
                  </a:lnTo>
                  <a:lnTo>
                    <a:pt x="0" y="10179"/>
                  </a:lnTo>
                  <a:lnTo>
                    <a:pt x="2" y="10168"/>
                  </a:lnTo>
                  <a:lnTo>
                    <a:pt x="3" y="10156"/>
                  </a:lnTo>
                  <a:lnTo>
                    <a:pt x="5" y="10145"/>
                  </a:lnTo>
                  <a:lnTo>
                    <a:pt x="8" y="10133"/>
                  </a:lnTo>
                  <a:lnTo>
                    <a:pt x="10" y="10123"/>
                  </a:lnTo>
                  <a:lnTo>
                    <a:pt x="15" y="10112"/>
                  </a:lnTo>
                  <a:lnTo>
                    <a:pt x="19" y="10102"/>
                  </a:lnTo>
                  <a:lnTo>
                    <a:pt x="29" y="10081"/>
                  </a:lnTo>
                  <a:lnTo>
                    <a:pt x="40" y="10062"/>
                  </a:lnTo>
                  <a:lnTo>
                    <a:pt x="54" y="10044"/>
                  </a:lnTo>
                  <a:lnTo>
                    <a:pt x="68" y="10028"/>
                  </a:lnTo>
                  <a:lnTo>
                    <a:pt x="85" y="10012"/>
                  </a:lnTo>
                  <a:lnTo>
                    <a:pt x="103" y="9999"/>
                  </a:lnTo>
                  <a:lnTo>
                    <a:pt x="123" y="9987"/>
                  </a:lnTo>
                  <a:lnTo>
                    <a:pt x="142" y="9978"/>
                  </a:lnTo>
                  <a:lnTo>
                    <a:pt x="153" y="9973"/>
                  </a:lnTo>
                  <a:lnTo>
                    <a:pt x="164" y="9970"/>
                  </a:lnTo>
                  <a:lnTo>
                    <a:pt x="175" y="9967"/>
                  </a:lnTo>
                  <a:lnTo>
                    <a:pt x="186" y="9964"/>
                  </a:lnTo>
                  <a:lnTo>
                    <a:pt x="198" y="9962"/>
                  </a:lnTo>
                  <a:lnTo>
                    <a:pt x="209" y="9960"/>
                  </a:lnTo>
                  <a:lnTo>
                    <a:pt x="221" y="9959"/>
                  </a:lnTo>
                  <a:lnTo>
                    <a:pt x="233" y="9959"/>
                  </a:lnTo>
                  <a:close/>
                </a:path>
              </a:pathLst>
            </a:custGeom>
            <a:solidFill>
              <a:schemeClr val="bg1">
                <a:lumMod val="75000"/>
              </a:schemeClr>
            </a:solidFill>
            <a:ln>
              <a:noFill/>
            </a:ln>
          </p:spPr>
          <p:txBody>
            <a:bodyPr wrap="square" lIns="91440" tIns="45720" rIns="91440" bIns="45720" anchor="ctr">
              <a:normAutofit/>
            </a:bodyPr>
            <a:lstStyle/>
            <a:p>
              <a:pPr algn="ctr"/>
              <a:endParaRPr/>
            </a:p>
          </p:txBody>
        </p:sp>
        <p:sp>
          <p:nvSpPr>
            <p:cNvPr id="14" name="íŝḻïḋe"/>
            <p:cNvSpPr/>
            <p:nvPr/>
          </p:nvSpPr>
          <p:spPr bwMode="auto">
            <a:xfrm>
              <a:off x="1765712" y="2443557"/>
              <a:ext cx="3122072" cy="211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p>
          </p:txBody>
        </p:sp>
      </p:grpSp>
      <p:sp>
        <p:nvSpPr>
          <p:cNvPr id="7" name="iṡľïḑè"/>
          <p:cNvSpPr txBox="1"/>
          <p:nvPr/>
        </p:nvSpPr>
        <p:spPr bwMode="auto">
          <a:xfrm>
            <a:off x="4876800" y="2290447"/>
            <a:ext cx="4308673" cy="2383153"/>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342900" indent="-342900">
              <a:lnSpc>
                <a:spcPct val="150000"/>
              </a:lnSpc>
              <a:buFont typeface="+mj-lt"/>
              <a:buAutoNum type="arabicPeriod"/>
            </a:pPr>
            <a:r>
              <a:rPr lang="zh-CN" altLang="en-US" sz="1800" b="0" dirty="0">
                <a:solidFill>
                  <a:schemeClr val="bg1">
                    <a:lumMod val="50000"/>
                  </a:schemeClr>
                </a:solidFill>
                <a:sym typeface="+mn-lt"/>
              </a:rPr>
              <a:t>常见缓存访问模式</a:t>
            </a:r>
          </a:p>
          <a:p>
            <a:pPr marL="342900" indent="-342900">
              <a:lnSpc>
                <a:spcPct val="150000"/>
              </a:lnSpc>
              <a:buFont typeface="+mj-lt"/>
              <a:buAutoNum type="arabicPeriod"/>
            </a:pPr>
            <a:r>
              <a:rPr lang="en-US" altLang="zh-CN" sz="1800" b="0" dirty="0">
                <a:solidFill>
                  <a:schemeClr val="bg1">
                    <a:lumMod val="50000"/>
                  </a:schemeClr>
                </a:solidFill>
                <a:sym typeface="+mn-lt"/>
              </a:rPr>
              <a:t>Cache Aside</a:t>
            </a:r>
            <a:r>
              <a:rPr lang="zh-CN" altLang="en-US" sz="1800" b="0" dirty="0">
                <a:solidFill>
                  <a:schemeClr val="bg1">
                    <a:lumMod val="50000"/>
                  </a:schemeClr>
                </a:solidFill>
                <a:sym typeface="+mn-lt"/>
              </a:rPr>
              <a:t>最佳实践探索</a:t>
            </a:r>
          </a:p>
          <a:p>
            <a:pPr marL="342900" indent="-342900">
              <a:lnSpc>
                <a:spcPct val="150000"/>
              </a:lnSpc>
              <a:buFont typeface="+mj-lt"/>
              <a:buAutoNum type="arabicPeriod"/>
            </a:pPr>
            <a:r>
              <a:rPr lang="zh-CN" altLang="en-US" sz="1800" b="0" dirty="0">
                <a:solidFill>
                  <a:schemeClr val="accent1"/>
                </a:solidFill>
                <a:sym typeface="+mn-lt"/>
              </a:rPr>
              <a:t>如何提升一致性</a:t>
            </a:r>
            <a:endParaRPr lang="zh-CN" altLang="en-US" sz="1800" b="0" dirty="0">
              <a:solidFill>
                <a:schemeClr val="accent1"/>
              </a:solidFill>
              <a:latin typeface="+mn-lt"/>
              <a:ea typeface="+mn-ea"/>
              <a:sym typeface="+mn-lt"/>
            </a:endParaRPr>
          </a:p>
        </p:txBody>
      </p:sp>
      <p:sp>
        <p:nvSpPr>
          <p:cNvPr id="15" name="poetry_91022"/>
          <p:cNvSpPr>
            <a:spLocks noChangeAspect="1"/>
          </p:cNvSpPr>
          <p:nvPr/>
        </p:nvSpPr>
        <p:spPr bwMode="auto">
          <a:xfrm>
            <a:off x="10650632" y="5310270"/>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alpha val="39000"/>
            </a:schemeClr>
          </a:solidFill>
          <a:ln>
            <a:noFill/>
          </a:ln>
        </p:spPr>
        <p:txBody>
          <a:bodyPr/>
          <a:lstStyle/>
          <a:p>
            <a:endParaRPr lang="zh-CN" altLang="en-US">
              <a:cs typeface="+mn-ea"/>
              <a:sym typeface="+mn-lt"/>
            </a:endParaRPr>
          </a:p>
        </p:txBody>
      </p:sp>
    </p:spTree>
    <p:extLst>
      <p:ext uri="{BB962C8B-B14F-4D97-AF65-F5344CB8AC3E}">
        <p14:creationId xmlns:p14="http://schemas.microsoft.com/office/powerpoint/2010/main" val="35788790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íṧḻîďé"/>
          <p:cNvSpPr/>
          <p:nvPr/>
        </p:nvSpPr>
        <p:spPr>
          <a:xfrm flipH="1">
            <a:off x="6324600" y="1"/>
            <a:ext cx="5867401" cy="6858000"/>
          </a:xfrm>
          <a:prstGeom prst="homePlate">
            <a:avLst/>
          </a:prstGeom>
          <a:solidFill>
            <a:schemeClr val="accent1"/>
          </a:solidFill>
          <a:ln w="12700" cap="flat" cmpd="sng" algn="ctr">
            <a:noFill/>
            <a:prstDash val="solid"/>
            <a:miter lim="800000"/>
          </a:ln>
          <a:effectLst/>
        </p:spPr>
        <p:txBody>
          <a:bodyPr wrap="square" lIns="91440" tIns="45720" rIns="91440" bIns="45720" anchor="ctr">
            <a:norm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FFFFFF"/>
              </a:solidFill>
              <a:effectLst/>
              <a:uLnTx/>
              <a:uFillTx/>
              <a:latin typeface="Arial" panose="020B0604020202090204"/>
              <a:ea typeface="微软雅黑"/>
              <a:cs typeface="+mn-cs"/>
            </a:endParaRPr>
          </a:p>
        </p:txBody>
      </p:sp>
      <p:sp>
        <p:nvSpPr>
          <p:cNvPr id="9" name="išľïḋé"/>
          <p:cNvSpPr txBox="1"/>
          <p:nvPr/>
        </p:nvSpPr>
        <p:spPr>
          <a:xfrm>
            <a:off x="757282" y="2290447"/>
            <a:ext cx="2623091" cy="953135"/>
          </a:xfrm>
          <a:prstGeom prst="rect">
            <a:avLst/>
          </a:prstGeom>
          <a:solidFill>
            <a:schemeClr val="bg1"/>
          </a:solidFill>
        </p:spPr>
        <p:txBody>
          <a:bodyPr wrap="square" rtlCol="0">
            <a:spAutoFit/>
          </a:bodyPr>
          <a:lstStyle/>
          <a:p>
            <a:pPr algn="r"/>
            <a:r>
              <a:rPr lang="tr-TR" sz="2800" dirty="0">
                <a:solidFill>
                  <a:schemeClr val="accent1"/>
                </a:solidFill>
                <a:cs typeface="+mn-ea"/>
                <a:sym typeface="+mn-lt"/>
              </a:rPr>
              <a:t>CONTE</a:t>
            </a:r>
            <a:r>
              <a:rPr lang="tr-TR" sz="100" dirty="0">
                <a:solidFill>
                  <a:schemeClr val="accent1"/>
                </a:solidFill>
                <a:cs typeface="+mn-ea"/>
                <a:sym typeface="+mn-lt"/>
              </a:rPr>
              <a:t> </a:t>
            </a:r>
            <a:r>
              <a:rPr lang="tr-TR" sz="2800" dirty="0">
                <a:solidFill>
                  <a:schemeClr val="accent1"/>
                </a:solidFill>
                <a:cs typeface="+mn-ea"/>
                <a:sym typeface="+mn-lt"/>
              </a:rPr>
              <a:t>NTS</a:t>
            </a:r>
            <a:endParaRPr lang="en-US" sz="2800" dirty="0">
              <a:solidFill>
                <a:schemeClr val="accent1"/>
              </a:solidFill>
              <a:cs typeface="+mn-ea"/>
              <a:sym typeface="+mn-lt"/>
            </a:endParaRPr>
          </a:p>
          <a:p>
            <a:pPr algn="r"/>
            <a:r>
              <a:rPr lang="zh-CN" altLang="en-US" sz="2800" b="1" dirty="0">
                <a:solidFill>
                  <a:schemeClr val="accent1"/>
                </a:solidFill>
                <a:cs typeface="+mn-ea"/>
                <a:sym typeface="+mn-lt"/>
              </a:rPr>
              <a:t>缓存一致性</a:t>
            </a:r>
          </a:p>
        </p:txBody>
      </p:sp>
      <p:grpSp>
        <p:nvGrpSpPr>
          <p:cNvPr id="11" name="组合 10"/>
          <p:cNvGrpSpPr/>
          <p:nvPr/>
        </p:nvGrpSpPr>
        <p:grpSpPr>
          <a:xfrm>
            <a:off x="4431867" y="1303496"/>
            <a:ext cx="5197532" cy="4741942"/>
            <a:chOff x="1637439" y="2251772"/>
            <a:chExt cx="3378619" cy="3082466"/>
          </a:xfrm>
        </p:grpSpPr>
        <p:sp>
          <p:nvSpPr>
            <p:cNvPr id="12" name="íṣlïdé"/>
            <p:cNvSpPr/>
            <p:nvPr/>
          </p:nvSpPr>
          <p:spPr bwMode="auto">
            <a:xfrm>
              <a:off x="2875001" y="2251772"/>
              <a:ext cx="903494" cy="3082466"/>
            </a:xfrm>
            <a:custGeom>
              <a:avLst/>
              <a:gdLst>
                <a:gd name="T0" fmla="*/ 1764 w 4053"/>
                <a:gd name="T1" fmla="*/ 0 h 16197"/>
                <a:gd name="T2" fmla="*/ 2323 w 4053"/>
                <a:gd name="T3" fmla="*/ 0 h 16197"/>
                <a:gd name="T4" fmla="*/ 2323 w 4053"/>
                <a:gd name="T5" fmla="*/ 892 h 16197"/>
                <a:gd name="T6" fmla="*/ 1764 w 4053"/>
                <a:gd name="T7" fmla="*/ 892 h 16197"/>
                <a:gd name="T8" fmla="*/ 1764 w 4053"/>
                <a:gd name="T9" fmla="*/ 0 h 16197"/>
                <a:gd name="T10" fmla="*/ 1831 w 4053"/>
                <a:gd name="T11" fmla="*/ 11317 h 16197"/>
                <a:gd name="T12" fmla="*/ 2256 w 4053"/>
                <a:gd name="T13" fmla="*/ 11317 h 16197"/>
                <a:gd name="T14" fmla="*/ 2256 w 4053"/>
                <a:gd name="T15" fmla="*/ 13709 h 16197"/>
                <a:gd name="T16" fmla="*/ 4053 w 4053"/>
                <a:gd name="T17" fmla="*/ 15988 h 16197"/>
                <a:gd name="T18" fmla="*/ 3787 w 4053"/>
                <a:gd name="T19" fmla="*/ 16197 h 16197"/>
                <a:gd name="T20" fmla="*/ 2256 w 4053"/>
                <a:gd name="T21" fmla="*/ 14256 h 16197"/>
                <a:gd name="T22" fmla="*/ 2256 w 4053"/>
                <a:gd name="T23" fmla="*/ 16151 h 16197"/>
                <a:gd name="T24" fmla="*/ 1831 w 4053"/>
                <a:gd name="T25" fmla="*/ 16151 h 16197"/>
                <a:gd name="T26" fmla="*/ 1831 w 4053"/>
                <a:gd name="T27" fmla="*/ 14215 h 16197"/>
                <a:gd name="T28" fmla="*/ 266 w 4053"/>
                <a:gd name="T29" fmla="*/ 16197 h 16197"/>
                <a:gd name="T30" fmla="*/ 0 w 4053"/>
                <a:gd name="T31" fmla="*/ 15988 h 16197"/>
                <a:gd name="T32" fmla="*/ 1831 w 4053"/>
                <a:gd name="T33" fmla="*/ 13668 h 16197"/>
                <a:gd name="T34" fmla="*/ 1831 w 4053"/>
                <a:gd name="T35" fmla="*/ 11317 h 16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53" h="16197">
                  <a:moveTo>
                    <a:pt x="1764" y="0"/>
                  </a:moveTo>
                  <a:lnTo>
                    <a:pt x="2323" y="0"/>
                  </a:lnTo>
                  <a:lnTo>
                    <a:pt x="2323" y="892"/>
                  </a:lnTo>
                  <a:lnTo>
                    <a:pt x="1764" y="892"/>
                  </a:lnTo>
                  <a:lnTo>
                    <a:pt x="1764" y="0"/>
                  </a:lnTo>
                  <a:close/>
                  <a:moveTo>
                    <a:pt x="1831" y="11317"/>
                  </a:moveTo>
                  <a:lnTo>
                    <a:pt x="2256" y="11317"/>
                  </a:lnTo>
                  <a:lnTo>
                    <a:pt x="2256" y="13709"/>
                  </a:lnTo>
                  <a:lnTo>
                    <a:pt x="4053" y="15988"/>
                  </a:lnTo>
                  <a:lnTo>
                    <a:pt x="3787" y="16197"/>
                  </a:lnTo>
                  <a:lnTo>
                    <a:pt x="2256" y="14256"/>
                  </a:lnTo>
                  <a:lnTo>
                    <a:pt x="2256" y="16151"/>
                  </a:lnTo>
                  <a:lnTo>
                    <a:pt x="1831" y="16151"/>
                  </a:lnTo>
                  <a:lnTo>
                    <a:pt x="1831" y="14215"/>
                  </a:lnTo>
                  <a:lnTo>
                    <a:pt x="266" y="16197"/>
                  </a:lnTo>
                  <a:lnTo>
                    <a:pt x="0" y="15988"/>
                  </a:lnTo>
                  <a:lnTo>
                    <a:pt x="1831" y="13668"/>
                  </a:lnTo>
                  <a:lnTo>
                    <a:pt x="1831" y="11317"/>
                  </a:lnTo>
                  <a:close/>
                </a:path>
              </a:pathLst>
            </a:custGeom>
            <a:solidFill>
              <a:schemeClr val="bg1">
                <a:lumMod val="95000"/>
              </a:schemeClr>
            </a:solidFill>
            <a:ln>
              <a:noFill/>
            </a:ln>
            <a:effectLst>
              <a:outerShdw blurRad="76200" dir="13500000" sy="23000" kx="1200000" algn="br" rotWithShape="0">
                <a:prstClr val="black">
                  <a:alpha val="20000"/>
                </a:prstClr>
              </a:outerShdw>
            </a:effectLst>
          </p:spPr>
          <p:txBody>
            <a:bodyPr wrap="square" lIns="91440" tIns="45720" rIns="91440" bIns="45720" anchor="ctr">
              <a:normAutofit/>
            </a:bodyPr>
            <a:lstStyle/>
            <a:p>
              <a:pPr algn="ctr"/>
              <a:endParaRPr dirty="0"/>
            </a:p>
          </p:txBody>
        </p:sp>
        <p:sp>
          <p:nvSpPr>
            <p:cNvPr id="13" name="ïśļîḋê"/>
            <p:cNvSpPr/>
            <p:nvPr/>
          </p:nvSpPr>
          <p:spPr bwMode="auto">
            <a:xfrm>
              <a:off x="1637439" y="2338707"/>
              <a:ext cx="3378619" cy="2325660"/>
            </a:xfrm>
            <a:custGeom>
              <a:avLst/>
              <a:gdLst>
                <a:gd name="T0" fmla="*/ 233 w 15146"/>
                <a:gd name="T1" fmla="*/ 466 h 10425"/>
                <a:gd name="T2" fmla="*/ 186 w 15146"/>
                <a:gd name="T3" fmla="*/ 460 h 10425"/>
                <a:gd name="T4" fmla="*/ 142 w 15146"/>
                <a:gd name="T5" fmla="*/ 447 h 10425"/>
                <a:gd name="T6" fmla="*/ 68 w 15146"/>
                <a:gd name="T7" fmla="*/ 397 h 10425"/>
                <a:gd name="T8" fmla="*/ 19 w 15146"/>
                <a:gd name="T9" fmla="*/ 323 h 10425"/>
                <a:gd name="T10" fmla="*/ 5 w 15146"/>
                <a:gd name="T11" fmla="*/ 279 h 10425"/>
                <a:gd name="T12" fmla="*/ 0 w 15146"/>
                <a:gd name="T13" fmla="*/ 233 h 10425"/>
                <a:gd name="T14" fmla="*/ 3 w 15146"/>
                <a:gd name="T15" fmla="*/ 197 h 10425"/>
                <a:gd name="T16" fmla="*/ 15 w 15146"/>
                <a:gd name="T17" fmla="*/ 154 h 10425"/>
                <a:gd name="T18" fmla="*/ 54 w 15146"/>
                <a:gd name="T19" fmla="*/ 85 h 10425"/>
                <a:gd name="T20" fmla="*/ 123 w 15146"/>
                <a:gd name="T21" fmla="*/ 28 h 10425"/>
                <a:gd name="T22" fmla="*/ 175 w 15146"/>
                <a:gd name="T23" fmla="*/ 8 h 10425"/>
                <a:gd name="T24" fmla="*/ 221 w 15146"/>
                <a:gd name="T25" fmla="*/ 1 h 10425"/>
                <a:gd name="T26" fmla="*/ 14938 w 15146"/>
                <a:gd name="T27" fmla="*/ 2 h 10425"/>
                <a:gd name="T28" fmla="*/ 14983 w 15146"/>
                <a:gd name="T29" fmla="*/ 11 h 10425"/>
                <a:gd name="T30" fmla="*/ 15044 w 15146"/>
                <a:gd name="T31" fmla="*/ 40 h 10425"/>
                <a:gd name="T32" fmla="*/ 15106 w 15146"/>
                <a:gd name="T33" fmla="*/ 104 h 10425"/>
                <a:gd name="T34" fmla="*/ 15135 w 15146"/>
                <a:gd name="T35" fmla="*/ 164 h 10425"/>
                <a:gd name="T36" fmla="*/ 15145 w 15146"/>
                <a:gd name="T37" fmla="*/ 209 h 10425"/>
                <a:gd name="T38" fmla="*/ 15146 w 15146"/>
                <a:gd name="T39" fmla="*/ 245 h 10425"/>
                <a:gd name="T40" fmla="*/ 15138 w 15146"/>
                <a:gd name="T41" fmla="*/ 291 h 10425"/>
                <a:gd name="T42" fmla="*/ 15118 w 15146"/>
                <a:gd name="T43" fmla="*/ 343 h 10425"/>
                <a:gd name="T44" fmla="*/ 15061 w 15146"/>
                <a:gd name="T45" fmla="*/ 412 h 10425"/>
                <a:gd name="T46" fmla="*/ 14993 w 15146"/>
                <a:gd name="T47" fmla="*/ 451 h 10425"/>
                <a:gd name="T48" fmla="*/ 14949 w 15146"/>
                <a:gd name="T49" fmla="*/ 462 h 10425"/>
                <a:gd name="T50" fmla="*/ 14729 w 15146"/>
                <a:gd name="T51" fmla="*/ 466 h 10425"/>
                <a:gd name="T52" fmla="*/ 14938 w 15146"/>
                <a:gd name="T53" fmla="*/ 9960 h 10425"/>
                <a:gd name="T54" fmla="*/ 14983 w 15146"/>
                <a:gd name="T55" fmla="*/ 9970 h 10425"/>
                <a:gd name="T56" fmla="*/ 15044 w 15146"/>
                <a:gd name="T57" fmla="*/ 9999 h 10425"/>
                <a:gd name="T58" fmla="*/ 15106 w 15146"/>
                <a:gd name="T59" fmla="*/ 10062 h 10425"/>
                <a:gd name="T60" fmla="*/ 15135 w 15146"/>
                <a:gd name="T61" fmla="*/ 10123 h 10425"/>
                <a:gd name="T62" fmla="*/ 15145 w 15146"/>
                <a:gd name="T63" fmla="*/ 10168 h 10425"/>
                <a:gd name="T64" fmla="*/ 15146 w 15146"/>
                <a:gd name="T65" fmla="*/ 10203 h 10425"/>
                <a:gd name="T66" fmla="*/ 15138 w 15146"/>
                <a:gd name="T67" fmla="*/ 10249 h 10425"/>
                <a:gd name="T68" fmla="*/ 15118 w 15146"/>
                <a:gd name="T69" fmla="*/ 10303 h 10425"/>
                <a:gd name="T70" fmla="*/ 15061 w 15146"/>
                <a:gd name="T71" fmla="*/ 10371 h 10425"/>
                <a:gd name="T72" fmla="*/ 14993 w 15146"/>
                <a:gd name="T73" fmla="*/ 10410 h 10425"/>
                <a:gd name="T74" fmla="*/ 14949 w 15146"/>
                <a:gd name="T75" fmla="*/ 10421 h 10425"/>
                <a:gd name="T76" fmla="*/ 233 w 15146"/>
                <a:gd name="T77" fmla="*/ 10425 h 10425"/>
                <a:gd name="T78" fmla="*/ 186 w 15146"/>
                <a:gd name="T79" fmla="*/ 10419 h 10425"/>
                <a:gd name="T80" fmla="*/ 142 w 15146"/>
                <a:gd name="T81" fmla="*/ 10406 h 10425"/>
                <a:gd name="T82" fmla="*/ 68 w 15146"/>
                <a:gd name="T83" fmla="*/ 10356 h 10425"/>
                <a:gd name="T84" fmla="*/ 19 w 15146"/>
                <a:gd name="T85" fmla="*/ 10282 h 10425"/>
                <a:gd name="T86" fmla="*/ 5 w 15146"/>
                <a:gd name="T87" fmla="*/ 10238 h 10425"/>
                <a:gd name="T88" fmla="*/ 0 w 15146"/>
                <a:gd name="T89" fmla="*/ 10191 h 10425"/>
                <a:gd name="T90" fmla="*/ 3 w 15146"/>
                <a:gd name="T91" fmla="*/ 10156 h 10425"/>
                <a:gd name="T92" fmla="*/ 15 w 15146"/>
                <a:gd name="T93" fmla="*/ 10112 h 10425"/>
                <a:gd name="T94" fmla="*/ 54 w 15146"/>
                <a:gd name="T95" fmla="*/ 10044 h 10425"/>
                <a:gd name="T96" fmla="*/ 123 w 15146"/>
                <a:gd name="T97" fmla="*/ 9987 h 10425"/>
                <a:gd name="T98" fmla="*/ 175 w 15146"/>
                <a:gd name="T99" fmla="*/ 9967 h 10425"/>
                <a:gd name="T100" fmla="*/ 221 w 15146"/>
                <a:gd name="T101" fmla="*/ 9959 h 10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46" h="10425">
                  <a:moveTo>
                    <a:pt x="233" y="9959"/>
                  </a:moveTo>
                  <a:lnTo>
                    <a:pt x="418" y="9959"/>
                  </a:lnTo>
                  <a:lnTo>
                    <a:pt x="418" y="466"/>
                  </a:lnTo>
                  <a:lnTo>
                    <a:pt x="233" y="466"/>
                  </a:lnTo>
                  <a:lnTo>
                    <a:pt x="221" y="466"/>
                  </a:lnTo>
                  <a:lnTo>
                    <a:pt x="209" y="465"/>
                  </a:lnTo>
                  <a:lnTo>
                    <a:pt x="198" y="462"/>
                  </a:lnTo>
                  <a:lnTo>
                    <a:pt x="186" y="460"/>
                  </a:lnTo>
                  <a:lnTo>
                    <a:pt x="175" y="458"/>
                  </a:lnTo>
                  <a:lnTo>
                    <a:pt x="164" y="455"/>
                  </a:lnTo>
                  <a:lnTo>
                    <a:pt x="153" y="451"/>
                  </a:lnTo>
                  <a:lnTo>
                    <a:pt x="142" y="447"/>
                  </a:lnTo>
                  <a:lnTo>
                    <a:pt x="123" y="437"/>
                  </a:lnTo>
                  <a:lnTo>
                    <a:pt x="103" y="425"/>
                  </a:lnTo>
                  <a:lnTo>
                    <a:pt x="85" y="412"/>
                  </a:lnTo>
                  <a:lnTo>
                    <a:pt x="68" y="397"/>
                  </a:lnTo>
                  <a:lnTo>
                    <a:pt x="54" y="381"/>
                  </a:lnTo>
                  <a:lnTo>
                    <a:pt x="40" y="363"/>
                  </a:lnTo>
                  <a:lnTo>
                    <a:pt x="29" y="343"/>
                  </a:lnTo>
                  <a:lnTo>
                    <a:pt x="19" y="323"/>
                  </a:lnTo>
                  <a:lnTo>
                    <a:pt x="15" y="313"/>
                  </a:lnTo>
                  <a:lnTo>
                    <a:pt x="10" y="302"/>
                  </a:lnTo>
                  <a:lnTo>
                    <a:pt x="8" y="291"/>
                  </a:lnTo>
                  <a:lnTo>
                    <a:pt x="5" y="279"/>
                  </a:lnTo>
                  <a:lnTo>
                    <a:pt x="3" y="268"/>
                  </a:lnTo>
                  <a:lnTo>
                    <a:pt x="2" y="256"/>
                  </a:lnTo>
                  <a:lnTo>
                    <a:pt x="0" y="245"/>
                  </a:lnTo>
                  <a:lnTo>
                    <a:pt x="0" y="233"/>
                  </a:lnTo>
                  <a:lnTo>
                    <a:pt x="0" y="233"/>
                  </a:lnTo>
                  <a:lnTo>
                    <a:pt x="0" y="221"/>
                  </a:lnTo>
                  <a:lnTo>
                    <a:pt x="2" y="209"/>
                  </a:lnTo>
                  <a:lnTo>
                    <a:pt x="3" y="197"/>
                  </a:lnTo>
                  <a:lnTo>
                    <a:pt x="5" y="186"/>
                  </a:lnTo>
                  <a:lnTo>
                    <a:pt x="8" y="174"/>
                  </a:lnTo>
                  <a:lnTo>
                    <a:pt x="10" y="164"/>
                  </a:lnTo>
                  <a:lnTo>
                    <a:pt x="15" y="154"/>
                  </a:lnTo>
                  <a:lnTo>
                    <a:pt x="19" y="143"/>
                  </a:lnTo>
                  <a:lnTo>
                    <a:pt x="29" y="122"/>
                  </a:lnTo>
                  <a:lnTo>
                    <a:pt x="40" y="104"/>
                  </a:lnTo>
                  <a:lnTo>
                    <a:pt x="54" y="85"/>
                  </a:lnTo>
                  <a:lnTo>
                    <a:pt x="68" y="69"/>
                  </a:lnTo>
                  <a:lnTo>
                    <a:pt x="85" y="53"/>
                  </a:lnTo>
                  <a:lnTo>
                    <a:pt x="103" y="40"/>
                  </a:lnTo>
                  <a:lnTo>
                    <a:pt x="123" y="28"/>
                  </a:lnTo>
                  <a:lnTo>
                    <a:pt x="142" y="19"/>
                  </a:lnTo>
                  <a:lnTo>
                    <a:pt x="153" y="14"/>
                  </a:lnTo>
                  <a:lnTo>
                    <a:pt x="164" y="11"/>
                  </a:lnTo>
                  <a:lnTo>
                    <a:pt x="175" y="8"/>
                  </a:lnTo>
                  <a:lnTo>
                    <a:pt x="186" y="5"/>
                  </a:lnTo>
                  <a:lnTo>
                    <a:pt x="198" y="3"/>
                  </a:lnTo>
                  <a:lnTo>
                    <a:pt x="209" y="2"/>
                  </a:lnTo>
                  <a:lnTo>
                    <a:pt x="221" y="1"/>
                  </a:lnTo>
                  <a:lnTo>
                    <a:pt x="233" y="0"/>
                  </a:lnTo>
                  <a:lnTo>
                    <a:pt x="14914" y="0"/>
                  </a:lnTo>
                  <a:lnTo>
                    <a:pt x="14926" y="1"/>
                  </a:lnTo>
                  <a:lnTo>
                    <a:pt x="14938" y="2"/>
                  </a:lnTo>
                  <a:lnTo>
                    <a:pt x="14949" y="3"/>
                  </a:lnTo>
                  <a:lnTo>
                    <a:pt x="14961" y="5"/>
                  </a:lnTo>
                  <a:lnTo>
                    <a:pt x="14972" y="8"/>
                  </a:lnTo>
                  <a:lnTo>
                    <a:pt x="14983" y="11"/>
                  </a:lnTo>
                  <a:lnTo>
                    <a:pt x="14993" y="14"/>
                  </a:lnTo>
                  <a:lnTo>
                    <a:pt x="15004" y="19"/>
                  </a:lnTo>
                  <a:lnTo>
                    <a:pt x="15024" y="28"/>
                  </a:lnTo>
                  <a:lnTo>
                    <a:pt x="15044" y="40"/>
                  </a:lnTo>
                  <a:lnTo>
                    <a:pt x="15061" y="53"/>
                  </a:lnTo>
                  <a:lnTo>
                    <a:pt x="15077" y="69"/>
                  </a:lnTo>
                  <a:lnTo>
                    <a:pt x="15093" y="85"/>
                  </a:lnTo>
                  <a:lnTo>
                    <a:pt x="15106" y="104"/>
                  </a:lnTo>
                  <a:lnTo>
                    <a:pt x="15118" y="122"/>
                  </a:lnTo>
                  <a:lnTo>
                    <a:pt x="15127" y="143"/>
                  </a:lnTo>
                  <a:lnTo>
                    <a:pt x="15132" y="154"/>
                  </a:lnTo>
                  <a:lnTo>
                    <a:pt x="15135" y="164"/>
                  </a:lnTo>
                  <a:lnTo>
                    <a:pt x="15138" y="174"/>
                  </a:lnTo>
                  <a:lnTo>
                    <a:pt x="15142" y="186"/>
                  </a:lnTo>
                  <a:lnTo>
                    <a:pt x="15144" y="197"/>
                  </a:lnTo>
                  <a:lnTo>
                    <a:pt x="15145" y="209"/>
                  </a:lnTo>
                  <a:lnTo>
                    <a:pt x="15146" y="221"/>
                  </a:lnTo>
                  <a:lnTo>
                    <a:pt x="15146" y="233"/>
                  </a:lnTo>
                  <a:lnTo>
                    <a:pt x="15146" y="233"/>
                  </a:lnTo>
                  <a:lnTo>
                    <a:pt x="15146" y="245"/>
                  </a:lnTo>
                  <a:lnTo>
                    <a:pt x="15145" y="256"/>
                  </a:lnTo>
                  <a:lnTo>
                    <a:pt x="15144" y="268"/>
                  </a:lnTo>
                  <a:lnTo>
                    <a:pt x="15142" y="279"/>
                  </a:lnTo>
                  <a:lnTo>
                    <a:pt x="15138" y="291"/>
                  </a:lnTo>
                  <a:lnTo>
                    <a:pt x="15135" y="302"/>
                  </a:lnTo>
                  <a:lnTo>
                    <a:pt x="15132" y="313"/>
                  </a:lnTo>
                  <a:lnTo>
                    <a:pt x="15127" y="323"/>
                  </a:lnTo>
                  <a:lnTo>
                    <a:pt x="15118" y="343"/>
                  </a:lnTo>
                  <a:lnTo>
                    <a:pt x="15106" y="363"/>
                  </a:lnTo>
                  <a:lnTo>
                    <a:pt x="15093" y="381"/>
                  </a:lnTo>
                  <a:lnTo>
                    <a:pt x="15077" y="397"/>
                  </a:lnTo>
                  <a:lnTo>
                    <a:pt x="15061" y="412"/>
                  </a:lnTo>
                  <a:lnTo>
                    <a:pt x="15044" y="425"/>
                  </a:lnTo>
                  <a:lnTo>
                    <a:pt x="15024" y="437"/>
                  </a:lnTo>
                  <a:lnTo>
                    <a:pt x="15004" y="447"/>
                  </a:lnTo>
                  <a:lnTo>
                    <a:pt x="14993" y="451"/>
                  </a:lnTo>
                  <a:lnTo>
                    <a:pt x="14983" y="455"/>
                  </a:lnTo>
                  <a:lnTo>
                    <a:pt x="14972" y="458"/>
                  </a:lnTo>
                  <a:lnTo>
                    <a:pt x="14961" y="460"/>
                  </a:lnTo>
                  <a:lnTo>
                    <a:pt x="14949" y="462"/>
                  </a:lnTo>
                  <a:lnTo>
                    <a:pt x="14938" y="465"/>
                  </a:lnTo>
                  <a:lnTo>
                    <a:pt x="14926" y="466"/>
                  </a:lnTo>
                  <a:lnTo>
                    <a:pt x="14914" y="466"/>
                  </a:lnTo>
                  <a:lnTo>
                    <a:pt x="14729" y="466"/>
                  </a:lnTo>
                  <a:lnTo>
                    <a:pt x="14729" y="9959"/>
                  </a:lnTo>
                  <a:lnTo>
                    <a:pt x="14914" y="9959"/>
                  </a:lnTo>
                  <a:lnTo>
                    <a:pt x="14926" y="9959"/>
                  </a:lnTo>
                  <a:lnTo>
                    <a:pt x="14938" y="9960"/>
                  </a:lnTo>
                  <a:lnTo>
                    <a:pt x="14949" y="9962"/>
                  </a:lnTo>
                  <a:lnTo>
                    <a:pt x="14961" y="9964"/>
                  </a:lnTo>
                  <a:lnTo>
                    <a:pt x="14972" y="9967"/>
                  </a:lnTo>
                  <a:lnTo>
                    <a:pt x="14983" y="9970"/>
                  </a:lnTo>
                  <a:lnTo>
                    <a:pt x="14993" y="9973"/>
                  </a:lnTo>
                  <a:lnTo>
                    <a:pt x="15004" y="9978"/>
                  </a:lnTo>
                  <a:lnTo>
                    <a:pt x="15024" y="9987"/>
                  </a:lnTo>
                  <a:lnTo>
                    <a:pt x="15044" y="9999"/>
                  </a:lnTo>
                  <a:lnTo>
                    <a:pt x="15061" y="10012"/>
                  </a:lnTo>
                  <a:lnTo>
                    <a:pt x="15077" y="10028"/>
                  </a:lnTo>
                  <a:lnTo>
                    <a:pt x="15093" y="10044"/>
                  </a:lnTo>
                  <a:lnTo>
                    <a:pt x="15106" y="10062"/>
                  </a:lnTo>
                  <a:lnTo>
                    <a:pt x="15118" y="10081"/>
                  </a:lnTo>
                  <a:lnTo>
                    <a:pt x="15127" y="10102"/>
                  </a:lnTo>
                  <a:lnTo>
                    <a:pt x="15132" y="10112"/>
                  </a:lnTo>
                  <a:lnTo>
                    <a:pt x="15135" y="10123"/>
                  </a:lnTo>
                  <a:lnTo>
                    <a:pt x="15138" y="10133"/>
                  </a:lnTo>
                  <a:lnTo>
                    <a:pt x="15142" y="10145"/>
                  </a:lnTo>
                  <a:lnTo>
                    <a:pt x="15144" y="10156"/>
                  </a:lnTo>
                  <a:lnTo>
                    <a:pt x="15145" y="10168"/>
                  </a:lnTo>
                  <a:lnTo>
                    <a:pt x="15146" y="10179"/>
                  </a:lnTo>
                  <a:lnTo>
                    <a:pt x="15146" y="10191"/>
                  </a:lnTo>
                  <a:lnTo>
                    <a:pt x="15146" y="10191"/>
                  </a:lnTo>
                  <a:lnTo>
                    <a:pt x="15146" y="10203"/>
                  </a:lnTo>
                  <a:lnTo>
                    <a:pt x="15145" y="10215"/>
                  </a:lnTo>
                  <a:lnTo>
                    <a:pt x="15144" y="10227"/>
                  </a:lnTo>
                  <a:lnTo>
                    <a:pt x="15142" y="10238"/>
                  </a:lnTo>
                  <a:lnTo>
                    <a:pt x="15138" y="10249"/>
                  </a:lnTo>
                  <a:lnTo>
                    <a:pt x="15135" y="10261"/>
                  </a:lnTo>
                  <a:lnTo>
                    <a:pt x="15132" y="10271"/>
                  </a:lnTo>
                  <a:lnTo>
                    <a:pt x="15127" y="10282"/>
                  </a:lnTo>
                  <a:lnTo>
                    <a:pt x="15118" y="10303"/>
                  </a:lnTo>
                  <a:lnTo>
                    <a:pt x="15106" y="10321"/>
                  </a:lnTo>
                  <a:lnTo>
                    <a:pt x="15093" y="10340"/>
                  </a:lnTo>
                  <a:lnTo>
                    <a:pt x="15077" y="10356"/>
                  </a:lnTo>
                  <a:lnTo>
                    <a:pt x="15061" y="10371"/>
                  </a:lnTo>
                  <a:lnTo>
                    <a:pt x="15044" y="10384"/>
                  </a:lnTo>
                  <a:lnTo>
                    <a:pt x="15024" y="10396"/>
                  </a:lnTo>
                  <a:lnTo>
                    <a:pt x="15004" y="10406"/>
                  </a:lnTo>
                  <a:lnTo>
                    <a:pt x="14993" y="10410"/>
                  </a:lnTo>
                  <a:lnTo>
                    <a:pt x="14983" y="10414"/>
                  </a:lnTo>
                  <a:lnTo>
                    <a:pt x="14972" y="10417"/>
                  </a:lnTo>
                  <a:lnTo>
                    <a:pt x="14961" y="10419"/>
                  </a:lnTo>
                  <a:lnTo>
                    <a:pt x="14949" y="10421"/>
                  </a:lnTo>
                  <a:lnTo>
                    <a:pt x="14938" y="10422"/>
                  </a:lnTo>
                  <a:lnTo>
                    <a:pt x="14926" y="10424"/>
                  </a:lnTo>
                  <a:lnTo>
                    <a:pt x="14914" y="10425"/>
                  </a:lnTo>
                  <a:lnTo>
                    <a:pt x="233" y="10425"/>
                  </a:lnTo>
                  <a:lnTo>
                    <a:pt x="221" y="10424"/>
                  </a:lnTo>
                  <a:lnTo>
                    <a:pt x="209" y="10422"/>
                  </a:lnTo>
                  <a:lnTo>
                    <a:pt x="198" y="10421"/>
                  </a:lnTo>
                  <a:lnTo>
                    <a:pt x="186" y="10419"/>
                  </a:lnTo>
                  <a:lnTo>
                    <a:pt x="175" y="10417"/>
                  </a:lnTo>
                  <a:lnTo>
                    <a:pt x="164" y="10414"/>
                  </a:lnTo>
                  <a:lnTo>
                    <a:pt x="153" y="10410"/>
                  </a:lnTo>
                  <a:lnTo>
                    <a:pt x="142" y="10406"/>
                  </a:lnTo>
                  <a:lnTo>
                    <a:pt x="123" y="10396"/>
                  </a:lnTo>
                  <a:lnTo>
                    <a:pt x="103" y="10384"/>
                  </a:lnTo>
                  <a:lnTo>
                    <a:pt x="85" y="10371"/>
                  </a:lnTo>
                  <a:lnTo>
                    <a:pt x="68" y="10356"/>
                  </a:lnTo>
                  <a:lnTo>
                    <a:pt x="54" y="10340"/>
                  </a:lnTo>
                  <a:lnTo>
                    <a:pt x="40" y="10321"/>
                  </a:lnTo>
                  <a:lnTo>
                    <a:pt x="29" y="10303"/>
                  </a:lnTo>
                  <a:lnTo>
                    <a:pt x="19" y="10282"/>
                  </a:lnTo>
                  <a:lnTo>
                    <a:pt x="15" y="10271"/>
                  </a:lnTo>
                  <a:lnTo>
                    <a:pt x="10" y="10261"/>
                  </a:lnTo>
                  <a:lnTo>
                    <a:pt x="8" y="10249"/>
                  </a:lnTo>
                  <a:lnTo>
                    <a:pt x="5" y="10238"/>
                  </a:lnTo>
                  <a:lnTo>
                    <a:pt x="3" y="10227"/>
                  </a:lnTo>
                  <a:lnTo>
                    <a:pt x="2" y="10215"/>
                  </a:lnTo>
                  <a:lnTo>
                    <a:pt x="0" y="10203"/>
                  </a:lnTo>
                  <a:lnTo>
                    <a:pt x="0" y="10191"/>
                  </a:lnTo>
                  <a:lnTo>
                    <a:pt x="0" y="10191"/>
                  </a:lnTo>
                  <a:lnTo>
                    <a:pt x="0" y="10179"/>
                  </a:lnTo>
                  <a:lnTo>
                    <a:pt x="2" y="10168"/>
                  </a:lnTo>
                  <a:lnTo>
                    <a:pt x="3" y="10156"/>
                  </a:lnTo>
                  <a:lnTo>
                    <a:pt x="5" y="10145"/>
                  </a:lnTo>
                  <a:lnTo>
                    <a:pt x="8" y="10133"/>
                  </a:lnTo>
                  <a:lnTo>
                    <a:pt x="10" y="10123"/>
                  </a:lnTo>
                  <a:lnTo>
                    <a:pt x="15" y="10112"/>
                  </a:lnTo>
                  <a:lnTo>
                    <a:pt x="19" y="10102"/>
                  </a:lnTo>
                  <a:lnTo>
                    <a:pt x="29" y="10081"/>
                  </a:lnTo>
                  <a:lnTo>
                    <a:pt x="40" y="10062"/>
                  </a:lnTo>
                  <a:lnTo>
                    <a:pt x="54" y="10044"/>
                  </a:lnTo>
                  <a:lnTo>
                    <a:pt x="68" y="10028"/>
                  </a:lnTo>
                  <a:lnTo>
                    <a:pt x="85" y="10012"/>
                  </a:lnTo>
                  <a:lnTo>
                    <a:pt x="103" y="9999"/>
                  </a:lnTo>
                  <a:lnTo>
                    <a:pt x="123" y="9987"/>
                  </a:lnTo>
                  <a:lnTo>
                    <a:pt x="142" y="9978"/>
                  </a:lnTo>
                  <a:lnTo>
                    <a:pt x="153" y="9973"/>
                  </a:lnTo>
                  <a:lnTo>
                    <a:pt x="164" y="9970"/>
                  </a:lnTo>
                  <a:lnTo>
                    <a:pt x="175" y="9967"/>
                  </a:lnTo>
                  <a:lnTo>
                    <a:pt x="186" y="9964"/>
                  </a:lnTo>
                  <a:lnTo>
                    <a:pt x="198" y="9962"/>
                  </a:lnTo>
                  <a:lnTo>
                    <a:pt x="209" y="9960"/>
                  </a:lnTo>
                  <a:lnTo>
                    <a:pt x="221" y="9959"/>
                  </a:lnTo>
                  <a:lnTo>
                    <a:pt x="233" y="9959"/>
                  </a:lnTo>
                  <a:close/>
                </a:path>
              </a:pathLst>
            </a:custGeom>
            <a:solidFill>
              <a:schemeClr val="bg1">
                <a:lumMod val="75000"/>
              </a:schemeClr>
            </a:solidFill>
            <a:ln>
              <a:noFill/>
            </a:ln>
          </p:spPr>
          <p:txBody>
            <a:bodyPr wrap="square" lIns="91440" tIns="45720" rIns="91440" bIns="45720" anchor="ctr">
              <a:normAutofit/>
            </a:bodyPr>
            <a:lstStyle/>
            <a:p>
              <a:pPr algn="ctr"/>
              <a:endParaRPr/>
            </a:p>
          </p:txBody>
        </p:sp>
        <p:sp>
          <p:nvSpPr>
            <p:cNvPr id="14" name="íŝḻïḋe"/>
            <p:cNvSpPr/>
            <p:nvPr/>
          </p:nvSpPr>
          <p:spPr bwMode="auto">
            <a:xfrm>
              <a:off x="1765712" y="2443557"/>
              <a:ext cx="3122072" cy="211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p>
          </p:txBody>
        </p:sp>
      </p:grpSp>
      <p:sp>
        <p:nvSpPr>
          <p:cNvPr id="7" name="iṡľïḑè"/>
          <p:cNvSpPr txBox="1"/>
          <p:nvPr/>
        </p:nvSpPr>
        <p:spPr bwMode="auto">
          <a:xfrm>
            <a:off x="4876800" y="2290447"/>
            <a:ext cx="4308673" cy="2383153"/>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342900" indent="-342900">
              <a:lnSpc>
                <a:spcPct val="150000"/>
              </a:lnSpc>
              <a:buFont typeface="+mj-lt"/>
              <a:buAutoNum type="arabicPeriod"/>
            </a:pPr>
            <a:r>
              <a:rPr lang="zh-CN" altLang="en-US" sz="1800" b="0" dirty="0">
                <a:solidFill>
                  <a:schemeClr val="accent1"/>
                </a:solidFill>
                <a:sym typeface="+mn-lt"/>
              </a:rPr>
              <a:t>常见缓存访问模式</a:t>
            </a:r>
          </a:p>
          <a:p>
            <a:pPr marL="342900" indent="-342900">
              <a:lnSpc>
                <a:spcPct val="150000"/>
              </a:lnSpc>
              <a:buFont typeface="+mj-lt"/>
              <a:buAutoNum type="arabicPeriod"/>
            </a:pPr>
            <a:r>
              <a:rPr lang="en-US" altLang="zh-CN" sz="1800" b="0" dirty="0">
                <a:solidFill>
                  <a:schemeClr val="bg1">
                    <a:lumMod val="50000"/>
                  </a:schemeClr>
                </a:solidFill>
                <a:sym typeface="+mn-lt"/>
              </a:rPr>
              <a:t>Cache Aside</a:t>
            </a:r>
            <a:r>
              <a:rPr lang="zh-CN" altLang="en-US" sz="1800" b="0" dirty="0">
                <a:solidFill>
                  <a:schemeClr val="bg1">
                    <a:lumMod val="50000"/>
                  </a:schemeClr>
                </a:solidFill>
                <a:sym typeface="+mn-lt"/>
              </a:rPr>
              <a:t>最佳实践探索</a:t>
            </a:r>
          </a:p>
          <a:p>
            <a:pPr marL="342900" indent="-342900">
              <a:lnSpc>
                <a:spcPct val="150000"/>
              </a:lnSpc>
              <a:buFont typeface="+mj-lt"/>
              <a:buAutoNum type="arabicPeriod"/>
            </a:pPr>
            <a:r>
              <a:rPr lang="zh-CN" altLang="en-US" sz="1800" b="0" dirty="0">
                <a:solidFill>
                  <a:schemeClr val="bg1">
                    <a:lumMod val="50000"/>
                  </a:schemeClr>
                </a:solidFill>
                <a:sym typeface="+mn-lt"/>
              </a:rPr>
              <a:t>如何提升一致性</a:t>
            </a:r>
            <a:endParaRPr lang="zh-CN" altLang="en-US" sz="1800" b="0" dirty="0">
              <a:solidFill>
                <a:schemeClr val="bg1">
                  <a:lumMod val="50000"/>
                </a:schemeClr>
              </a:solidFill>
              <a:latin typeface="+mn-lt"/>
              <a:ea typeface="+mn-ea"/>
              <a:sym typeface="+mn-lt"/>
            </a:endParaRPr>
          </a:p>
        </p:txBody>
      </p:sp>
      <p:sp>
        <p:nvSpPr>
          <p:cNvPr id="15" name="poetry_91022"/>
          <p:cNvSpPr>
            <a:spLocks noChangeAspect="1"/>
          </p:cNvSpPr>
          <p:nvPr/>
        </p:nvSpPr>
        <p:spPr bwMode="auto">
          <a:xfrm>
            <a:off x="10650632" y="5310270"/>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alpha val="39000"/>
            </a:schemeClr>
          </a:solidFill>
          <a:ln>
            <a:noFill/>
          </a:ln>
        </p:spPr>
        <p:txBody>
          <a:bodyPr/>
          <a:lstStyle/>
          <a:p>
            <a:endParaRPr lang="zh-CN" altLang="en-US">
              <a:cs typeface="+mn-ea"/>
              <a:sym typeface="+mn-l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提升一致性</a:t>
            </a:r>
            <a:r>
              <a:rPr lang="en-US" altLang="zh-CN" dirty="0"/>
              <a:t>—</a:t>
            </a:r>
            <a:r>
              <a:rPr lang="en-US" altLang="zh-CN" dirty="0">
                <a:sym typeface="+mn-ea"/>
              </a:rPr>
              <a:t>—</a:t>
            </a:r>
            <a:r>
              <a:rPr lang="zh-CN" altLang="en-US" dirty="0">
                <a:sym typeface="+mn-ea"/>
              </a:rPr>
              <a:t>原因剖析</a:t>
            </a:r>
          </a:p>
        </p:txBody>
      </p:sp>
      <p:graphicFrame>
        <p:nvGraphicFramePr>
          <p:cNvPr id="3" name="图示 2">
            <a:extLst>
              <a:ext uri="{FF2B5EF4-FFF2-40B4-BE49-F238E27FC236}">
                <a16:creationId xmlns:a16="http://schemas.microsoft.com/office/drawing/2014/main" id="{CA1637C2-ACB4-D342-8EB7-BEE178EDDA37}"/>
              </a:ext>
            </a:extLst>
          </p:cNvPr>
          <p:cNvGraphicFramePr/>
          <p:nvPr>
            <p:extLst>
              <p:ext uri="{D42A27DB-BD31-4B8C-83A1-F6EECF244321}">
                <p14:modId xmlns:p14="http://schemas.microsoft.com/office/powerpoint/2010/main" val="3492582207"/>
              </p:ext>
            </p:extLst>
          </p:nvPr>
        </p:nvGraphicFramePr>
        <p:xfrm>
          <a:off x="457200" y="1294432"/>
          <a:ext cx="1085056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34">
            <a:extLst>
              <a:ext uri="{FF2B5EF4-FFF2-40B4-BE49-F238E27FC236}">
                <a16:creationId xmlns:a16="http://schemas.microsoft.com/office/drawing/2014/main" id="{3F6877EE-C459-3044-9259-2E4727D9596C}"/>
              </a:ext>
            </a:extLst>
          </p:cNvPr>
          <p:cNvSpPr/>
          <p:nvPr/>
        </p:nvSpPr>
        <p:spPr>
          <a:xfrm>
            <a:off x="5982799" y="4260715"/>
            <a:ext cx="4348385" cy="2082938"/>
          </a:xfrm>
          <a:prstGeom prst="rect">
            <a:avLst/>
          </a:prstGeom>
          <a:ln>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zh-CN" altLang="en-US"/>
          </a:p>
        </p:txBody>
      </p:sp>
      <p:sp>
        <p:nvSpPr>
          <p:cNvPr id="8" name="标题 1"/>
          <p:cNvSpPr>
            <a:spLocks noGrp="1"/>
          </p:cNvSpPr>
          <p:nvPr>
            <p:ph type="title"/>
          </p:nvPr>
        </p:nvSpPr>
        <p:spPr/>
        <p:txBody>
          <a:bodyPr/>
          <a:lstStyle/>
          <a:p>
            <a:r>
              <a:rPr lang="zh-CN" altLang="en-US" dirty="0">
                <a:sym typeface="+mn-ea"/>
              </a:rPr>
              <a:t>重试三法</a:t>
            </a:r>
            <a:r>
              <a:rPr lang="en-US" altLang="zh-CN" dirty="0"/>
              <a:t>——</a:t>
            </a:r>
            <a:r>
              <a:rPr lang="zh-CN" altLang="en-US" dirty="0"/>
              <a:t>延时双删</a:t>
            </a:r>
          </a:p>
        </p:txBody>
      </p:sp>
      <p:sp>
        <p:nvSpPr>
          <p:cNvPr id="3" name="矩形 2"/>
          <p:cNvSpPr/>
          <p:nvPr/>
        </p:nvSpPr>
        <p:spPr>
          <a:xfrm>
            <a:off x="6244474" y="1266298"/>
            <a:ext cx="2177415" cy="10814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pplication</a:t>
            </a:r>
          </a:p>
        </p:txBody>
      </p:sp>
      <p:sp>
        <p:nvSpPr>
          <p:cNvPr id="5" name="流程图: 终止 4"/>
          <p:cNvSpPr/>
          <p:nvPr/>
        </p:nvSpPr>
        <p:spPr>
          <a:xfrm>
            <a:off x="6292734" y="2951159"/>
            <a:ext cx="2060575" cy="1081405"/>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cache</a:t>
            </a:r>
          </a:p>
          <a:p>
            <a:pPr algn="ctr"/>
            <a:r>
              <a:rPr lang="en-US" altLang="zh-CN" dirty="0"/>
              <a:t>money=NULL</a:t>
            </a:r>
          </a:p>
        </p:txBody>
      </p:sp>
      <p:cxnSp>
        <p:nvCxnSpPr>
          <p:cNvPr id="6" name="直接箭头连接符 5"/>
          <p:cNvCxnSpPr>
            <a:cxnSpLocks/>
            <a:stCxn id="3" idx="2"/>
            <a:endCxn id="5" idx="0"/>
          </p:cNvCxnSpPr>
          <p:nvPr/>
        </p:nvCxnSpPr>
        <p:spPr>
          <a:xfrm flipH="1">
            <a:off x="7323022" y="2347703"/>
            <a:ext cx="10160" cy="6034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a:cxnSpLocks/>
            <a:stCxn id="3" idx="3"/>
            <a:endCxn id="21" idx="1"/>
          </p:cNvCxnSpPr>
          <p:nvPr/>
        </p:nvCxnSpPr>
        <p:spPr>
          <a:xfrm flipV="1">
            <a:off x="8421889" y="1807000"/>
            <a:ext cx="147732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8353309" y="1266298"/>
            <a:ext cx="1592580" cy="368300"/>
          </a:xfrm>
          <a:prstGeom prst="rect">
            <a:avLst/>
          </a:prstGeom>
          <a:noFill/>
        </p:spPr>
        <p:txBody>
          <a:bodyPr wrap="none" rtlCol="0">
            <a:spAutoFit/>
          </a:bodyPr>
          <a:lstStyle/>
          <a:p>
            <a:r>
              <a:rPr lang="en-US" altLang="zh-CN" dirty="0"/>
              <a:t>1. update</a:t>
            </a:r>
            <a:r>
              <a:rPr lang="zh-CN" altLang="en-US" dirty="0"/>
              <a:t>成功</a:t>
            </a:r>
          </a:p>
        </p:txBody>
      </p:sp>
      <p:sp>
        <p:nvSpPr>
          <p:cNvPr id="10" name="文本框 9"/>
          <p:cNvSpPr txBox="1"/>
          <p:nvPr/>
        </p:nvSpPr>
        <p:spPr>
          <a:xfrm>
            <a:off x="7448950" y="2562225"/>
            <a:ext cx="1069524" cy="369332"/>
          </a:xfrm>
          <a:prstGeom prst="rect">
            <a:avLst/>
          </a:prstGeom>
          <a:noFill/>
        </p:spPr>
        <p:txBody>
          <a:bodyPr wrap="none" rtlCol="0">
            <a:spAutoFit/>
          </a:bodyPr>
          <a:lstStyle/>
          <a:p>
            <a:r>
              <a:rPr lang="en-US" altLang="zh-CN" dirty="0"/>
              <a:t>2. delete</a:t>
            </a:r>
            <a:endParaRPr lang="zh-CN" altLang="en-US" dirty="0"/>
          </a:p>
        </p:txBody>
      </p:sp>
      <p:cxnSp>
        <p:nvCxnSpPr>
          <p:cNvPr id="12" name="直接箭头连接符 11"/>
          <p:cNvCxnSpPr>
            <a:cxnSpLocks/>
            <a:stCxn id="5" idx="2"/>
            <a:endCxn id="31" idx="0"/>
          </p:cNvCxnSpPr>
          <p:nvPr/>
        </p:nvCxnSpPr>
        <p:spPr>
          <a:xfrm>
            <a:off x="7323022" y="4032564"/>
            <a:ext cx="10159" cy="9067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流程图: 库存数据 3">
            <a:extLst>
              <a:ext uri="{FF2B5EF4-FFF2-40B4-BE49-F238E27FC236}">
                <a16:creationId xmlns:a16="http://schemas.microsoft.com/office/drawing/2014/main" id="{3976DE39-BFA8-2C42-A47D-C4D562DFC157}"/>
              </a:ext>
            </a:extLst>
          </p:cNvPr>
          <p:cNvSpPr/>
          <p:nvPr/>
        </p:nvSpPr>
        <p:spPr>
          <a:xfrm>
            <a:off x="9899216" y="1285665"/>
            <a:ext cx="2177414" cy="1042670"/>
          </a:xfrm>
          <a:prstGeom prst="flowChartOnline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DB</a:t>
            </a:r>
          </a:p>
          <a:p>
            <a:pPr algn="ctr"/>
            <a:r>
              <a:rPr lang="en-US" altLang="zh-CN" dirty="0"/>
              <a:t>money=new</a:t>
            </a:r>
          </a:p>
        </p:txBody>
      </p:sp>
      <p:sp>
        <p:nvSpPr>
          <p:cNvPr id="31" name="流程图: 终止 4">
            <a:extLst>
              <a:ext uri="{FF2B5EF4-FFF2-40B4-BE49-F238E27FC236}">
                <a16:creationId xmlns:a16="http://schemas.microsoft.com/office/drawing/2014/main" id="{61512B21-E63A-AF4E-9CF3-C494482B9C07}"/>
              </a:ext>
            </a:extLst>
          </p:cNvPr>
          <p:cNvSpPr/>
          <p:nvPr/>
        </p:nvSpPr>
        <p:spPr>
          <a:xfrm>
            <a:off x="6302893" y="4939333"/>
            <a:ext cx="2060575" cy="1081405"/>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cache</a:t>
            </a:r>
          </a:p>
          <a:p>
            <a:pPr algn="ctr"/>
            <a:r>
              <a:rPr lang="en-US" altLang="zh-CN" dirty="0"/>
              <a:t>money=new</a:t>
            </a:r>
          </a:p>
        </p:txBody>
      </p:sp>
      <p:sp>
        <p:nvSpPr>
          <p:cNvPr id="34" name="文本框 33">
            <a:extLst>
              <a:ext uri="{FF2B5EF4-FFF2-40B4-BE49-F238E27FC236}">
                <a16:creationId xmlns:a16="http://schemas.microsoft.com/office/drawing/2014/main" id="{10D8240D-4B92-244B-BBEC-B952C9B12504}"/>
              </a:ext>
            </a:extLst>
          </p:cNvPr>
          <p:cNvSpPr txBox="1"/>
          <p:nvPr/>
        </p:nvSpPr>
        <p:spPr>
          <a:xfrm>
            <a:off x="7363858" y="4355479"/>
            <a:ext cx="2916183" cy="369332"/>
          </a:xfrm>
          <a:prstGeom prst="rect">
            <a:avLst/>
          </a:prstGeom>
          <a:noFill/>
        </p:spPr>
        <p:txBody>
          <a:bodyPr wrap="none" rtlCol="0">
            <a:spAutoFit/>
          </a:bodyPr>
          <a:lstStyle/>
          <a:p>
            <a:r>
              <a:rPr lang="en-US" altLang="zh-CN" dirty="0"/>
              <a:t>3. </a:t>
            </a:r>
            <a:r>
              <a:rPr lang="zh-CN" altLang="en-US" dirty="0"/>
              <a:t>一段时间后，二次</a:t>
            </a:r>
            <a:r>
              <a:rPr lang="en-US" altLang="zh-CN" dirty="0"/>
              <a:t>delete</a:t>
            </a:r>
            <a:endParaRPr lang="zh-CN" altLang="en-US" dirty="0"/>
          </a:p>
        </p:txBody>
      </p:sp>
      <p:sp>
        <p:nvSpPr>
          <p:cNvPr id="38" name="文本框 37">
            <a:extLst>
              <a:ext uri="{FF2B5EF4-FFF2-40B4-BE49-F238E27FC236}">
                <a16:creationId xmlns:a16="http://schemas.microsoft.com/office/drawing/2014/main" id="{84DE7406-CC62-4D4A-9D2F-2AFA9471DF55}"/>
              </a:ext>
            </a:extLst>
          </p:cNvPr>
          <p:cNvSpPr txBox="1"/>
          <p:nvPr/>
        </p:nvSpPr>
        <p:spPr>
          <a:xfrm>
            <a:off x="9136897" y="5836072"/>
            <a:ext cx="1107996" cy="369332"/>
          </a:xfrm>
          <a:prstGeom prst="rect">
            <a:avLst/>
          </a:prstGeom>
          <a:noFill/>
        </p:spPr>
        <p:txBody>
          <a:bodyPr wrap="none" rtlCol="0">
            <a:spAutoFit/>
          </a:bodyPr>
          <a:lstStyle/>
          <a:p>
            <a:r>
              <a:rPr kumimoji="1" lang="zh-CN" altLang="en-US" dirty="0"/>
              <a:t>异步执行</a:t>
            </a:r>
          </a:p>
        </p:txBody>
      </p:sp>
      <p:sp>
        <p:nvSpPr>
          <p:cNvPr id="39" name="iṡľïḑè">
            <a:extLst>
              <a:ext uri="{FF2B5EF4-FFF2-40B4-BE49-F238E27FC236}">
                <a16:creationId xmlns:a16="http://schemas.microsoft.com/office/drawing/2014/main" id="{042F6EBF-1F04-BF4B-A867-EC07C721B242}"/>
              </a:ext>
            </a:extLst>
          </p:cNvPr>
          <p:cNvSpPr txBox="1"/>
          <p:nvPr/>
        </p:nvSpPr>
        <p:spPr bwMode="auto">
          <a:xfrm>
            <a:off x="669925" y="1420495"/>
            <a:ext cx="5203046" cy="3962874"/>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实现简单</a:t>
            </a: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延时时间不好预估</a:t>
            </a:r>
            <a:endParaRPr lang="en-US" altLang="zh-CN" sz="2000" b="0" dirty="0">
              <a:solidFill>
                <a:schemeClr val="bg1">
                  <a:lumMod val="50000"/>
                </a:schemeClr>
              </a:solidFill>
              <a:sym typeface="+mn-lt"/>
            </a:endParaRPr>
          </a:p>
          <a:p>
            <a:pPr marL="1028700" lvl="1">
              <a:lnSpc>
                <a:spcPct val="150000"/>
              </a:lnSpc>
              <a:buFont typeface="Wingdings" pitchFamily="2" charset="2"/>
              <a:buChar char="ü"/>
            </a:pPr>
            <a:r>
              <a:rPr lang="zh-CN" altLang="en-US" sz="1800" b="0" dirty="0">
                <a:solidFill>
                  <a:schemeClr val="bg1">
                    <a:lumMod val="50000"/>
                  </a:schemeClr>
                </a:solidFill>
                <a:latin typeface="+mn-lt"/>
                <a:ea typeface="+mn-ea"/>
              </a:rPr>
              <a:t>业务读接口耗时</a:t>
            </a:r>
            <a:endParaRPr lang="en-US" altLang="zh-CN" sz="1800" b="0" dirty="0">
              <a:solidFill>
                <a:schemeClr val="bg1">
                  <a:lumMod val="50000"/>
                </a:schemeClr>
              </a:solidFill>
              <a:latin typeface="+mn-lt"/>
              <a:ea typeface="+mn-ea"/>
            </a:endParaRPr>
          </a:p>
          <a:p>
            <a:pPr marL="1028700" lvl="1">
              <a:lnSpc>
                <a:spcPct val="150000"/>
              </a:lnSpc>
              <a:buFont typeface="Wingdings" pitchFamily="2" charset="2"/>
              <a:buChar char="ü"/>
            </a:pPr>
            <a:r>
              <a:rPr lang="en-US" altLang="zh-CN" sz="1800" b="0" dirty="0" err="1">
                <a:solidFill>
                  <a:schemeClr val="bg1">
                    <a:lumMod val="50000"/>
                  </a:schemeClr>
                </a:solidFill>
                <a:latin typeface="+mn-lt"/>
                <a:ea typeface="+mn-ea"/>
                <a:sym typeface="+mn-lt"/>
              </a:rPr>
              <a:t>Mysql</a:t>
            </a:r>
            <a:r>
              <a:rPr lang="zh-CN" altLang="en-US" sz="1800" b="0" dirty="0">
                <a:solidFill>
                  <a:schemeClr val="bg1">
                    <a:lumMod val="50000"/>
                  </a:schemeClr>
                </a:solidFill>
                <a:latin typeface="+mn-lt"/>
                <a:ea typeface="+mn-ea"/>
                <a:sym typeface="+mn-lt"/>
              </a:rPr>
              <a:t>主从延迟</a:t>
            </a:r>
            <a:endParaRPr lang="en-US" altLang="zh-CN" sz="2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endParaRPr lang="zh-CN" altLang="en-US" sz="14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延迟时间内，数据存在不一致性的可能</a:t>
            </a:r>
            <a:endParaRPr lang="en-US" altLang="zh-CN" sz="2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endParaRPr lang="zh-CN" altLang="en-US" sz="2000" b="0" dirty="0">
              <a:solidFill>
                <a:schemeClr val="bg1">
                  <a:lumMod val="50000"/>
                </a:schemeClr>
              </a:solidFill>
              <a:latin typeface="+mn-lt"/>
              <a:ea typeface="+mn-ea"/>
              <a:sym typeface="+mn-lt"/>
            </a:endParaRPr>
          </a:p>
          <a:p>
            <a:pPr lvl="1" indent="0">
              <a:lnSpc>
                <a:spcPct val="150000"/>
              </a:lnSpc>
            </a:pPr>
            <a:endParaRPr lang="zh-CN" altLang="en-US" sz="3600" b="0" dirty="0">
              <a:solidFill>
                <a:schemeClr val="bg1">
                  <a:lumMod val="50000"/>
                </a:schemeClr>
              </a:solidFill>
              <a:latin typeface="+mn-lt"/>
              <a:ea typeface="+mn-ea"/>
              <a:sym typeface="+mn-lt"/>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t>重试三法</a:t>
            </a:r>
            <a:r>
              <a:rPr lang="en-US" altLang="zh-CN" dirty="0">
                <a:sym typeface="+mn-ea"/>
              </a:rPr>
              <a:t>——</a:t>
            </a:r>
            <a:r>
              <a:rPr lang="zh-CN" altLang="en-US" dirty="0"/>
              <a:t>借助消息队列</a:t>
            </a:r>
          </a:p>
        </p:txBody>
      </p:sp>
      <p:sp>
        <p:nvSpPr>
          <p:cNvPr id="18" name="iṡľïḑè"/>
          <p:cNvSpPr txBox="1"/>
          <p:nvPr/>
        </p:nvSpPr>
        <p:spPr bwMode="auto">
          <a:xfrm>
            <a:off x="669925" y="1420495"/>
            <a:ext cx="4913630"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相比删除方案，支持无限重试</a:t>
            </a: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endParaRPr lang="en-US" altLang="zh-CN" sz="2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额外投递消息队列，具有业务侵入</a:t>
            </a:r>
            <a:r>
              <a:rPr lang="zh-CN" altLang="en-US" sz="2000" b="0" dirty="0">
                <a:solidFill>
                  <a:schemeClr val="bg1">
                    <a:lumMod val="50000"/>
                  </a:schemeClr>
                </a:solidFill>
                <a:latin typeface="+mn-lt"/>
                <a:ea typeface="+mn-ea"/>
                <a:sym typeface="+mn-lt"/>
              </a:rPr>
              <a:t>性</a:t>
            </a:r>
            <a:endParaRPr lang="en-US" altLang="zh-CN" sz="2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endParaRPr lang="zh-CN" altLang="en-US" sz="14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无法保证投递消息队列</a:t>
            </a:r>
            <a:r>
              <a:rPr lang="en-US" altLang="zh-CN" sz="2000" b="0" dirty="0">
                <a:solidFill>
                  <a:schemeClr val="bg1">
                    <a:lumMod val="50000"/>
                  </a:schemeClr>
                </a:solidFill>
                <a:latin typeface="+mn-lt"/>
                <a:ea typeface="+mn-ea"/>
                <a:sym typeface="+mn-lt"/>
              </a:rPr>
              <a:t>100%</a:t>
            </a:r>
            <a:r>
              <a:rPr lang="zh-CN" altLang="en-US" sz="2000" b="0" dirty="0">
                <a:solidFill>
                  <a:schemeClr val="bg1">
                    <a:lumMod val="50000"/>
                  </a:schemeClr>
                </a:solidFill>
                <a:latin typeface="+mn-lt"/>
                <a:ea typeface="+mn-ea"/>
                <a:sym typeface="+mn-lt"/>
              </a:rPr>
              <a:t>成功</a:t>
            </a:r>
          </a:p>
          <a:p>
            <a:pPr lvl="1" indent="0">
              <a:lnSpc>
                <a:spcPct val="150000"/>
              </a:lnSpc>
            </a:pPr>
            <a:endParaRPr lang="zh-CN" altLang="en-US" sz="3600" b="0" dirty="0">
              <a:solidFill>
                <a:schemeClr val="bg1">
                  <a:lumMod val="50000"/>
                </a:schemeClr>
              </a:solidFill>
              <a:latin typeface="+mn-lt"/>
              <a:ea typeface="+mn-ea"/>
              <a:sym typeface="+mn-lt"/>
            </a:endParaRPr>
          </a:p>
        </p:txBody>
      </p:sp>
      <p:pic>
        <p:nvPicPr>
          <p:cNvPr id="4098" name="Picture 2">
            <a:extLst>
              <a:ext uri="{FF2B5EF4-FFF2-40B4-BE49-F238E27FC236}">
                <a16:creationId xmlns:a16="http://schemas.microsoft.com/office/drawing/2014/main" id="{E73ADC56-B7C8-784F-840C-7496776BC3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11932" y="1270816"/>
            <a:ext cx="7080068" cy="531322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sym typeface="+mn-ea"/>
              </a:rPr>
              <a:t>重试三法</a:t>
            </a:r>
            <a:r>
              <a:rPr lang="en-US" altLang="zh-CN" dirty="0">
                <a:sym typeface="+mn-ea"/>
              </a:rPr>
              <a:t>——</a:t>
            </a:r>
            <a:r>
              <a:rPr lang="zh-CN" altLang="en-US" dirty="0">
                <a:sym typeface="+mn-ea"/>
              </a:rPr>
              <a:t>订阅</a:t>
            </a:r>
            <a:r>
              <a:rPr lang="en-US" altLang="zh-CN" dirty="0" err="1">
                <a:sym typeface="+mn-ea"/>
              </a:rPr>
              <a:t>binlog</a:t>
            </a:r>
            <a:endParaRPr lang="en-US" altLang="zh-CN" dirty="0">
              <a:sym typeface="+mn-ea"/>
            </a:endParaRPr>
          </a:p>
        </p:txBody>
      </p:sp>
      <p:pic>
        <p:nvPicPr>
          <p:cNvPr id="5122" name="Picture 2">
            <a:extLst>
              <a:ext uri="{FF2B5EF4-FFF2-40B4-BE49-F238E27FC236}">
                <a16:creationId xmlns:a16="http://schemas.microsoft.com/office/drawing/2014/main" id="{4169CFE5-F763-0045-90E3-B207D4094E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8835" y="1028700"/>
            <a:ext cx="6711950" cy="5829300"/>
          </a:xfrm>
          <a:prstGeom prst="rect">
            <a:avLst/>
          </a:prstGeom>
          <a:noFill/>
          <a:extLst>
            <a:ext uri="{909E8E84-426E-40DD-AFC4-6F175D3DCCD1}">
              <a14:hiddenFill xmlns:a14="http://schemas.microsoft.com/office/drawing/2010/main">
                <a:solidFill>
                  <a:srgbClr val="FFFFFF"/>
                </a:solidFill>
              </a14:hiddenFill>
            </a:ext>
          </a:extLst>
        </p:spPr>
      </p:pic>
      <p:sp>
        <p:nvSpPr>
          <p:cNvPr id="7" name="iṡľïḑè">
            <a:extLst>
              <a:ext uri="{FF2B5EF4-FFF2-40B4-BE49-F238E27FC236}">
                <a16:creationId xmlns:a16="http://schemas.microsoft.com/office/drawing/2014/main" id="{CF681CA2-35D0-B94D-B443-D8664CD9485C}"/>
              </a:ext>
            </a:extLst>
          </p:cNvPr>
          <p:cNvSpPr txBox="1"/>
          <p:nvPr/>
        </p:nvSpPr>
        <p:spPr bwMode="auto">
          <a:xfrm>
            <a:off x="669925" y="1420495"/>
            <a:ext cx="4913630"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相比消息队列方案，无业务侵入性</a:t>
            </a: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endParaRPr lang="zh-CN" altLang="en-US" sz="14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需要额外中间件支持，例如</a:t>
            </a:r>
            <a:r>
              <a:rPr lang="en-US" altLang="zh-CN" sz="2000" b="0" dirty="0">
                <a:solidFill>
                  <a:schemeClr val="bg1">
                    <a:lumMod val="50000"/>
                  </a:schemeClr>
                </a:solidFill>
                <a:latin typeface="+mn-lt"/>
                <a:ea typeface="+mn-ea"/>
                <a:sym typeface="+mn-lt"/>
              </a:rPr>
              <a:t>Canal</a:t>
            </a:r>
          </a:p>
          <a:p>
            <a:pPr marL="285750" indent="-285750">
              <a:lnSpc>
                <a:spcPct val="150000"/>
              </a:lnSpc>
              <a:buFont typeface="Wingdings" panose="05000000000000000000" charset="0"/>
              <a:buChar char=""/>
            </a:pPr>
            <a:endParaRPr lang="en-US" altLang="zh-CN" sz="2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方案相对略复杂</a:t>
            </a:r>
            <a:endParaRPr lang="zh-CN" altLang="en-US" sz="3600" b="0" dirty="0">
              <a:solidFill>
                <a:schemeClr val="bg1">
                  <a:lumMod val="50000"/>
                </a:schemeClr>
              </a:solidFill>
              <a:latin typeface="+mn-lt"/>
              <a:ea typeface="+mn-ea"/>
              <a:sym typeface="+mn-lt"/>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a16="http://schemas.microsoft.com/office/drawing/2014/main" id="{B614D7E0-D15B-B54A-AB17-2322252FAD50}"/>
              </a:ext>
            </a:extLst>
          </p:cNvPr>
          <p:cNvSpPr/>
          <p:nvPr/>
        </p:nvSpPr>
        <p:spPr>
          <a:xfrm>
            <a:off x="5777948" y="2610678"/>
            <a:ext cx="6003235" cy="2845877"/>
          </a:xfrm>
          <a:prstGeom prst="rect">
            <a:avLst/>
          </a:prstGeom>
          <a:ln>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zh-CN" altLang="en-US"/>
          </a:p>
        </p:txBody>
      </p:sp>
      <p:sp>
        <p:nvSpPr>
          <p:cNvPr id="8" name="标题 1"/>
          <p:cNvSpPr>
            <a:spLocks noGrp="1"/>
          </p:cNvSpPr>
          <p:nvPr>
            <p:ph type="title"/>
          </p:nvPr>
        </p:nvSpPr>
        <p:spPr/>
        <p:txBody>
          <a:bodyPr/>
          <a:lstStyle/>
          <a:p>
            <a:r>
              <a:rPr lang="zh-CN" altLang="en-US" dirty="0">
                <a:sym typeface="+mn-ea"/>
              </a:rPr>
              <a:t>串行化</a:t>
            </a:r>
            <a:r>
              <a:rPr lang="en-US" altLang="zh-CN" dirty="0">
                <a:sym typeface="+mn-ea"/>
              </a:rPr>
              <a:t>——</a:t>
            </a:r>
            <a:r>
              <a:rPr lang="en-US" altLang="zh-CN" dirty="0"/>
              <a:t>DB</a:t>
            </a:r>
            <a:r>
              <a:rPr lang="zh-CN" altLang="en-US" dirty="0"/>
              <a:t>访问串行化</a:t>
            </a:r>
          </a:p>
        </p:txBody>
      </p:sp>
      <p:sp>
        <p:nvSpPr>
          <p:cNvPr id="18" name="iṡľïḑè"/>
          <p:cNvSpPr txBox="1"/>
          <p:nvPr/>
        </p:nvSpPr>
        <p:spPr bwMode="auto">
          <a:xfrm>
            <a:off x="669925" y="1420495"/>
            <a:ext cx="4913630"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避免读请求长时间阻塞</a:t>
            </a: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多个队列分散压力</a:t>
            </a: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实现复杂，需考虑全面</a:t>
            </a:r>
            <a:endParaRPr lang="en-US" altLang="zh-CN" sz="2000" b="0" dirty="0">
              <a:solidFill>
                <a:schemeClr val="bg1">
                  <a:lumMod val="50000"/>
                </a:schemeClr>
              </a:solidFill>
              <a:sym typeface="+mn-lt"/>
            </a:endParaRPr>
          </a:p>
          <a:p>
            <a:pPr marL="1314450" lvl="1" indent="-571500">
              <a:lnSpc>
                <a:spcPct val="150000"/>
              </a:lnSpc>
              <a:buFont typeface="Wingdings" pitchFamily="2" charset="2"/>
              <a:buChar char="ü"/>
            </a:pPr>
            <a:r>
              <a:rPr lang="zh-CN" altLang="en-US" sz="2000" b="0" dirty="0">
                <a:solidFill>
                  <a:schemeClr val="bg1">
                    <a:lumMod val="50000"/>
                  </a:schemeClr>
                </a:solidFill>
                <a:sym typeface="+mn-lt"/>
              </a:rPr>
              <a:t>队列本身可用性</a:t>
            </a:r>
            <a:endParaRPr lang="en-US" altLang="zh-CN" sz="2000" b="0" dirty="0">
              <a:solidFill>
                <a:schemeClr val="bg1">
                  <a:lumMod val="50000"/>
                </a:schemeClr>
              </a:solidFill>
              <a:sym typeface="+mn-lt"/>
            </a:endParaRPr>
          </a:p>
          <a:p>
            <a:pPr marL="1314450" lvl="1" indent="-571500">
              <a:lnSpc>
                <a:spcPct val="150000"/>
              </a:lnSpc>
              <a:buFont typeface="Wingdings" pitchFamily="2" charset="2"/>
              <a:buChar char="ü"/>
            </a:pPr>
            <a:r>
              <a:rPr lang="zh-CN" altLang="en-US" sz="2000" b="0" dirty="0">
                <a:solidFill>
                  <a:schemeClr val="bg1">
                    <a:lumMod val="50000"/>
                  </a:schemeClr>
                </a:solidFill>
                <a:sym typeface="+mn-lt"/>
              </a:rPr>
              <a:t>队列的容灾</a:t>
            </a:r>
            <a:endParaRPr lang="en-US" altLang="zh-CN" sz="2000" b="0" dirty="0">
              <a:solidFill>
                <a:schemeClr val="bg1">
                  <a:lumMod val="50000"/>
                </a:schemeClr>
              </a:solidFill>
              <a:sym typeface="+mn-lt"/>
            </a:endParaRPr>
          </a:p>
          <a:p>
            <a:pPr marL="1314450" lvl="1" indent="-571500">
              <a:lnSpc>
                <a:spcPct val="150000"/>
              </a:lnSpc>
              <a:buFont typeface="Wingdings" pitchFamily="2" charset="2"/>
              <a:buChar char="ü"/>
            </a:pP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系统整体吞吐量下降</a:t>
            </a:r>
            <a:endParaRPr lang="zh-CN" altLang="en-US" sz="400" b="0" dirty="0">
              <a:solidFill>
                <a:schemeClr val="bg1">
                  <a:lumMod val="50000"/>
                </a:schemeClr>
              </a:solidFill>
              <a:sym typeface="+mn-lt"/>
            </a:endParaRPr>
          </a:p>
          <a:p>
            <a:pPr marL="285750" indent="-285750">
              <a:lnSpc>
                <a:spcPct val="150000"/>
              </a:lnSpc>
              <a:buFont typeface="Wingdings" panose="05000000000000000000" charset="0"/>
              <a:buChar char=""/>
            </a:pPr>
            <a:endParaRPr lang="zh-CN" altLang="en-US" sz="2000" b="0" dirty="0">
              <a:solidFill>
                <a:schemeClr val="bg1">
                  <a:lumMod val="50000"/>
                </a:schemeClr>
              </a:solidFill>
              <a:sym typeface="+mn-lt"/>
            </a:endParaRPr>
          </a:p>
        </p:txBody>
      </p:sp>
      <p:sp>
        <p:nvSpPr>
          <p:cNvPr id="6" name="矩形 5">
            <a:extLst>
              <a:ext uri="{FF2B5EF4-FFF2-40B4-BE49-F238E27FC236}">
                <a16:creationId xmlns:a16="http://schemas.microsoft.com/office/drawing/2014/main" id="{80CAA4A2-A301-7C45-8AF8-318C247D6229}"/>
              </a:ext>
            </a:extLst>
          </p:cNvPr>
          <p:cNvSpPr/>
          <p:nvPr/>
        </p:nvSpPr>
        <p:spPr>
          <a:xfrm>
            <a:off x="5731565" y="1351469"/>
            <a:ext cx="6096000" cy="5890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client</a:t>
            </a:r>
          </a:p>
        </p:txBody>
      </p:sp>
      <p:sp>
        <p:nvSpPr>
          <p:cNvPr id="7" name="流程图: 终止 4">
            <a:extLst>
              <a:ext uri="{FF2B5EF4-FFF2-40B4-BE49-F238E27FC236}">
                <a16:creationId xmlns:a16="http://schemas.microsoft.com/office/drawing/2014/main" id="{1B2F3126-8393-C64A-9FE7-25814477A4AE}"/>
              </a:ext>
            </a:extLst>
          </p:cNvPr>
          <p:cNvSpPr/>
          <p:nvPr/>
        </p:nvSpPr>
        <p:spPr>
          <a:xfrm>
            <a:off x="6281426" y="2828951"/>
            <a:ext cx="2060575" cy="4744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Write</a:t>
            </a:r>
          </a:p>
        </p:txBody>
      </p:sp>
      <p:sp>
        <p:nvSpPr>
          <p:cNvPr id="20" name="流程图: 终止 4">
            <a:extLst>
              <a:ext uri="{FF2B5EF4-FFF2-40B4-BE49-F238E27FC236}">
                <a16:creationId xmlns:a16="http://schemas.microsoft.com/office/drawing/2014/main" id="{253002CA-78ED-4948-A2B6-56D9F8000303}"/>
              </a:ext>
            </a:extLst>
          </p:cNvPr>
          <p:cNvSpPr/>
          <p:nvPr/>
        </p:nvSpPr>
        <p:spPr>
          <a:xfrm>
            <a:off x="9197563" y="2828951"/>
            <a:ext cx="2060575" cy="474432"/>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read</a:t>
            </a:r>
          </a:p>
        </p:txBody>
      </p:sp>
      <p:sp>
        <p:nvSpPr>
          <p:cNvPr id="2" name="圆柱体 1">
            <a:extLst>
              <a:ext uri="{FF2B5EF4-FFF2-40B4-BE49-F238E27FC236}">
                <a16:creationId xmlns:a16="http://schemas.microsoft.com/office/drawing/2014/main" id="{0E02E8F4-2635-4042-90C0-D4B7EB6FFE8E}"/>
              </a:ext>
            </a:extLst>
          </p:cNvPr>
          <p:cNvSpPr/>
          <p:nvPr/>
        </p:nvSpPr>
        <p:spPr>
          <a:xfrm>
            <a:off x="8421351" y="4029049"/>
            <a:ext cx="659909" cy="1081404"/>
          </a:xfrm>
          <a:prstGeom prst="ca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kumimoji="1" lang="en-US" altLang="zh-CN" dirty="0"/>
              <a:t>DB</a:t>
            </a:r>
            <a:r>
              <a:rPr kumimoji="1" lang="zh-CN" altLang="en-US" dirty="0"/>
              <a:t>访问队列</a:t>
            </a:r>
          </a:p>
        </p:txBody>
      </p:sp>
      <p:cxnSp>
        <p:nvCxnSpPr>
          <p:cNvPr id="4" name="直线箭头连接符 3">
            <a:extLst>
              <a:ext uri="{FF2B5EF4-FFF2-40B4-BE49-F238E27FC236}">
                <a16:creationId xmlns:a16="http://schemas.microsoft.com/office/drawing/2014/main" id="{B486D184-F5FB-EF48-A454-BD0D84C6D1B3}"/>
              </a:ext>
            </a:extLst>
          </p:cNvPr>
          <p:cNvCxnSpPr>
            <a:stCxn id="7" idx="2"/>
            <a:endCxn id="2" idx="1"/>
          </p:cNvCxnSpPr>
          <p:nvPr/>
        </p:nvCxnSpPr>
        <p:spPr>
          <a:xfrm>
            <a:off x="7311714" y="3303383"/>
            <a:ext cx="1439592" cy="725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直线箭头连接符 25">
            <a:extLst>
              <a:ext uri="{FF2B5EF4-FFF2-40B4-BE49-F238E27FC236}">
                <a16:creationId xmlns:a16="http://schemas.microsoft.com/office/drawing/2014/main" id="{857FAE01-1178-3844-8677-9ADDCF5FAAC3}"/>
              </a:ext>
            </a:extLst>
          </p:cNvPr>
          <p:cNvCxnSpPr>
            <a:cxnSpLocks/>
            <a:stCxn id="20" idx="2"/>
            <a:endCxn id="2" idx="1"/>
          </p:cNvCxnSpPr>
          <p:nvPr/>
        </p:nvCxnSpPr>
        <p:spPr>
          <a:xfrm flipH="1">
            <a:off x="8751306" y="3303383"/>
            <a:ext cx="1476545" cy="725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圆柱体 35">
            <a:extLst>
              <a:ext uri="{FF2B5EF4-FFF2-40B4-BE49-F238E27FC236}">
                <a16:creationId xmlns:a16="http://schemas.microsoft.com/office/drawing/2014/main" id="{E9B17F86-BF88-CD48-9C1B-EF286F834984}"/>
              </a:ext>
            </a:extLst>
          </p:cNvPr>
          <p:cNvSpPr/>
          <p:nvPr/>
        </p:nvSpPr>
        <p:spPr>
          <a:xfrm>
            <a:off x="7060604" y="4038878"/>
            <a:ext cx="659909" cy="1081404"/>
          </a:xfrm>
          <a:prstGeom prst="ca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kumimoji="1" lang="en-US" altLang="zh-CN" dirty="0"/>
              <a:t>DB</a:t>
            </a:r>
            <a:r>
              <a:rPr kumimoji="1" lang="zh-CN" altLang="en-US" dirty="0"/>
              <a:t>访问队列</a:t>
            </a:r>
          </a:p>
        </p:txBody>
      </p:sp>
      <p:sp>
        <p:nvSpPr>
          <p:cNvPr id="37" name="圆柱体 36">
            <a:extLst>
              <a:ext uri="{FF2B5EF4-FFF2-40B4-BE49-F238E27FC236}">
                <a16:creationId xmlns:a16="http://schemas.microsoft.com/office/drawing/2014/main" id="{11614D30-DFBB-D84D-9942-E04C7394274F}"/>
              </a:ext>
            </a:extLst>
          </p:cNvPr>
          <p:cNvSpPr/>
          <p:nvPr/>
        </p:nvSpPr>
        <p:spPr>
          <a:xfrm>
            <a:off x="9782098" y="4061959"/>
            <a:ext cx="659909" cy="1081404"/>
          </a:xfrm>
          <a:prstGeom prst="ca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kumimoji="1" lang="en-US" altLang="zh-CN" dirty="0"/>
              <a:t>DB</a:t>
            </a:r>
            <a:r>
              <a:rPr kumimoji="1" lang="zh-CN" altLang="en-US" dirty="0"/>
              <a:t>访问队列</a:t>
            </a:r>
          </a:p>
        </p:txBody>
      </p:sp>
      <p:sp>
        <p:nvSpPr>
          <p:cNvPr id="38" name="圆柱体 37">
            <a:extLst>
              <a:ext uri="{FF2B5EF4-FFF2-40B4-BE49-F238E27FC236}">
                <a16:creationId xmlns:a16="http://schemas.microsoft.com/office/drawing/2014/main" id="{A1896C44-11D3-A84E-BEFE-2D9FC70C7628}"/>
              </a:ext>
            </a:extLst>
          </p:cNvPr>
          <p:cNvSpPr/>
          <p:nvPr/>
        </p:nvSpPr>
        <p:spPr>
          <a:xfrm>
            <a:off x="8013033" y="5842648"/>
            <a:ext cx="1476544" cy="698417"/>
          </a:xfrm>
          <a:prstGeom prst="can">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kumimoji="1" lang="en-US" altLang="zh-CN" dirty="0"/>
              <a:t>DB</a:t>
            </a:r>
            <a:endParaRPr kumimoji="1" lang="zh-CN" altLang="en-US" dirty="0"/>
          </a:p>
        </p:txBody>
      </p:sp>
      <p:cxnSp>
        <p:nvCxnSpPr>
          <p:cNvPr id="39" name="直线箭头连接符 38">
            <a:extLst>
              <a:ext uri="{FF2B5EF4-FFF2-40B4-BE49-F238E27FC236}">
                <a16:creationId xmlns:a16="http://schemas.microsoft.com/office/drawing/2014/main" id="{487947CB-6BC8-5D49-B59E-7F44B0B82C8B}"/>
              </a:ext>
            </a:extLst>
          </p:cNvPr>
          <p:cNvCxnSpPr>
            <a:cxnSpLocks/>
            <a:stCxn id="2" idx="3"/>
            <a:endCxn id="38" idx="1"/>
          </p:cNvCxnSpPr>
          <p:nvPr/>
        </p:nvCxnSpPr>
        <p:spPr>
          <a:xfrm flipH="1">
            <a:off x="8751305" y="5110453"/>
            <a:ext cx="1" cy="7321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id="{BE3A74F0-9E8F-5C47-B415-46424B727C47}"/>
              </a:ext>
            </a:extLst>
          </p:cNvPr>
          <p:cNvSpPr txBox="1"/>
          <p:nvPr/>
        </p:nvSpPr>
        <p:spPr>
          <a:xfrm>
            <a:off x="8116888" y="3518343"/>
            <a:ext cx="859531" cy="276999"/>
          </a:xfrm>
          <a:prstGeom prst="rect">
            <a:avLst/>
          </a:prstGeom>
          <a:noFill/>
        </p:spPr>
        <p:txBody>
          <a:bodyPr wrap="none" rtlCol="0">
            <a:spAutoFit/>
          </a:bodyPr>
          <a:lstStyle/>
          <a:p>
            <a:r>
              <a:rPr kumimoji="1" lang="zh-CN" altLang="en-US" sz="1200" dirty="0"/>
              <a:t>写</a:t>
            </a:r>
            <a:r>
              <a:rPr kumimoji="1" lang="en-US" altLang="zh-CN" sz="1200" dirty="0"/>
              <a:t>DB</a:t>
            </a:r>
            <a:r>
              <a:rPr kumimoji="1" lang="zh-CN" altLang="en-US" sz="1200" dirty="0"/>
              <a:t>请求</a:t>
            </a:r>
          </a:p>
        </p:txBody>
      </p:sp>
      <p:sp>
        <p:nvSpPr>
          <p:cNvPr id="43" name="文本框 42">
            <a:extLst>
              <a:ext uri="{FF2B5EF4-FFF2-40B4-BE49-F238E27FC236}">
                <a16:creationId xmlns:a16="http://schemas.microsoft.com/office/drawing/2014/main" id="{15C56253-F900-2940-B8F7-39E6D7B11287}"/>
              </a:ext>
            </a:extLst>
          </p:cNvPr>
          <p:cNvSpPr txBox="1"/>
          <p:nvPr/>
        </p:nvSpPr>
        <p:spPr>
          <a:xfrm>
            <a:off x="9688937" y="3567085"/>
            <a:ext cx="1544012" cy="276999"/>
          </a:xfrm>
          <a:prstGeom prst="rect">
            <a:avLst/>
          </a:prstGeom>
          <a:noFill/>
        </p:spPr>
        <p:txBody>
          <a:bodyPr wrap="none" rtlCol="0">
            <a:spAutoFit/>
          </a:bodyPr>
          <a:lstStyle/>
          <a:p>
            <a:r>
              <a:rPr kumimoji="1" lang="en-US" altLang="zh-CN" sz="1200" dirty="0"/>
              <a:t>MISS</a:t>
            </a:r>
            <a:r>
              <a:rPr kumimoji="1" lang="zh-CN" altLang="en-US" sz="1200" dirty="0"/>
              <a:t>时，读</a:t>
            </a:r>
            <a:r>
              <a:rPr kumimoji="1" lang="en-US" altLang="zh-CN" sz="1200" dirty="0"/>
              <a:t>DB</a:t>
            </a:r>
            <a:r>
              <a:rPr kumimoji="1" lang="zh-CN" altLang="en-US" sz="1200" dirty="0"/>
              <a:t>请求</a:t>
            </a:r>
          </a:p>
        </p:txBody>
      </p:sp>
      <p:sp>
        <p:nvSpPr>
          <p:cNvPr id="42" name="文本框 41">
            <a:extLst>
              <a:ext uri="{FF2B5EF4-FFF2-40B4-BE49-F238E27FC236}">
                <a16:creationId xmlns:a16="http://schemas.microsoft.com/office/drawing/2014/main" id="{4E482103-2F94-264B-B3B1-ED94EB1B7D02}"/>
              </a:ext>
            </a:extLst>
          </p:cNvPr>
          <p:cNvSpPr txBox="1"/>
          <p:nvPr/>
        </p:nvSpPr>
        <p:spPr>
          <a:xfrm>
            <a:off x="5835169" y="3554618"/>
            <a:ext cx="1758815" cy="261610"/>
          </a:xfrm>
          <a:prstGeom prst="rect">
            <a:avLst/>
          </a:prstGeom>
          <a:noFill/>
        </p:spPr>
        <p:txBody>
          <a:bodyPr wrap="none" rtlCol="0">
            <a:spAutoFit/>
          </a:bodyPr>
          <a:lstStyle/>
          <a:p>
            <a:r>
              <a:rPr kumimoji="1" lang="en-US" altLang="zh-CN" sz="1100" dirty="0"/>
              <a:t>Hash By key,</a:t>
            </a:r>
            <a:r>
              <a:rPr kumimoji="1" lang="zh-CN" altLang="en-US" sz="1100" dirty="0"/>
              <a:t> 定位到队列</a:t>
            </a:r>
          </a:p>
        </p:txBody>
      </p:sp>
      <p:sp>
        <p:nvSpPr>
          <p:cNvPr id="45" name="文本框 44">
            <a:extLst>
              <a:ext uri="{FF2B5EF4-FFF2-40B4-BE49-F238E27FC236}">
                <a16:creationId xmlns:a16="http://schemas.microsoft.com/office/drawing/2014/main" id="{C6144720-EB3B-8145-B064-EECEDCF7B16C}"/>
              </a:ext>
            </a:extLst>
          </p:cNvPr>
          <p:cNvSpPr txBox="1"/>
          <p:nvPr/>
        </p:nvSpPr>
        <p:spPr>
          <a:xfrm>
            <a:off x="8846585" y="2133521"/>
            <a:ext cx="1871025" cy="261610"/>
          </a:xfrm>
          <a:prstGeom prst="rect">
            <a:avLst/>
          </a:prstGeom>
          <a:noFill/>
        </p:spPr>
        <p:txBody>
          <a:bodyPr wrap="none" rtlCol="0">
            <a:spAutoFit/>
          </a:bodyPr>
          <a:lstStyle/>
          <a:p>
            <a:r>
              <a:rPr kumimoji="1" lang="en-US" altLang="zh-CN" sz="1100" dirty="0"/>
              <a:t>Hash by KEY</a:t>
            </a:r>
            <a:r>
              <a:rPr kumimoji="1" lang="zh-CN" altLang="en-US" sz="1100" dirty="0"/>
              <a:t>，定位到服务</a:t>
            </a:r>
          </a:p>
        </p:txBody>
      </p:sp>
      <p:cxnSp>
        <p:nvCxnSpPr>
          <p:cNvPr id="47" name="直线箭头连接符 46">
            <a:extLst>
              <a:ext uri="{FF2B5EF4-FFF2-40B4-BE49-F238E27FC236}">
                <a16:creationId xmlns:a16="http://schemas.microsoft.com/office/drawing/2014/main" id="{D81CE50B-FAA3-B741-ABB1-CC99CF8945FE}"/>
              </a:ext>
            </a:extLst>
          </p:cNvPr>
          <p:cNvCxnSpPr>
            <a:cxnSpLocks/>
            <a:stCxn id="6" idx="2"/>
            <a:endCxn id="44" idx="0"/>
          </p:cNvCxnSpPr>
          <p:nvPr/>
        </p:nvCxnSpPr>
        <p:spPr>
          <a:xfrm>
            <a:off x="8779565" y="1940475"/>
            <a:ext cx="1" cy="6702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5601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sym typeface="+mn-ea"/>
              </a:rPr>
              <a:t>串行化</a:t>
            </a:r>
            <a:r>
              <a:rPr lang="en-US" altLang="zh-CN" dirty="0">
                <a:sym typeface="+mn-ea"/>
              </a:rPr>
              <a:t>——</a:t>
            </a:r>
            <a:r>
              <a:rPr lang="zh-CN" altLang="en-US" dirty="0">
                <a:sym typeface="+mn-ea"/>
              </a:rPr>
              <a:t>加锁</a:t>
            </a:r>
            <a:endParaRPr lang="en-US" altLang="zh-CN" dirty="0">
              <a:sym typeface="+mn-ea"/>
            </a:endParaRPr>
          </a:p>
        </p:txBody>
      </p:sp>
      <p:pic>
        <p:nvPicPr>
          <p:cNvPr id="2" name="图片 1">
            <a:extLst>
              <a:ext uri="{FF2B5EF4-FFF2-40B4-BE49-F238E27FC236}">
                <a16:creationId xmlns:a16="http://schemas.microsoft.com/office/drawing/2014/main" id="{1461E0C6-74B1-EA4B-B8FC-030943B3DBCD}"/>
              </a:ext>
            </a:extLst>
          </p:cNvPr>
          <p:cNvPicPr>
            <a:picLocks noChangeAspect="1"/>
          </p:cNvPicPr>
          <p:nvPr/>
        </p:nvPicPr>
        <p:blipFill>
          <a:blip r:embed="rId3"/>
          <a:stretch>
            <a:fillRect/>
          </a:stretch>
        </p:blipFill>
        <p:spPr>
          <a:xfrm>
            <a:off x="4412975" y="1048579"/>
            <a:ext cx="7383684" cy="2895600"/>
          </a:xfrm>
          <a:prstGeom prst="rect">
            <a:avLst/>
          </a:prstGeom>
        </p:spPr>
      </p:pic>
      <p:pic>
        <p:nvPicPr>
          <p:cNvPr id="3" name="图片 2">
            <a:extLst>
              <a:ext uri="{FF2B5EF4-FFF2-40B4-BE49-F238E27FC236}">
                <a16:creationId xmlns:a16="http://schemas.microsoft.com/office/drawing/2014/main" id="{3DC3C39E-4C84-8747-9D2E-ACBE12576691}"/>
              </a:ext>
            </a:extLst>
          </p:cNvPr>
          <p:cNvPicPr>
            <a:picLocks noChangeAspect="1"/>
          </p:cNvPicPr>
          <p:nvPr/>
        </p:nvPicPr>
        <p:blipFill>
          <a:blip r:embed="rId4"/>
          <a:stretch>
            <a:fillRect/>
          </a:stretch>
        </p:blipFill>
        <p:spPr>
          <a:xfrm>
            <a:off x="4412975" y="3962400"/>
            <a:ext cx="7686260" cy="2895600"/>
          </a:xfrm>
          <a:prstGeom prst="rect">
            <a:avLst/>
          </a:prstGeom>
        </p:spPr>
      </p:pic>
      <p:sp>
        <p:nvSpPr>
          <p:cNvPr id="9" name="iṡľïḑè">
            <a:extLst>
              <a:ext uri="{FF2B5EF4-FFF2-40B4-BE49-F238E27FC236}">
                <a16:creationId xmlns:a16="http://schemas.microsoft.com/office/drawing/2014/main" id="{DC803E70-564B-AA42-AB94-B6C097FD1426}"/>
              </a:ext>
            </a:extLst>
          </p:cNvPr>
          <p:cNvSpPr txBox="1"/>
          <p:nvPr/>
        </p:nvSpPr>
        <p:spPr bwMode="auto">
          <a:xfrm>
            <a:off x="669925" y="1420495"/>
            <a:ext cx="3371988" cy="4145418"/>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缓存支持写锁</a:t>
            </a: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sym typeface="+mn-lt"/>
              </a:rPr>
              <a:t>记住写锁实现</a:t>
            </a:r>
            <a:r>
              <a:rPr lang="en-US" altLang="zh-CN" sz="2000" b="0" dirty="0">
                <a:solidFill>
                  <a:schemeClr val="bg1">
                    <a:lumMod val="50000"/>
                  </a:schemeClr>
                </a:solidFill>
                <a:sym typeface="+mn-lt"/>
              </a:rPr>
              <a:t>CAS</a:t>
            </a:r>
            <a:r>
              <a:rPr lang="zh-CN" altLang="en-US" sz="2000" b="0" dirty="0">
                <a:solidFill>
                  <a:schemeClr val="bg1">
                    <a:lumMod val="50000"/>
                  </a:schemeClr>
                </a:solidFill>
                <a:sym typeface="+mn-lt"/>
              </a:rPr>
              <a:t>操作</a:t>
            </a: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endParaRPr lang="en-US" altLang="zh-CN" sz="2000" b="0" dirty="0">
              <a:solidFill>
                <a:schemeClr val="bg1">
                  <a:lumMod val="50000"/>
                </a:schemeClr>
              </a:solidFill>
              <a:sym typeface="+mn-lt"/>
            </a:endParaRPr>
          </a:p>
          <a:p>
            <a:pPr marL="285750" indent="-285750">
              <a:lnSpc>
                <a:spcPct val="150000"/>
              </a:lnSpc>
              <a:buFont typeface="Wingdings" panose="05000000000000000000" charset="0"/>
              <a:buChar char=""/>
            </a:pPr>
            <a:endParaRPr lang="en-US" altLang="zh-CN" sz="2000" b="0" dirty="0">
              <a:solidFill>
                <a:schemeClr val="bg1">
                  <a:lumMod val="50000"/>
                </a:schemeClr>
              </a:solidFill>
              <a:sym typeface="+mn-lt"/>
            </a:endParaRPr>
          </a:p>
        </p:txBody>
      </p:sp>
    </p:spTree>
    <p:extLst>
      <p:ext uri="{BB962C8B-B14F-4D97-AF65-F5344CB8AC3E}">
        <p14:creationId xmlns:p14="http://schemas.microsoft.com/office/powerpoint/2010/main" val="17394518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标题 1"/>
          <p:cNvSpPr>
            <a:spLocks noGrp="1"/>
          </p:cNvSpPr>
          <p:nvPr>
            <p:ph type="title"/>
          </p:nvPr>
        </p:nvSpPr>
        <p:spPr/>
        <p:txBody>
          <a:bodyPr/>
          <a:lstStyle/>
          <a:p>
            <a:r>
              <a:rPr lang="zh-CN" altLang="en-US" dirty="0">
                <a:sym typeface="+mn-ea"/>
              </a:rPr>
              <a:t>提高一致性</a:t>
            </a:r>
            <a:r>
              <a:rPr lang="en-US" altLang="zh-CN" dirty="0">
                <a:sym typeface="+mn-ea"/>
              </a:rPr>
              <a:t>——</a:t>
            </a:r>
            <a:r>
              <a:rPr lang="zh-CN" altLang="en-US" dirty="0">
                <a:sym typeface="+mn-ea"/>
              </a:rPr>
              <a:t>总结</a:t>
            </a:r>
            <a:endParaRPr lang="zh-CN" altLang="en-US" dirty="0"/>
          </a:p>
        </p:txBody>
      </p:sp>
      <p:grpSp>
        <p:nvGrpSpPr>
          <p:cNvPr id="270" name="#28212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203637" y="1209324"/>
            <a:ext cx="11542125" cy="4843068"/>
            <a:chOff x="-21650" y="1209324"/>
            <a:chExt cx="11542125" cy="4843068"/>
          </a:xfrm>
        </p:grpSpPr>
        <p:sp>
          <p:nvSpPr>
            <p:cNvPr id="271" name="ïSḷîḓé"/>
            <p:cNvSpPr/>
            <p:nvPr/>
          </p:nvSpPr>
          <p:spPr bwMode="auto">
            <a:xfrm flipH="1">
              <a:off x="0" y="1209324"/>
              <a:ext cx="2881571" cy="4007704"/>
            </a:xfrm>
            <a:custGeom>
              <a:avLst/>
              <a:gdLst>
                <a:gd name="connsiteX0" fmla="*/ 2875537 w 2881571"/>
                <a:gd name="connsiteY0" fmla="*/ 0 h 4007704"/>
                <a:gd name="connsiteX1" fmla="*/ 2875537 w 2881571"/>
                <a:gd name="connsiteY1" fmla="*/ 68861 h 4007704"/>
                <a:gd name="connsiteX2" fmla="*/ 815103 w 2881571"/>
                <a:gd name="connsiteY2" fmla="*/ 68861 h 4007704"/>
                <a:gd name="connsiteX3" fmla="*/ 0 w 2881571"/>
                <a:gd name="connsiteY3" fmla="*/ 883964 h 4007704"/>
                <a:gd name="connsiteX4" fmla="*/ 0 w 2881571"/>
                <a:gd name="connsiteY4" fmla="*/ 4007704 h 4007704"/>
                <a:gd name="connsiteX5" fmla="*/ 439899 w 2881571"/>
                <a:gd name="connsiteY5" fmla="*/ 4007704 h 4007704"/>
                <a:gd name="connsiteX6" fmla="*/ 439899 w 2881571"/>
                <a:gd name="connsiteY6" fmla="*/ 883964 h 4007704"/>
                <a:gd name="connsiteX7" fmla="*/ 815103 w 2881571"/>
                <a:gd name="connsiteY7" fmla="*/ 508760 h 4007704"/>
                <a:gd name="connsiteX8" fmla="*/ 2875537 w 2881571"/>
                <a:gd name="connsiteY8" fmla="*/ 508760 h 4007704"/>
                <a:gd name="connsiteX9" fmla="*/ 2875537 w 2881571"/>
                <a:gd name="connsiteY9" fmla="*/ 577621 h 4007704"/>
                <a:gd name="connsiteX10" fmla="*/ 2881571 w 2881571"/>
                <a:gd name="connsiteY10" fmla="*/ 575288 h 4007704"/>
                <a:gd name="connsiteX11" fmla="*/ 2881571 w 2881571"/>
                <a:gd name="connsiteY11" fmla="*/ 2334 h 400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1571" h="4007704">
                  <a:moveTo>
                    <a:pt x="2875537" y="0"/>
                  </a:moveTo>
                  <a:lnTo>
                    <a:pt x="2875537" y="68861"/>
                  </a:lnTo>
                  <a:lnTo>
                    <a:pt x="815103" y="68861"/>
                  </a:lnTo>
                  <a:cubicBezTo>
                    <a:pt x="364934" y="68861"/>
                    <a:pt x="0" y="433795"/>
                    <a:pt x="0" y="883964"/>
                  </a:cubicBezTo>
                  <a:lnTo>
                    <a:pt x="0" y="4007704"/>
                  </a:lnTo>
                  <a:lnTo>
                    <a:pt x="439899" y="4007704"/>
                  </a:lnTo>
                  <a:lnTo>
                    <a:pt x="439899" y="883964"/>
                  </a:lnTo>
                  <a:cubicBezTo>
                    <a:pt x="439899" y="676745"/>
                    <a:pt x="607884" y="508760"/>
                    <a:pt x="815103" y="508760"/>
                  </a:cubicBezTo>
                  <a:lnTo>
                    <a:pt x="2875537" y="508760"/>
                  </a:lnTo>
                  <a:lnTo>
                    <a:pt x="2875537" y="577621"/>
                  </a:lnTo>
                  <a:lnTo>
                    <a:pt x="2881571" y="575288"/>
                  </a:lnTo>
                  <a:lnTo>
                    <a:pt x="2881571" y="2334"/>
                  </a:lnTo>
                  <a:close/>
                </a:path>
              </a:pathLst>
            </a:custGeom>
            <a:solidFill>
              <a:schemeClr val="bg1">
                <a:lumMod val="85000"/>
              </a:schemeClr>
            </a:solidFill>
            <a:ln>
              <a:noFill/>
            </a:ln>
            <a:effectLst/>
          </p:spPr>
          <p:txBody>
            <a:bodyPr wrap="square" anchor="ctr">
              <a:noAutofit/>
            </a:bodyPr>
            <a:lstStyle/>
            <a:p>
              <a:pPr algn="ctr"/>
              <a:endParaRPr/>
            </a:p>
          </p:txBody>
        </p:sp>
        <p:sp>
          <p:nvSpPr>
            <p:cNvPr id="272" name="íśḻïďé"/>
            <p:cNvSpPr/>
            <p:nvPr/>
          </p:nvSpPr>
          <p:spPr bwMode="auto">
            <a:xfrm flipH="1" flipV="1">
              <a:off x="0" y="2044688"/>
              <a:ext cx="2881571" cy="4007704"/>
            </a:xfrm>
            <a:custGeom>
              <a:avLst/>
              <a:gdLst>
                <a:gd name="connsiteX0" fmla="*/ 439899 w 2881571"/>
                <a:gd name="connsiteY0" fmla="*/ 4007704 h 4007704"/>
                <a:gd name="connsiteX1" fmla="*/ 0 w 2881571"/>
                <a:gd name="connsiteY1" fmla="*/ 4007704 h 4007704"/>
                <a:gd name="connsiteX2" fmla="*/ 0 w 2881571"/>
                <a:gd name="connsiteY2" fmla="*/ 883964 h 4007704"/>
                <a:gd name="connsiteX3" fmla="*/ 815103 w 2881571"/>
                <a:gd name="connsiteY3" fmla="*/ 68861 h 4007704"/>
                <a:gd name="connsiteX4" fmla="*/ 2875537 w 2881571"/>
                <a:gd name="connsiteY4" fmla="*/ 68861 h 4007704"/>
                <a:gd name="connsiteX5" fmla="*/ 2875537 w 2881571"/>
                <a:gd name="connsiteY5" fmla="*/ 0 h 4007704"/>
                <a:gd name="connsiteX6" fmla="*/ 2881571 w 2881571"/>
                <a:gd name="connsiteY6" fmla="*/ 2334 h 4007704"/>
                <a:gd name="connsiteX7" fmla="*/ 2881571 w 2881571"/>
                <a:gd name="connsiteY7" fmla="*/ 575288 h 4007704"/>
                <a:gd name="connsiteX8" fmla="*/ 2875537 w 2881571"/>
                <a:gd name="connsiteY8" fmla="*/ 577621 h 4007704"/>
                <a:gd name="connsiteX9" fmla="*/ 2875537 w 2881571"/>
                <a:gd name="connsiteY9" fmla="*/ 508760 h 4007704"/>
                <a:gd name="connsiteX10" fmla="*/ 815103 w 2881571"/>
                <a:gd name="connsiteY10" fmla="*/ 508760 h 4007704"/>
                <a:gd name="connsiteX11" fmla="*/ 439899 w 2881571"/>
                <a:gd name="connsiteY11" fmla="*/ 883964 h 400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1571" h="4007704">
                  <a:moveTo>
                    <a:pt x="439899" y="4007704"/>
                  </a:moveTo>
                  <a:lnTo>
                    <a:pt x="0" y="4007704"/>
                  </a:lnTo>
                  <a:lnTo>
                    <a:pt x="0" y="883964"/>
                  </a:lnTo>
                  <a:cubicBezTo>
                    <a:pt x="0" y="433795"/>
                    <a:pt x="364934" y="68861"/>
                    <a:pt x="815103" y="68861"/>
                  </a:cubicBezTo>
                  <a:lnTo>
                    <a:pt x="2875537" y="68861"/>
                  </a:lnTo>
                  <a:lnTo>
                    <a:pt x="2875537" y="0"/>
                  </a:lnTo>
                  <a:lnTo>
                    <a:pt x="2881571" y="2334"/>
                  </a:lnTo>
                  <a:lnTo>
                    <a:pt x="2881571" y="575288"/>
                  </a:lnTo>
                  <a:lnTo>
                    <a:pt x="2875537" y="577621"/>
                  </a:lnTo>
                  <a:lnTo>
                    <a:pt x="2875537" y="508760"/>
                  </a:lnTo>
                  <a:lnTo>
                    <a:pt x="815103" y="508760"/>
                  </a:lnTo>
                  <a:cubicBezTo>
                    <a:pt x="607884" y="508760"/>
                    <a:pt x="439899" y="676745"/>
                    <a:pt x="439899" y="883964"/>
                  </a:cubicBezTo>
                  <a:close/>
                </a:path>
              </a:pathLst>
            </a:custGeom>
            <a:solidFill>
              <a:schemeClr val="bg1">
                <a:lumMod val="85000"/>
              </a:schemeClr>
            </a:solidFill>
            <a:ln>
              <a:noFill/>
            </a:ln>
            <a:effectLst/>
          </p:spPr>
          <p:txBody>
            <a:bodyPr wrap="square" anchor="ctr">
              <a:noAutofit/>
            </a:bodyPr>
            <a:lstStyle/>
            <a:p>
              <a:pPr algn="ctr"/>
              <a:endParaRPr/>
            </a:p>
          </p:txBody>
        </p:sp>
        <p:sp>
          <p:nvSpPr>
            <p:cNvPr id="273" name="ïṧlîḍe"/>
            <p:cNvSpPr/>
            <p:nvPr/>
          </p:nvSpPr>
          <p:spPr>
            <a:xfrm rot="5400000" flipH="1">
              <a:off x="2145129" y="1509728"/>
              <a:ext cx="520928" cy="480096"/>
            </a:xfrm>
            <a:custGeom>
              <a:avLst/>
              <a:gdLst>
                <a:gd name="connsiteX0" fmla="*/ 1214556 w 2429112"/>
                <a:gd name="connsiteY0" fmla="*/ 0 h 1200150"/>
                <a:gd name="connsiteX1" fmla="*/ 2423604 w 2429112"/>
                <a:gd name="connsiteY1" fmla="*/ 1091063 h 1200150"/>
                <a:gd name="connsiteX2" fmla="*/ 2429112 w 2429112"/>
                <a:gd name="connsiteY2" fmla="*/ 1200150 h 1200150"/>
                <a:gd name="connsiteX3" fmla="*/ 0 w 2429112"/>
                <a:gd name="connsiteY3" fmla="*/ 1200150 h 1200150"/>
                <a:gd name="connsiteX4" fmla="*/ 5509 w 2429112"/>
                <a:gd name="connsiteY4" fmla="*/ 1091063 h 1200150"/>
                <a:gd name="connsiteX5" fmla="*/ 1214556 w 2429112"/>
                <a:gd name="connsiteY5" fmla="*/ 0 h 1200150"/>
                <a:gd name="connsiteX0-1" fmla="*/ 1214556 w 2429112"/>
                <a:gd name="connsiteY0-2" fmla="*/ 0 h 1420283"/>
                <a:gd name="connsiteX1-3" fmla="*/ 2423604 w 2429112"/>
                <a:gd name="connsiteY1-4" fmla="*/ 1091063 h 1420283"/>
                <a:gd name="connsiteX2-5" fmla="*/ 2429112 w 2429112"/>
                <a:gd name="connsiteY2-6" fmla="*/ 1200150 h 1420283"/>
                <a:gd name="connsiteX3-7" fmla="*/ 0 w 2429112"/>
                <a:gd name="connsiteY3-8" fmla="*/ 1200150 h 1420283"/>
                <a:gd name="connsiteX4-9" fmla="*/ 5509 w 2429112"/>
                <a:gd name="connsiteY4-10" fmla="*/ 1091063 h 1420283"/>
                <a:gd name="connsiteX5-11" fmla="*/ 1214556 w 2429112"/>
                <a:gd name="connsiteY5-12" fmla="*/ 0 h 1420283"/>
                <a:gd name="connsiteX0-13" fmla="*/ 0 w 2429112"/>
                <a:gd name="connsiteY0-14" fmla="*/ 1200150 h 1450099"/>
                <a:gd name="connsiteX1-15" fmla="*/ 5509 w 2429112"/>
                <a:gd name="connsiteY1-16" fmla="*/ 1091063 h 1450099"/>
                <a:gd name="connsiteX2-17" fmla="*/ 1214556 w 2429112"/>
                <a:gd name="connsiteY2-18" fmla="*/ 0 h 1450099"/>
                <a:gd name="connsiteX3-19" fmla="*/ 2423604 w 2429112"/>
                <a:gd name="connsiteY3-20" fmla="*/ 1091063 h 1450099"/>
                <a:gd name="connsiteX4-21" fmla="*/ 2429112 w 2429112"/>
                <a:gd name="connsiteY4-22" fmla="*/ 1200150 h 1450099"/>
                <a:gd name="connsiteX5-23" fmla="*/ 91440 w 2429112"/>
                <a:gd name="connsiteY5-24" fmla="*/ 1291590 h 1450099"/>
                <a:gd name="connsiteX0-25" fmla="*/ 0 w 2429112"/>
                <a:gd name="connsiteY0-26" fmla="*/ 1200150 h 1450099"/>
                <a:gd name="connsiteX1-27" fmla="*/ 5509 w 2429112"/>
                <a:gd name="connsiteY1-28" fmla="*/ 1091063 h 1450099"/>
                <a:gd name="connsiteX2-29" fmla="*/ 1214556 w 2429112"/>
                <a:gd name="connsiteY2-30" fmla="*/ 0 h 1450099"/>
                <a:gd name="connsiteX3-31" fmla="*/ 2423604 w 2429112"/>
                <a:gd name="connsiteY3-32" fmla="*/ 1091063 h 1450099"/>
                <a:gd name="connsiteX4-33" fmla="*/ 2429112 w 2429112"/>
                <a:gd name="connsiteY4-34" fmla="*/ 1200150 h 1450099"/>
                <a:gd name="connsiteX5-35" fmla="*/ 43815 w 2429112"/>
                <a:gd name="connsiteY5-36" fmla="*/ 1291590 h 1450099"/>
                <a:gd name="connsiteX0-37" fmla="*/ 0 w 2429112"/>
                <a:gd name="connsiteY0-38" fmla="*/ 1200150 h 1450099"/>
                <a:gd name="connsiteX1-39" fmla="*/ 5509 w 2429112"/>
                <a:gd name="connsiteY1-40" fmla="*/ 1091063 h 1450099"/>
                <a:gd name="connsiteX2-41" fmla="*/ 1214556 w 2429112"/>
                <a:gd name="connsiteY2-42" fmla="*/ 0 h 1450099"/>
                <a:gd name="connsiteX3-43" fmla="*/ 2423604 w 2429112"/>
                <a:gd name="connsiteY3-44" fmla="*/ 1091063 h 1450099"/>
                <a:gd name="connsiteX4-45" fmla="*/ 2429112 w 2429112"/>
                <a:gd name="connsiteY4-46" fmla="*/ 1200150 h 1450099"/>
                <a:gd name="connsiteX5-47" fmla="*/ 34290 w 2429112"/>
                <a:gd name="connsiteY5-48" fmla="*/ 1291590 h 1450099"/>
                <a:gd name="connsiteX0-49" fmla="*/ 0 w 2429112"/>
                <a:gd name="connsiteY0-50" fmla="*/ 1200150 h 1442532"/>
                <a:gd name="connsiteX1-51" fmla="*/ 5509 w 2429112"/>
                <a:gd name="connsiteY1-52" fmla="*/ 1091063 h 1442532"/>
                <a:gd name="connsiteX2-53" fmla="*/ 1214556 w 2429112"/>
                <a:gd name="connsiteY2-54" fmla="*/ 0 h 1442532"/>
                <a:gd name="connsiteX3-55" fmla="*/ 2423604 w 2429112"/>
                <a:gd name="connsiteY3-56" fmla="*/ 1091063 h 1442532"/>
                <a:gd name="connsiteX4-57" fmla="*/ 2429112 w 2429112"/>
                <a:gd name="connsiteY4-58" fmla="*/ 1200150 h 1442532"/>
                <a:gd name="connsiteX5-59" fmla="*/ 34290 w 2429112"/>
                <a:gd name="connsiteY5-60" fmla="*/ 1282065 h 1442532"/>
                <a:gd name="connsiteX0-61" fmla="*/ 0 w 2429112"/>
                <a:gd name="connsiteY0-62" fmla="*/ 1200150 h 1442532"/>
                <a:gd name="connsiteX1-63" fmla="*/ 5509 w 2429112"/>
                <a:gd name="connsiteY1-64" fmla="*/ 1091063 h 1442532"/>
                <a:gd name="connsiteX2-65" fmla="*/ 1214556 w 2429112"/>
                <a:gd name="connsiteY2-66" fmla="*/ 0 h 1442532"/>
                <a:gd name="connsiteX3-67" fmla="*/ 2423604 w 2429112"/>
                <a:gd name="connsiteY3-68" fmla="*/ 1091063 h 1442532"/>
                <a:gd name="connsiteX4-69" fmla="*/ 2429112 w 2429112"/>
                <a:gd name="connsiteY4-70" fmla="*/ 1200150 h 1442532"/>
                <a:gd name="connsiteX5-71" fmla="*/ 53340 w 2429112"/>
                <a:gd name="connsiteY5-72" fmla="*/ 1282065 h 1442532"/>
                <a:gd name="connsiteX0-73" fmla="*/ 0 w 2429112"/>
                <a:gd name="connsiteY0-74" fmla="*/ 1200150 h 1617722"/>
                <a:gd name="connsiteX1-75" fmla="*/ 5509 w 2429112"/>
                <a:gd name="connsiteY1-76" fmla="*/ 1091063 h 1617722"/>
                <a:gd name="connsiteX2-77" fmla="*/ 1214556 w 2429112"/>
                <a:gd name="connsiteY2-78" fmla="*/ 0 h 1617722"/>
                <a:gd name="connsiteX3-79" fmla="*/ 2423604 w 2429112"/>
                <a:gd name="connsiteY3-80" fmla="*/ 1091063 h 1617722"/>
                <a:gd name="connsiteX4-81" fmla="*/ 2429112 w 2429112"/>
                <a:gd name="connsiteY4-82" fmla="*/ 1200150 h 1617722"/>
                <a:gd name="connsiteX5-83" fmla="*/ 186690 w 2429112"/>
                <a:gd name="connsiteY5-84" fmla="*/ 1491615 h 1617722"/>
                <a:gd name="connsiteX0-85" fmla="*/ 0 w 2429112"/>
                <a:gd name="connsiteY0-86" fmla="*/ 1200150 h 1200150"/>
                <a:gd name="connsiteX1-87" fmla="*/ 5509 w 2429112"/>
                <a:gd name="connsiteY1-88" fmla="*/ 1091063 h 1200150"/>
                <a:gd name="connsiteX2-89" fmla="*/ 1214556 w 2429112"/>
                <a:gd name="connsiteY2-90" fmla="*/ 0 h 1200150"/>
                <a:gd name="connsiteX3-91" fmla="*/ 2423604 w 2429112"/>
                <a:gd name="connsiteY3-92" fmla="*/ 1091063 h 1200150"/>
                <a:gd name="connsiteX4-93" fmla="*/ 2429112 w 2429112"/>
                <a:gd name="connsiteY4-94" fmla="*/ 1200150 h 1200150"/>
                <a:gd name="connsiteX0-95" fmla="*/ 0 w 2429112"/>
                <a:gd name="connsiteY0-96" fmla="*/ 1200150 h 1200150"/>
                <a:gd name="connsiteX1-97" fmla="*/ 1214556 w 2429112"/>
                <a:gd name="connsiteY1-98" fmla="*/ 0 h 1200150"/>
                <a:gd name="connsiteX2-99" fmla="*/ 2423604 w 2429112"/>
                <a:gd name="connsiteY2-100" fmla="*/ 1091063 h 1200150"/>
                <a:gd name="connsiteX3-101" fmla="*/ 2429112 w 2429112"/>
                <a:gd name="connsiteY3-102" fmla="*/ 1200150 h 1200150"/>
                <a:gd name="connsiteX0-103" fmla="*/ -1 w 1214555"/>
                <a:gd name="connsiteY0-104" fmla="*/ 0 h 1200150"/>
                <a:gd name="connsiteX1-105" fmla="*/ 1209047 w 1214555"/>
                <a:gd name="connsiteY1-106" fmla="*/ 1091063 h 1200150"/>
                <a:gd name="connsiteX2-107" fmla="*/ 1214555 w 1214555"/>
                <a:gd name="connsiteY2-108" fmla="*/ 1200150 h 1200150"/>
                <a:gd name="connsiteX0-109" fmla="*/ -1 w 1209047"/>
                <a:gd name="connsiteY0-110" fmla="*/ 0 h 1091063"/>
                <a:gd name="connsiteX1-111" fmla="*/ 1209047 w 1209047"/>
                <a:gd name="connsiteY1-112" fmla="*/ 1091063 h 1091063"/>
              </a:gdLst>
              <a:ahLst/>
              <a:cxnLst>
                <a:cxn ang="0">
                  <a:pos x="connsiteX0-1" y="connsiteY0-2"/>
                </a:cxn>
                <a:cxn ang="0">
                  <a:pos x="connsiteX1-3" y="connsiteY1-4"/>
                </a:cxn>
              </a:cxnLst>
              <a:rect l="l" t="t" r="r" b="b"/>
              <a:pathLst>
                <a:path w="1209047" h="1091063">
                  <a:moveTo>
                    <a:pt x="-1" y="0"/>
                  </a:moveTo>
                  <a:cubicBezTo>
                    <a:pt x="629253" y="0"/>
                    <a:pt x="1146810" y="478229"/>
                    <a:pt x="1209047" y="1091063"/>
                  </a:cubicBezTo>
                </a:path>
              </a:pathLst>
            </a:custGeom>
            <a:noFill/>
            <a:ln w="19050" cap="rnd">
              <a:solidFill>
                <a:schemeClr val="bg1"/>
              </a:solidFill>
              <a:prstDash val="dash"/>
              <a:beve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cxnSp>
          <p:nvCxnSpPr>
            <p:cNvPr id="274" name="直接连接符 273"/>
            <p:cNvCxnSpPr/>
            <p:nvPr/>
          </p:nvCxnSpPr>
          <p:spPr>
            <a:xfrm flipH="1">
              <a:off x="-21650" y="1489311"/>
              <a:ext cx="2187198"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75" name="iŝḻîdê"/>
            <p:cNvSpPr/>
            <p:nvPr/>
          </p:nvSpPr>
          <p:spPr>
            <a:xfrm rot="16200000" flipH="1" flipV="1">
              <a:off x="2163481" y="5256968"/>
              <a:ext cx="520928" cy="480096"/>
            </a:xfrm>
            <a:custGeom>
              <a:avLst/>
              <a:gdLst>
                <a:gd name="connsiteX0" fmla="*/ 1214556 w 2429112"/>
                <a:gd name="connsiteY0" fmla="*/ 0 h 1200150"/>
                <a:gd name="connsiteX1" fmla="*/ 2423604 w 2429112"/>
                <a:gd name="connsiteY1" fmla="*/ 1091063 h 1200150"/>
                <a:gd name="connsiteX2" fmla="*/ 2429112 w 2429112"/>
                <a:gd name="connsiteY2" fmla="*/ 1200150 h 1200150"/>
                <a:gd name="connsiteX3" fmla="*/ 0 w 2429112"/>
                <a:gd name="connsiteY3" fmla="*/ 1200150 h 1200150"/>
                <a:gd name="connsiteX4" fmla="*/ 5509 w 2429112"/>
                <a:gd name="connsiteY4" fmla="*/ 1091063 h 1200150"/>
                <a:gd name="connsiteX5" fmla="*/ 1214556 w 2429112"/>
                <a:gd name="connsiteY5" fmla="*/ 0 h 1200150"/>
                <a:gd name="connsiteX0-1" fmla="*/ 1214556 w 2429112"/>
                <a:gd name="connsiteY0-2" fmla="*/ 0 h 1420283"/>
                <a:gd name="connsiteX1-3" fmla="*/ 2423604 w 2429112"/>
                <a:gd name="connsiteY1-4" fmla="*/ 1091063 h 1420283"/>
                <a:gd name="connsiteX2-5" fmla="*/ 2429112 w 2429112"/>
                <a:gd name="connsiteY2-6" fmla="*/ 1200150 h 1420283"/>
                <a:gd name="connsiteX3-7" fmla="*/ 0 w 2429112"/>
                <a:gd name="connsiteY3-8" fmla="*/ 1200150 h 1420283"/>
                <a:gd name="connsiteX4-9" fmla="*/ 5509 w 2429112"/>
                <a:gd name="connsiteY4-10" fmla="*/ 1091063 h 1420283"/>
                <a:gd name="connsiteX5-11" fmla="*/ 1214556 w 2429112"/>
                <a:gd name="connsiteY5-12" fmla="*/ 0 h 1420283"/>
                <a:gd name="connsiteX0-13" fmla="*/ 0 w 2429112"/>
                <a:gd name="connsiteY0-14" fmla="*/ 1200150 h 1450099"/>
                <a:gd name="connsiteX1-15" fmla="*/ 5509 w 2429112"/>
                <a:gd name="connsiteY1-16" fmla="*/ 1091063 h 1450099"/>
                <a:gd name="connsiteX2-17" fmla="*/ 1214556 w 2429112"/>
                <a:gd name="connsiteY2-18" fmla="*/ 0 h 1450099"/>
                <a:gd name="connsiteX3-19" fmla="*/ 2423604 w 2429112"/>
                <a:gd name="connsiteY3-20" fmla="*/ 1091063 h 1450099"/>
                <a:gd name="connsiteX4-21" fmla="*/ 2429112 w 2429112"/>
                <a:gd name="connsiteY4-22" fmla="*/ 1200150 h 1450099"/>
                <a:gd name="connsiteX5-23" fmla="*/ 91440 w 2429112"/>
                <a:gd name="connsiteY5-24" fmla="*/ 1291590 h 1450099"/>
                <a:gd name="connsiteX0-25" fmla="*/ 0 w 2429112"/>
                <a:gd name="connsiteY0-26" fmla="*/ 1200150 h 1450099"/>
                <a:gd name="connsiteX1-27" fmla="*/ 5509 w 2429112"/>
                <a:gd name="connsiteY1-28" fmla="*/ 1091063 h 1450099"/>
                <a:gd name="connsiteX2-29" fmla="*/ 1214556 w 2429112"/>
                <a:gd name="connsiteY2-30" fmla="*/ 0 h 1450099"/>
                <a:gd name="connsiteX3-31" fmla="*/ 2423604 w 2429112"/>
                <a:gd name="connsiteY3-32" fmla="*/ 1091063 h 1450099"/>
                <a:gd name="connsiteX4-33" fmla="*/ 2429112 w 2429112"/>
                <a:gd name="connsiteY4-34" fmla="*/ 1200150 h 1450099"/>
                <a:gd name="connsiteX5-35" fmla="*/ 43815 w 2429112"/>
                <a:gd name="connsiteY5-36" fmla="*/ 1291590 h 1450099"/>
                <a:gd name="connsiteX0-37" fmla="*/ 0 w 2429112"/>
                <a:gd name="connsiteY0-38" fmla="*/ 1200150 h 1450099"/>
                <a:gd name="connsiteX1-39" fmla="*/ 5509 w 2429112"/>
                <a:gd name="connsiteY1-40" fmla="*/ 1091063 h 1450099"/>
                <a:gd name="connsiteX2-41" fmla="*/ 1214556 w 2429112"/>
                <a:gd name="connsiteY2-42" fmla="*/ 0 h 1450099"/>
                <a:gd name="connsiteX3-43" fmla="*/ 2423604 w 2429112"/>
                <a:gd name="connsiteY3-44" fmla="*/ 1091063 h 1450099"/>
                <a:gd name="connsiteX4-45" fmla="*/ 2429112 w 2429112"/>
                <a:gd name="connsiteY4-46" fmla="*/ 1200150 h 1450099"/>
                <a:gd name="connsiteX5-47" fmla="*/ 34290 w 2429112"/>
                <a:gd name="connsiteY5-48" fmla="*/ 1291590 h 1450099"/>
                <a:gd name="connsiteX0-49" fmla="*/ 0 w 2429112"/>
                <a:gd name="connsiteY0-50" fmla="*/ 1200150 h 1442532"/>
                <a:gd name="connsiteX1-51" fmla="*/ 5509 w 2429112"/>
                <a:gd name="connsiteY1-52" fmla="*/ 1091063 h 1442532"/>
                <a:gd name="connsiteX2-53" fmla="*/ 1214556 w 2429112"/>
                <a:gd name="connsiteY2-54" fmla="*/ 0 h 1442532"/>
                <a:gd name="connsiteX3-55" fmla="*/ 2423604 w 2429112"/>
                <a:gd name="connsiteY3-56" fmla="*/ 1091063 h 1442532"/>
                <a:gd name="connsiteX4-57" fmla="*/ 2429112 w 2429112"/>
                <a:gd name="connsiteY4-58" fmla="*/ 1200150 h 1442532"/>
                <a:gd name="connsiteX5-59" fmla="*/ 34290 w 2429112"/>
                <a:gd name="connsiteY5-60" fmla="*/ 1282065 h 1442532"/>
                <a:gd name="connsiteX0-61" fmla="*/ 0 w 2429112"/>
                <a:gd name="connsiteY0-62" fmla="*/ 1200150 h 1442532"/>
                <a:gd name="connsiteX1-63" fmla="*/ 5509 w 2429112"/>
                <a:gd name="connsiteY1-64" fmla="*/ 1091063 h 1442532"/>
                <a:gd name="connsiteX2-65" fmla="*/ 1214556 w 2429112"/>
                <a:gd name="connsiteY2-66" fmla="*/ 0 h 1442532"/>
                <a:gd name="connsiteX3-67" fmla="*/ 2423604 w 2429112"/>
                <a:gd name="connsiteY3-68" fmla="*/ 1091063 h 1442532"/>
                <a:gd name="connsiteX4-69" fmla="*/ 2429112 w 2429112"/>
                <a:gd name="connsiteY4-70" fmla="*/ 1200150 h 1442532"/>
                <a:gd name="connsiteX5-71" fmla="*/ 53340 w 2429112"/>
                <a:gd name="connsiteY5-72" fmla="*/ 1282065 h 1442532"/>
                <a:gd name="connsiteX0-73" fmla="*/ 0 w 2429112"/>
                <a:gd name="connsiteY0-74" fmla="*/ 1200150 h 1617722"/>
                <a:gd name="connsiteX1-75" fmla="*/ 5509 w 2429112"/>
                <a:gd name="connsiteY1-76" fmla="*/ 1091063 h 1617722"/>
                <a:gd name="connsiteX2-77" fmla="*/ 1214556 w 2429112"/>
                <a:gd name="connsiteY2-78" fmla="*/ 0 h 1617722"/>
                <a:gd name="connsiteX3-79" fmla="*/ 2423604 w 2429112"/>
                <a:gd name="connsiteY3-80" fmla="*/ 1091063 h 1617722"/>
                <a:gd name="connsiteX4-81" fmla="*/ 2429112 w 2429112"/>
                <a:gd name="connsiteY4-82" fmla="*/ 1200150 h 1617722"/>
                <a:gd name="connsiteX5-83" fmla="*/ 186690 w 2429112"/>
                <a:gd name="connsiteY5-84" fmla="*/ 1491615 h 1617722"/>
                <a:gd name="connsiteX0-85" fmla="*/ 0 w 2429112"/>
                <a:gd name="connsiteY0-86" fmla="*/ 1200150 h 1200150"/>
                <a:gd name="connsiteX1-87" fmla="*/ 5509 w 2429112"/>
                <a:gd name="connsiteY1-88" fmla="*/ 1091063 h 1200150"/>
                <a:gd name="connsiteX2-89" fmla="*/ 1214556 w 2429112"/>
                <a:gd name="connsiteY2-90" fmla="*/ 0 h 1200150"/>
                <a:gd name="connsiteX3-91" fmla="*/ 2423604 w 2429112"/>
                <a:gd name="connsiteY3-92" fmla="*/ 1091063 h 1200150"/>
                <a:gd name="connsiteX4-93" fmla="*/ 2429112 w 2429112"/>
                <a:gd name="connsiteY4-94" fmla="*/ 1200150 h 1200150"/>
                <a:gd name="connsiteX0-95" fmla="*/ 0 w 2429112"/>
                <a:gd name="connsiteY0-96" fmla="*/ 1200150 h 1200150"/>
                <a:gd name="connsiteX1-97" fmla="*/ 1214556 w 2429112"/>
                <a:gd name="connsiteY1-98" fmla="*/ 0 h 1200150"/>
                <a:gd name="connsiteX2-99" fmla="*/ 2423604 w 2429112"/>
                <a:gd name="connsiteY2-100" fmla="*/ 1091063 h 1200150"/>
                <a:gd name="connsiteX3-101" fmla="*/ 2429112 w 2429112"/>
                <a:gd name="connsiteY3-102" fmla="*/ 1200150 h 1200150"/>
                <a:gd name="connsiteX0-103" fmla="*/ -1 w 1214555"/>
                <a:gd name="connsiteY0-104" fmla="*/ 0 h 1200150"/>
                <a:gd name="connsiteX1-105" fmla="*/ 1209047 w 1214555"/>
                <a:gd name="connsiteY1-106" fmla="*/ 1091063 h 1200150"/>
                <a:gd name="connsiteX2-107" fmla="*/ 1214555 w 1214555"/>
                <a:gd name="connsiteY2-108" fmla="*/ 1200150 h 1200150"/>
                <a:gd name="connsiteX0-109" fmla="*/ -1 w 1209047"/>
                <a:gd name="connsiteY0-110" fmla="*/ 0 h 1091063"/>
                <a:gd name="connsiteX1-111" fmla="*/ 1209047 w 1209047"/>
                <a:gd name="connsiteY1-112" fmla="*/ 1091063 h 1091063"/>
              </a:gdLst>
              <a:ahLst/>
              <a:cxnLst>
                <a:cxn ang="0">
                  <a:pos x="connsiteX0-1" y="connsiteY0-2"/>
                </a:cxn>
                <a:cxn ang="0">
                  <a:pos x="connsiteX1-3" y="connsiteY1-4"/>
                </a:cxn>
              </a:cxnLst>
              <a:rect l="l" t="t" r="r" b="b"/>
              <a:pathLst>
                <a:path w="1209047" h="1091063">
                  <a:moveTo>
                    <a:pt x="-1" y="0"/>
                  </a:moveTo>
                  <a:cubicBezTo>
                    <a:pt x="629253" y="0"/>
                    <a:pt x="1146810" y="478229"/>
                    <a:pt x="1209047" y="1091063"/>
                  </a:cubicBezTo>
                </a:path>
              </a:pathLst>
            </a:custGeom>
            <a:noFill/>
            <a:ln w="19050" cap="rnd">
              <a:solidFill>
                <a:schemeClr val="bg1"/>
              </a:solidFill>
              <a:prstDash val="dash"/>
              <a:beve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cxnSp>
          <p:nvCxnSpPr>
            <p:cNvPr id="276" name="直接连接符 275"/>
            <p:cNvCxnSpPr/>
            <p:nvPr/>
          </p:nvCxnSpPr>
          <p:spPr>
            <a:xfrm flipH="1" flipV="1">
              <a:off x="961756" y="5371719"/>
              <a:ext cx="1222143"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77" name="直接连接符 276"/>
            <p:cNvCxnSpPr/>
            <p:nvPr/>
          </p:nvCxnSpPr>
          <p:spPr>
            <a:xfrm>
              <a:off x="2645641" y="2102870"/>
              <a:ext cx="23465" cy="3148606"/>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78" name="直接连接符 277"/>
            <p:cNvCxnSpPr/>
            <p:nvPr/>
          </p:nvCxnSpPr>
          <p:spPr>
            <a:xfrm flipH="1">
              <a:off x="-21650" y="5757480"/>
              <a:ext cx="2187198"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279" name="îṧḻíḍe"/>
            <p:cNvGrpSpPr/>
            <p:nvPr/>
          </p:nvGrpSpPr>
          <p:grpSpPr>
            <a:xfrm>
              <a:off x="3850707" y="1599634"/>
              <a:ext cx="826068" cy="826068"/>
              <a:chOff x="5035546" y="1746815"/>
              <a:chExt cx="874606" cy="874606"/>
            </a:xfrm>
          </p:grpSpPr>
          <p:sp>
            <p:nvSpPr>
              <p:cNvPr id="316" name="îślîdé"/>
              <p:cNvSpPr/>
              <p:nvPr/>
            </p:nvSpPr>
            <p:spPr>
              <a:xfrm rot="8100000">
                <a:off x="5035546" y="1746815"/>
                <a:ext cx="874606" cy="874606"/>
              </a:xfrm>
              <a:prstGeom prst="teardrop">
                <a:avLst/>
              </a:prstGeom>
              <a:solidFill>
                <a:schemeClr val="accent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17" name="îśliḋê"/>
              <p:cNvSpPr/>
              <p:nvPr/>
            </p:nvSpPr>
            <p:spPr bwMode="auto">
              <a:xfrm>
                <a:off x="5255015" y="1966284"/>
                <a:ext cx="435668" cy="435668"/>
              </a:xfrm>
              <a:custGeom>
                <a:avLst/>
                <a:gdLst>
                  <a:gd name="T0" fmla="*/ 184 w 260"/>
                  <a:gd name="T1" fmla="*/ 106 h 260"/>
                  <a:gd name="T2" fmla="*/ 193 w 260"/>
                  <a:gd name="T3" fmla="*/ 143 h 260"/>
                  <a:gd name="T4" fmla="*/ 117 w 260"/>
                  <a:gd name="T5" fmla="*/ 219 h 260"/>
                  <a:gd name="T6" fmla="*/ 42 w 260"/>
                  <a:gd name="T7" fmla="*/ 143 h 260"/>
                  <a:gd name="T8" fmla="*/ 117 w 260"/>
                  <a:gd name="T9" fmla="*/ 66 h 260"/>
                  <a:gd name="T10" fmla="*/ 154 w 260"/>
                  <a:gd name="T11" fmla="*/ 76 h 260"/>
                  <a:gd name="T12" fmla="*/ 183 w 260"/>
                  <a:gd name="T13" fmla="*/ 46 h 260"/>
                  <a:gd name="T14" fmla="*/ 117 w 260"/>
                  <a:gd name="T15" fmla="*/ 25 h 260"/>
                  <a:gd name="T16" fmla="*/ 0 w 260"/>
                  <a:gd name="T17" fmla="*/ 143 h 260"/>
                  <a:gd name="T18" fmla="*/ 117 w 260"/>
                  <a:gd name="T19" fmla="*/ 260 h 260"/>
                  <a:gd name="T20" fmla="*/ 233 w 260"/>
                  <a:gd name="T21" fmla="*/ 143 h 260"/>
                  <a:gd name="T22" fmla="*/ 213 w 260"/>
                  <a:gd name="T23" fmla="*/ 77 h 260"/>
                  <a:gd name="T24" fmla="*/ 184 w 260"/>
                  <a:gd name="T25" fmla="*/ 106 h 260"/>
                  <a:gd name="T26" fmla="*/ 225 w 260"/>
                  <a:gd name="T27" fmla="*/ 35 h 260"/>
                  <a:gd name="T28" fmla="*/ 225 w 260"/>
                  <a:gd name="T29" fmla="*/ 35 h 260"/>
                  <a:gd name="T30" fmla="*/ 225 w 260"/>
                  <a:gd name="T31" fmla="*/ 0 h 260"/>
                  <a:gd name="T32" fmla="*/ 203 w 260"/>
                  <a:gd name="T33" fmla="*/ 23 h 260"/>
                  <a:gd name="T34" fmla="*/ 203 w 260"/>
                  <a:gd name="T35" fmla="*/ 46 h 260"/>
                  <a:gd name="T36" fmla="*/ 139 w 260"/>
                  <a:gd name="T37" fmla="*/ 111 h 260"/>
                  <a:gd name="T38" fmla="*/ 117 w 260"/>
                  <a:gd name="T39" fmla="*/ 104 h 260"/>
                  <a:gd name="T40" fmla="*/ 79 w 260"/>
                  <a:gd name="T41" fmla="*/ 143 h 260"/>
                  <a:gd name="T42" fmla="*/ 117 w 260"/>
                  <a:gd name="T43" fmla="*/ 181 h 260"/>
                  <a:gd name="T44" fmla="*/ 155 w 260"/>
                  <a:gd name="T45" fmla="*/ 143 h 260"/>
                  <a:gd name="T46" fmla="*/ 150 w 260"/>
                  <a:gd name="T47" fmla="*/ 123 h 260"/>
                  <a:gd name="T48" fmla="*/ 215 w 260"/>
                  <a:gd name="T49" fmla="*/ 58 h 260"/>
                  <a:gd name="T50" fmla="*/ 237 w 260"/>
                  <a:gd name="T51" fmla="*/ 58 h 260"/>
                  <a:gd name="T52" fmla="*/ 260 w 260"/>
                  <a:gd name="T53" fmla="*/ 35 h 260"/>
                  <a:gd name="T54" fmla="*/ 225 w 260"/>
                  <a:gd name="T55"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0" h="260">
                    <a:moveTo>
                      <a:pt x="184" y="106"/>
                    </a:moveTo>
                    <a:cubicBezTo>
                      <a:pt x="190" y="117"/>
                      <a:pt x="193" y="129"/>
                      <a:pt x="193" y="143"/>
                    </a:cubicBezTo>
                    <a:cubicBezTo>
                      <a:pt x="193" y="185"/>
                      <a:pt x="159" y="219"/>
                      <a:pt x="117" y="219"/>
                    </a:cubicBezTo>
                    <a:cubicBezTo>
                      <a:pt x="76" y="219"/>
                      <a:pt x="42" y="185"/>
                      <a:pt x="42" y="143"/>
                    </a:cubicBezTo>
                    <a:cubicBezTo>
                      <a:pt x="42" y="100"/>
                      <a:pt x="76" y="66"/>
                      <a:pt x="117" y="66"/>
                    </a:cubicBezTo>
                    <a:cubicBezTo>
                      <a:pt x="131" y="66"/>
                      <a:pt x="143" y="70"/>
                      <a:pt x="154" y="76"/>
                    </a:cubicBezTo>
                    <a:cubicBezTo>
                      <a:pt x="183" y="46"/>
                      <a:pt x="183" y="46"/>
                      <a:pt x="183" y="46"/>
                    </a:cubicBezTo>
                    <a:cubicBezTo>
                      <a:pt x="165" y="33"/>
                      <a:pt x="141" y="25"/>
                      <a:pt x="117" y="25"/>
                    </a:cubicBezTo>
                    <a:cubicBezTo>
                      <a:pt x="52" y="25"/>
                      <a:pt x="0" y="78"/>
                      <a:pt x="0" y="143"/>
                    </a:cubicBezTo>
                    <a:cubicBezTo>
                      <a:pt x="0" y="207"/>
                      <a:pt x="52" y="260"/>
                      <a:pt x="117" y="260"/>
                    </a:cubicBezTo>
                    <a:cubicBezTo>
                      <a:pt x="181" y="260"/>
                      <a:pt x="233" y="207"/>
                      <a:pt x="233" y="143"/>
                    </a:cubicBezTo>
                    <a:cubicBezTo>
                      <a:pt x="233" y="118"/>
                      <a:pt x="226" y="96"/>
                      <a:pt x="213" y="77"/>
                    </a:cubicBezTo>
                    <a:cubicBezTo>
                      <a:pt x="184" y="106"/>
                      <a:pt x="184" y="106"/>
                      <a:pt x="184" y="106"/>
                    </a:cubicBezTo>
                    <a:close/>
                    <a:moveTo>
                      <a:pt x="225" y="35"/>
                    </a:moveTo>
                    <a:cubicBezTo>
                      <a:pt x="225" y="35"/>
                      <a:pt x="225" y="35"/>
                      <a:pt x="225" y="35"/>
                    </a:cubicBezTo>
                    <a:cubicBezTo>
                      <a:pt x="225" y="0"/>
                      <a:pt x="225" y="0"/>
                      <a:pt x="225" y="0"/>
                    </a:cubicBezTo>
                    <a:cubicBezTo>
                      <a:pt x="203" y="23"/>
                      <a:pt x="203" y="23"/>
                      <a:pt x="203" y="23"/>
                    </a:cubicBezTo>
                    <a:cubicBezTo>
                      <a:pt x="203" y="46"/>
                      <a:pt x="203" y="46"/>
                      <a:pt x="203" y="46"/>
                    </a:cubicBezTo>
                    <a:cubicBezTo>
                      <a:pt x="139" y="111"/>
                      <a:pt x="139" y="111"/>
                      <a:pt x="139" y="111"/>
                    </a:cubicBezTo>
                    <a:cubicBezTo>
                      <a:pt x="133" y="106"/>
                      <a:pt x="125" y="104"/>
                      <a:pt x="117" y="104"/>
                    </a:cubicBezTo>
                    <a:cubicBezTo>
                      <a:pt x="96" y="104"/>
                      <a:pt x="79" y="121"/>
                      <a:pt x="79" y="143"/>
                    </a:cubicBezTo>
                    <a:cubicBezTo>
                      <a:pt x="79" y="164"/>
                      <a:pt x="96" y="181"/>
                      <a:pt x="117" y="181"/>
                    </a:cubicBezTo>
                    <a:cubicBezTo>
                      <a:pt x="138" y="181"/>
                      <a:pt x="155" y="164"/>
                      <a:pt x="155" y="143"/>
                    </a:cubicBezTo>
                    <a:cubicBezTo>
                      <a:pt x="155" y="136"/>
                      <a:pt x="154" y="129"/>
                      <a:pt x="150" y="123"/>
                    </a:cubicBezTo>
                    <a:cubicBezTo>
                      <a:pt x="215" y="58"/>
                      <a:pt x="215" y="58"/>
                      <a:pt x="215" y="58"/>
                    </a:cubicBezTo>
                    <a:cubicBezTo>
                      <a:pt x="237" y="58"/>
                      <a:pt x="237" y="58"/>
                      <a:pt x="237" y="58"/>
                    </a:cubicBezTo>
                    <a:cubicBezTo>
                      <a:pt x="260" y="35"/>
                      <a:pt x="260" y="35"/>
                      <a:pt x="260" y="35"/>
                    </a:cubicBezTo>
                    <a:cubicBezTo>
                      <a:pt x="225" y="35"/>
                      <a:pt x="225" y="35"/>
                      <a:pt x="225" y="35"/>
                    </a:cubicBezTo>
                    <a:close/>
                  </a:path>
                </a:pathLst>
              </a:custGeom>
              <a:solidFill>
                <a:schemeClr val="bg1"/>
              </a:solidFill>
              <a:ln>
                <a:noFill/>
              </a:ln>
            </p:spPr>
            <p:txBody>
              <a:bodyPr anchor="ctr"/>
              <a:lstStyle/>
              <a:p>
                <a:pPr algn="ctr"/>
                <a:endParaRPr/>
              </a:p>
            </p:txBody>
          </p:sp>
        </p:grpSp>
        <p:grpSp>
          <p:nvGrpSpPr>
            <p:cNvPr id="280" name="íṡḻïḋe"/>
            <p:cNvGrpSpPr/>
            <p:nvPr/>
          </p:nvGrpSpPr>
          <p:grpSpPr>
            <a:xfrm>
              <a:off x="2564678" y="2013608"/>
              <a:ext cx="1307279" cy="161925"/>
              <a:chOff x="3307628" y="2261258"/>
              <a:chExt cx="1307279" cy="161925"/>
            </a:xfrm>
          </p:grpSpPr>
          <p:cxnSp>
            <p:nvCxnSpPr>
              <p:cNvPr id="314" name="直接连接符 313"/>
              <p:cNvCxnSpPr/>
              <p:nvPr/>
            </p:nvCxnSpPr>
            <p:spPr>
              <a:xfrm>
                <a:off x="3469553" y="2342220"/>
                <a:ext cx="1145354" cy="0"/>
              </a:xfrm>
              <a:prstGeom prst="line">
                <a:avLst/>
              </a:prstGeom>
              <a:ln>
                <a:solidFill>
                  <a:schemeClr val="accent1"/>
                </a:solidFill>
                <a:tailEnd type="none"/>
              </a:ln>
              <a:effectLst/>
            </p:spPr>
            <p:style>
              <a:lnRef idx="1">
                <a:schemeClr val="accent1"/>
              </a:lnRef>
              <a:fillRef idx="0">
                <a:schemeClr val="accent1"/>
              </a:fillRef>
              <a:effectRef idx="0">
                <a:schemeClr val="accent1"/>
              </a:effectRef>
              <a:fontRef idx="minor">
                <a:schemeClr val="tx1"/>
              </a:fontRef>
            </p:style>
          </p:cxnSp>
          <p:sp>
            <p:nvSpPr>
              <p:cNvPr id="315" name="îş1iďê"/>
              <p:cNvSpPr/>
              <p:nvPr/>
            </p:nvSpPr>
            <p:spPr>
              <a:xfrm>
                <a:off x="3307628" y="2261258"/>
                <a:ext cx="161925" cy="161925"/>
              </a:xfrm>
              <a:prstGeom prst="ellipse">
                <a:avLst/>
              </a:prstGeom>
              <a:solidFill>
                <a:schemeClr val="accent1"/>
              </a:solidFill>
              <a:ln w="285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grpSp>
          <p:nvGrpSpPr>
            <p:cNvPr id="281" name="i$ļiďê"/>
            <p:cNvGrpSpPr/>
            <p:nvPr/>
          </p:nvGrpSpPr>
          <p:grpSpPr>
            <a:xfrm>
              <a:off x="4752010" y="1444561"/>
              <a:ext cx="6768465" cy="1316355"/>
              <a:chOff x="660400" y="1447800"/>
              <a:chExt cx="7837246" cy="1316355"/>
            </a:xfrm>
          </p:grpSpPr>
          <p:sp>
            <p:nvSpPr>
              <p:cNvPr id="312" name="iṣlíďe"/>
              <p:cNvSpPr/>
              <p:nvPr/>
            </p:nvSpPr>
            <p:spPr bwMode="auto">
              <a:xfrm>
                <a:off x="660400" y="1984375"/>
                <a:ext cx="7837246" cy="779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nSpc>
                    <a:spcPct val="120000"/>
                  </a:lnSpc>
                </a:pPr>
                <a:endParaRPr lang="en-US" altLang="zh-CN" sz="2000" dirty="0">
                  <a:sym typeface="+mn-ea"/>
                </a:endParaRPr>
              </a:p>
            </p:txBody>
          </p:sp>
          <p:sp>
            <p:nvSpPr>
              <p:cNvPr id="313" name="î$ḻîḓè"/>
              <p:cNvSpPr txBox="1"/>
              <p:nvPr/>
            </p:nvSpPr>
            <p:spPr bwMode="auto">
              <a:xfrm>
                <a:off x="660400" y="1447800"/>
                <a:ext cx="3031978" cy="536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l" eaLnBrk="1" hangingPunct="1">
                  <a:lnSpc>
                    <a:spcPct val="100000"/>
                  </a:lnSpc>
                  <a:spcBef>
                    <a:spcPct val="0"/>
                  </a:spcBef>
                  <a:buFontTx/>
                  <a:buNone/>
                </a:pPr>
                <a:r>
                  <a:rPr lang="zh-CN" altLang="en-US" sz="2400" b="1" dirty="0">
                    <a:sym typeface="+mn-ea"/>
                  </a:rPr>
                  <a:t>物理问题靠重试，逻辑问题靠串行</a:t>
                </a:r>
              </a:p>
            </p:txBody>
          </p:sp>
        </p:grpSp>
        <p:grpSp>
          <p:nvGrpSpPr>
            <p:cNvPr id="283" name="îŝļîḍé"/>
            <p:cNvGrpSpPr/>
            <p:nvPr/>
          </p:nvGrpSpPr>
          <p:grpSpPr>
            <a:xfrm>
              <a:off x="3850707" y="3167384"/>
              <a:ext cx="826068" cy="826068"/>
              <a:chOff x="5035546" y="1746815"/>
              <a:chExt cx="874606" cy="874606"/>
            </a:xfrm>
          </p:grpSpPr>
          <p:sp>
            <p:nvSpPr>
              <p:cNvPr id="308" name="íşľídè"/>
              <p:cNvSpPr/>
              <p:nvPr/>
            </p:nvSpPr>
            <p:spPr>
              <a:xfrm rot="8100000">
                <a:off x="5035546" y="1746815"/>
                <a:ext cx="874606" cy="874606"/>
              </a:xfrm>
              <a:prstGeom prst="teardrop">
                <a:avLst/>
              </a:prstGeom>
              <a:solidFill>
                <a:schemeClr val="accent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09" name="ïsḷiḑè"/>
              <p:cNvSpPr/>
              <p:nvPr/>
            </p:nvSpPr>
            <p:spPr bwMode="auto">
              <a:xfrm>
                <a:off x="5255015" y="1966284"/>
                <a:ext cx="435668" cy="435668"/>
              </a:xfrm>
              <a:custGeom>
                <a:avLst/>
                <a:gdLst>
                  <a:gd name="T0" fmla="*/ 184 w 260"/>
                  <a:gd name="T1" fmla="*/ 106 h 260"/>
                  <a:gd name="T2" fmla="*/ 193 w 260"/>
                  <a:gd name="T3" fmla="*/ 143 h 260"/>
                  <a:gd name="T4" fmla="*/ 117 w 260"/>
                  <a:gd name="T5" fmla="*/ 219 h 260"/>
                  <a:gd name="T6" fmla="*/ 42 w 260"/>
                  <a:gd name="T7" fmla="*/ 143 h 260"/>
                  <a:gd name="T8" fmla="*/ 117 w 260"/>
                  <a:gd name="T9" fmla="*/ 66 h 260"/>
                  <a:gd name="T10" fmla="*/ 154 w 260"/>
                  <a:gd name="T11" fmla="*/ 76 h 260"/>
                  <a:gd name="T12" fmla="*/ 183 w 260"/>
                  <a:gd name="T13" fmla="*/ 46 h 260"/>
                  <a:gd name="T14" fmla="*/ 117 w 260"/>
                  <a:gd name="T15" fmla="*/ 25 h 260"/>
                  <a:gd name="T16" fmla="*/ 0 w 260"/>
                  <a:gd name="T17" fmla="*/ 143 h 260"/>
                  <a:gd name="T18" fmla="*/ 117 w 260"/>
                  <a:gd name="T19" fmla="*/ 260 h 260"/>
                  <a:gd name="T20" fmla="*/ 233 w 260"/>
                  <a:gd name="T21" fmla="*/ 143 h 260"/>
                  <a:gd name="T22" fmla="*/ 213 w 260"/>
                  <a:gd name="T23" fmla="*/ 77 h 260"/>
                  <a:gd name="T24" fmla="*/ 184 w 260"/>
                  <a:gd name="T25" fmla="*/ 106 h 260"/>
                  <a:gd name="T26" fmla="*/ 225 w 260"/>
                  <a:gd name="T27" fmla="*/ 35 h 260"/>
                  <a:gd name="T28" fmla="*/ 225 w 260"/>
                  <a:gd name="T29" fmla="*/ 35 h 260"/>
                  <a:gd name="T30" fmla="*/ 225 w 260"/>
                  <a:gd name="T31" fmla="*/ 0 h 260"/>
                  <a:gd name="T32" fmla="*/ 203 w 260"/>
                  <a:gd name="T33" fmla="*/ 23 h 260"/>
                  <a:gd name="T34" fmla="*/ 203 w 260"/>
                  <a:gd name="T35" fmla="*/ 46 h 260"/>
                  <a:gd name="T36" fmla="*/ 139 w 260"/>
                  <a:gd name="T37" fmla="*/ 111 h 260"/>
                  <a:gd name="T38" fmla="*/ 117 w 260"/>
                  <a:gd name="T39" fmla="*/ 104 h 260"/>
                  <a:gd name="T40" fmla="*/ 79 w 260"/>
                  <a:gd name="T41" fmla="*/ 143 h 260"/>
                  <a:gd name="T42" fmla="*/ 117 w 260"/>
                  <a:gd name="T43" fmla="*/ 181 h 260"/>
                  <a:gd name="T44" fmla="*/ 155 w 260"/>
                  <a:gd name="T45" fmla="*/ 143 h 260"/>
                  <a:gd name="T46" fmla="*/ 150 w 260"/>
                  <a:gd name="T47" fmla="*/ 123 h 260"/>
                  <a:gd name="T48" fmla="*/ 215 w 260"/>
                  <a:gd name="T49" fmla="*/ 58 h 260"/>
                  <a:gd name="T50" fmla="*/ 237 w 260"/>
                  <a:gd name="T51" fmla="*/ 58 h 260"/>
                  <a:gd name="T52" fmla="*/ 260 w 260"/>
                  <a:gd name="T53" fmla="*/ 35 h 260"/>
                  <a:gd name="T54" fmla="*/ 225 w 260"/>
                  <a:gd name="T55"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0" h="260">
                    <a:moveTo>
                      <a:pt x="184" y="106"/>
                    </a:moveTo>
                    <a:cubicBezTo>
                      <a:pt x="190" y="117"/>
                      <a:pt x="193" y="129"/>
                      <a:pt x="193" y="143"/>
                    </a:cubicBezTo>
                    <a:cubicBezTo>
                      <a:pt x="193" y="185"/>
                      <a:pt x="159" y="219"/>
                      <a:pt x="117" y="219"/>
                    </a:cubicBezTo>
                    <a:cubicBezTo>
                      <a:pt x="76" y="219"/>
                      <a:pt x="42" y="185"/>
                      <a:pt x="42" y="143"/>
                    </a:cubicBezTo>
                    <a:cubicBezTo>
                      <a:pt x="42" y="100"/>
                      <a:pt x="76" y="66"/>
                      <a:pt x="117" y="66"/>
                    </a:cubicBezTo>
                    <a:cubicBezTo>
                      <a:pt x="131" y="66"/>
                      <a:pt x="143" y="70"/>
                      <a:pt x="154" y="76"/>
                    </a:cubicBezTo>
                    <a:cubicBezTo>
                      <a:pt x="183" y="46"/>
                      <a:pt x="183" y="46"/>
                      <a:pt x="183" y="46"/>
                    </a:cubicBezTo>
                    <a:cubicBezTo>
                      <a:pt x="165" y="33"/>
                      <a:pt x="141" y="25"/>
                      <a:pt x="117" y="25"/>
                    </a:cubicBezTo>
                    <a:cubicBezTo>
                      <a:pt x="52" y="25"/>
                      <a:pt x="0" y="78"/>
                      <a:pt x="0" y="143"/>
                    </a:cubicBezTo>
                    <a:cubicBezTo>
                      <a:pt x="0" y="207"/>
                      <a:pt x="52" y="260"/>
                      <a:pt x="117" y="260"/>
                    </a:cubicBezTo>
                    <a:cubicBezTo>
                      <a:pt x="181" y="260"/>
                      <a:pt x="233" y="207"/>
                      <a:pt x="233" y="143"/>
                    </a:cubicBezTo>
                    <a:cubicBezTo>
                      <a:pt x="233" y="118"/>
                      <a:pt x="226" y="96"/>
                      <a:pt x="213" y="77"/>
                    </a:cubicBezTo>
                    <a:cubicBezTo>
                      <a:pt x="184" y="106"/>
                      <a:pt x="184" y="106"/>
                      <a:pt x="184" y="106"/>
                    </a:cubicBezTo>
                    <a:close/>
                    <a:moveTo>
                      <a:pt x="225" y="35"/>
                    </a:moveTo>
                    <a:cubicBezTo>
                      <a:pt x="225" y="35"/>
                      <a:pt x="225" y="35"/>
                      <a:pt x="225" y="35"/>
                    </a:cubicBezTo>
                    <a:cubicBezTo>
                      <a:pt x="225" y="0"/>
                      <a:pt x="225" y="0"/>
                      <a:pt x="225" y="0"/>
                    </a:cubicBezTo>
                    <a:cubicBezTo>
                      <a:pt x="203" y="23"/>
                      <a:pt x="203" y="23"/>
                      <a:pt x="203" y="23"/>
                    </a:cubicBezTo>
                    <a:cubicBezTo>
                      <a:pt x="203" y="46"/>
                      <a:pt x="203" y="46"/>
                      <a:pt x="203" y="46"/>
                    </a:cubicBezTo>
                    <a:cubicBezTo>
                      <a:pt x="139" y="111"/>
                      <a:pt x="139" y="111"/>
                      <a:pt x="139" y="111"/>
                    </a:cubicBezTo>
                    <a:cubicBezTo>
                      <a:pt x="133" y="106"/>
                      <a:pt x="125" y="104"/>
                      <a:pt x="117" y="104"/>
                    </a:cubicBezTo>
                    <a:cubicBezTo>
                      <a:pt x="96" y="104"/>
                      <a:pt x="79" y="121"/>
                      <a:pt x="79" y="143"/>
                    </a:cubicBezTo>
                    <a:cubicBezTo>
                      <a:pt x="79" y="164"/>
                      <a:pt x="96" y="181"/>
                      <a:pt x="117" y="181"/>
                    </a:cubicBezTo>
                    <a:cubicBezTo>
                      <a:pt x="138" y="181"/>
                      <a:pt x="155" y="164"/>
                      <a:pt x="155" y="143"/>
                    </a:cubicBezTo>
                    <a:cubicBezTo>
                      <a:pt x="155" y="136"/>
                      <a:pt x="154" y="129"/>
                      <a:pt x="150" y="123"/>
                    </a:cubicBezTo>
                    <a:cubicBezTo>
                      <a:pt x="215" y="58"/>
                      <a:pt x="215" y="58"/>
                      <a:pt x="215" y="58"/>
                    </a:cubicBezTo>
                    <a:cubicBezTo>
                      <a:pt x="237" y="58"/>
                      <a:pt x="237" y="58"/>
                      <a:pt x="237" y="58"/>
                    </a:cubicBezTo>
                    <a:cubicBezTo>
                      <a:pt x="260" y="35"/>
                      <a:pt x="260" y="35"/>
                      <a:pt x="260" y="35"/>
                    </a:cubicBezTo>
                    <a:cubicBezTo>
                      <a:pt x="225" y="35"/>
                      <a:pt x="225" y="35"/>
                      <a:pt x="225" y="35"/>
                    </a:cubicBezTo>
                    <a:close/>
                  </a:path>
                </a:pathLst>
              </a:custGeom>
              <a:solidFill>
                <a:schemeClr val="bg1"/>
              </a:solidFill>
              <a:ln>
                <a:noFill/>
              </a:ln>
            </p:spPr>
            <p:txBody>
              <a:bodyPr anchor="ctr"/>
              <a:lstStyle/>
              <a:p>
                <a:pPr algn="ctr"/>
                <a:endParaRPr/>
              </a:p>
            </p:txBody>
          </p:sp>
        </p:grpSp>
        <p:grpSp>
          <p:nvGrpSpPr>
            <p:cNvPr id="284" name="íś1íḑê"/>
            <p:cNvGrpSpPr/>
            <p:nvPr/>
          </p:nvGrpSpPr>
          <p:grpSpPr>
            <a:xfrm>
              <a:off x="2564678" y="3581358"/>
              <a:ext cx="1307279" cy="161925"/>
              <a:chOff x="3307628" y="2261258"/>
              <a:chExt cx="1307279" cy="161925"/>
            </a:xfrm>
          </p:grpSpPr>
          <p:cxnSp>
            <p:nvCxnSpPr>
              <p:cNvPr id="306" name="直接连接符 305"/>
              <p:cNvCxnSpPr/>
              <p:nvPr/>
            </p:nvCxnSpPr>
            <p:spPr>
              <a:xfrm>
                <a:off x="3469553" y="2342220"/>
                <a:ext cx="1145354" cy="0"/>
              </a:xfrm>
              <a:prstGeom prst="line">
                <a:avLst/>
              </a:prstGeom>
              <a:ln>
                <a:solidFill>
                  <a:schemeClr val="accent1"/>
                </a:solidFill>
                <a:tailEnd type="none"/>
              </a:ln>
              <a:effectLst/>
            </p:spPr>
            <p:style>
              <a:lnRef idx="1">
                <a:schemeClr val="accent1"/>
              </a:lnRef>
              <a:fillRef idx="0">
                <a:schemeClr val="accent1"/>
              </a:fillRef>
              <a:effectRef idx="0">
                <a:schemeClr val="accent1"/>
              </a:effectRef>
              <a:fontRef idx="minor">
                <a:schemeClr val="tx1"/>
              </a:fontRef>
            </p:style>
          </p:cxnSp>
          <p:sp>
            <p:nvSpPr>
              <p:cNvPr id="307" name="ï$liḋê"/>
              <p:cNvSpPr/>
              <p:nvPr/>
            </p:nvSpPr>
            <p:spPr>
              <a:xfrm>
                <a:off x="3307628" y="2261258"/>
                <a:ext cx="161925" cy="161925"/>
              </a:xfrm>
              <a:prstGeom prst="ellipse">
                <a:avLst/>
              </a:prstGeom>
              <a:solidFill>
                <a:schemeClr val="accent1"/>
              </a:solidFill>
              <a:ln w="285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grpSp>
          <p:nvGrpSpPr>
            <p:cNvPr id="285" name="íś1iḑê"/>
            <p:cNvGrpSpPr/>
            <p:nvPr/>
          </p:nvGrpSpPr>
          <p:grpSpPr>
            <a:xfrm>
              <a:off x="4752010" y="3012311"/>
              <a:ext cx="5624830" cy="1316355"/>
              <a:chOff x="660400" y="1447800"/>
              <a:chExt cx="6513024" cy="1316355"/>
            </a:xfrm>
          </p:grpSpPr>
          <p:sp>
            <p:nvSpPr>
              <p:cNvPr id="304" name="ïşľïḓe"/>
              <p:cNvSpPr/>
              <p:nvPr/>
            </p:nvSpPr>
            <p:spPr bwMode="auto">
              <a:xfrm>
                <a:off x="660400" y="1984375"/>
                <a:ext cx="6513024" cy="779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nSpc>
                    <a:spcPct val="120000"/>
                  </a:lnSpc>
                </a:pPr>
                <a:r>
                  <a:rPr lang="zh-CN" altLang="en-US" sz="2000" dirty="0">
                    <a:sym typeface="+mn-ea"/>
                  </a:rPr>
                  <a:t>高性能与高一致性不可兼得，做好权衡</a:t>
                </a:r>
              </a:p>
            </p:txBody>
          </p:sp>
          <p:sp>
            <p:nvSpPr>
              <p:cNvPr id="305" name="ïş1îḓe"/>
              <p:cNvSpPr txBox="1"/>
              <p:nvPr/>
            </p:nvSpPr>
            <p:spPr bwMode="auto">
              <a:xfrm>
                <a:off x="660400" y="1447800"/>
                <a:ext cx="3031978" cy="536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l">
                  <a:spcBef>
                    <a:spcPct val="0"/>
                  </a:spcBef>
                </a:pPr>
                <a:r>
                  <a:rPr lang="zh-CN" altLang="en-US" sz="2400" b="1" dirty="0">
                    <a:sym typeface="+mn-ea"/>
                  </a:rPr>
                  <a:t>高性能 </a:t>
                </a:r>
                <a:r>
                  <a:rPr lang="en-US" altLang="zh-CN" sz="2400" b="1" dirty="0">
                    <a:sym typeface="+mn-ea"/>
                  </a:rPr>
                  <a:t>VS</a:t>
                </a:r>
                <a:r>
                  <a:rPr lang="zh-CN" altLang="en-US" sz="2400" b="1" dirty="0">
                    <a:sym typeface="+mn-ea"/>
                  </a:rPr>
                  <a:t> 高一致性</a:t>
                </a:r>
              </a:p>
            </p:txBody>
          </p:sp>
        </p:grpSp>
        <p:grpSp>
          <p:nvGrpSpPr>
            <p:cNvPr id="287" name="i$ḻiḍê"/>
            <p:cNvGrpSpPr/>
            <p:nvPr/>
          </p:nvGrpSpPr>
          <p:grpSpPr>
            <a:xfrm>
              <a:off x="3850707" y="4735134"/>
              <a:ext cx="826068" cy="826068"/>
              <a:chOff x="5035546" y="1746815"/>
              <a:chExt cx="874606" cy="874606"/>
            </a:xfrm>
          </p:grpSpPr>
          <p:sp>
            <p:nvSpPr>
              <p:cNvPr id="300" name="íśḷîďê"/>
              <p:cNvSpPr/>
              <p:nvPr/>
            </p:nvSpPr>
            <p:spPr>
              <a:xfrm rot="8100000">
                <a:off x="5035546" y="1746815"/>
                <a:ext cx="874606" cy="874606"/>
              </a:xfrm>
              <a:prstGeom prst="teardrop">
                <a:avLst/>
              </a:prstGeom>
              <a:solidFill>
                <a:schemeClr val="accent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01" name="iśľiḑè"/>
              <p:cNvSpPr/>
              <p:nvPr/>
            </p:nvSpPr>
            <p:spPr bwMode="auto">
              <a:xfrm>
                <a:off x="5255015" y="1966284"/>
                <a:ext cx="435668" cy="435668"/>
              </a:xfrm>
              <a:custGeom>
                <a:avLst/>
                <a:gdLst>
                  <a:gd name="T0" fmla="*/ 184 w 260"/>
                  <a:gd name="T1" fmla="*/ 106 h 260"/>
                  <a:gd name="T2" fmla="*/ 193 w 260"/>
                  <a:gd name="T3" fmla="*/ 143 h 260"/>
                  <a:gd name="T4" fmla="*/ 117 w 260"/>
                  <a:gd name="T5" fmla="*/ 219 h 260"/>
                  <a:gd name="T6" fmla="*/ 42 w 260"/>
                  <a:gd name="T7" fmla="*/ 143 h 260"/>
                  <a:gd name="T8" fmla="*/ 117 w 260"/>
                  <a:gd name="T9" fmla="*/ 66 h 260"/>
                  <a:gd name="T10" fmla="*/ 154 w 260"/>
                  <a:gd name="T11" fmla="*/ 76 h 260"/>
                  <a:gd name="T12" fmla="*/ 183 w 260"/>
                  <a:gd name="T13" fmla="*/ 46 h 260"/>
                  <a:gd name="T14" fmla="*/ 117 w 260"/>
                  <a:gd name="T15" fmla="*/ 25 h 260"/>
                  <a:gd name="T16" fmla="*/ 0 w 260"/>
                  <a:gd name="T17" fmla="*/ 143 h 260"/>
                  <a:gd name="T18" fmla="*/ 117 w 260"/>
                  <a:gd name="T19" fmla="*/ 260 h 260"/>
                  <a:gd name="T20" fmla="*/ 233 w 260"/>
                  <a:gd name="T21" fmla="*/ 143 h 260"/>
                  <a:gd name="T22" fmla="*/ 213 w 260"/>
                  <a:gd name="T23" fmla="*/ 77 h 260"/>
                  <a:gd name="T24" fmla="*/ 184 w 260"/>
                  <a:gd name="T25" fmla="*/ 106 h 260"/>
                  <a:gd name="T26" fmla="*/ 225 w 260"/>
                  <a:gd name="T27" fmla="*/ 35 h 260"/>
                  <a:gd name="T28" fmla="*/ 225 w 260"/>
                  <a:gd name="T29" fmla="*/ 35 h 260"/>
                  <a:gd name="T30" fmla="*/ 225 w 260"/>
                  <a:gd name="T31" fmla="*/ 0 h 260"/>
                  <a:gd name="T32" fmla="*/ 203 w 260"/>
                  <a:gd name="T33" fmla="*/ 23 h 260"/>
                  <a:gd name="T34" fmla="*/ 203 w 260"/>
                  <a:gd name="T35" fmla="*/ 46 h 260"/>
                  <a:gd name="T36" fmla="*/ 139 w 260"/>
                  <a:gd name="T37" fmla="*/ 111 h 260"/>
                  <a:gd name="T38" fmla="*/ 117 w 260"/>
                  <a:gd name="T39" fmla="*/ 104 h 260"/>
                  <a:gd name="T40" fmla="*/ 79 w 260"/>
                  <a:gd name="T41" fmla="*/ 143 h 260"/>
                  <a:gd name="T42" fmla="*/ 117 w 260"/>
                  <a:gd name="T43" fmla="*/ 181 h 260"/>
                  <a:gd name="T44" fmla="*/ 155 w 260"/>
                  <a:gd name="T45" fmla="*/ 143 h 260"/>
                  <a:gd name="T46" fmla="*/ 150 w 260"/>
                  <a:gd name="T47" fmla="*/ 123 h 260"/>
                  <a:gd name="T48" fmla="*/ 215 w 260"/>
                  <a:gd name="T49" fmla="*/ 58 h 260"/>
                  <a:gd name="T50" fmla="*/ 237 w 260"/>
                  <a:gd name="T51" fmla="*/ 58 h 260"/>
                  <a:gd name="T52" fmla="*/ 260 w 260"/>
                  <a:gd name="T53" fmla="*/ 35 h 260"/>
                  <a:gd name="T54" fmla="*/ 225 w 260"/>
                  <a:gd name="T55"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0" h="260">
                    <a:moveTo>
                      <a:pt x="184" y="106"/>
                    </a:moveTo>
                    <a:cubicBezTo>
                      <a:pt x="190" y="117"/>
                      <a:pt x="193" y="129"/>
                      <a:pt x="193" y="143"/>
                    </a:cubicBezTo>
                    <a:cubicBezTo>
                      <a:pt x="193" y="185"/>
                      <a:pt x="159" y="219"/>
                      <a:pt x="117" y="219"/>
                    </a:cubicBezTo>
                    <a:cubicBezTo>
                      <a:pt x="76" y="219"/>
                      <a:pt x="42" y="185"/>
                      <a:pt x="42" y="143"/>
                    </a:cubicBezTo>
                    <a:cubicBezTo>
                      <a:pt x="42" y="100"/>
                      <a:pt x="76" y="66"/>
                      <a:pt x="117" y="66"/>
                    </a:cubicBezTo>
                    <a:cubicBezTo>
                      <a:pt x="131" y="66"/>
                      <a:pt x="143" y="70"/>
                      <a:pt x="154" y="76"/>
                    </a:cubicBezTo>
                    <a:cubicBezTo>
                      <a:pt x="183" y="46"/>
                      <a:pt x="183" y="46"/>
                      <a:pt x="183" y="46"/>
                    </a:cubicBezTo>
                    <a:cubicBezTo>
                      <a:pt x="165" y="33"/>
                      <a:pt x="141" y="25"/>
                      <a:pt x="117" y="25"/>
                    </a:cubicBezTo>
                    <a:cubicBezTo>
                      <a:pt x="52" y="25"/>
                      <a:pt x="0" y="78"/>
                      <a:pt x="0" y="143"/>
                    </a:cubicBezTo>
                    <a:cubicBezTo>
                      <a:pt x="0" y="207"/>
                      <a:pt x="52" y="260"/>
                      <a:pt x="117" y="260"/>
                    </a:cubicBezTo>
                    <a:cubicBezTo>
                      <a:pt x="181" y="260"/>
                      <a:pt x="233" y="207"/>
                      <a:pt x="233" y="143"/>
                    </a:cubicBezTo>
                    <a:cubicBezTo>
                      <a:pt x="233" y="118"/>
                      <a:pt x="226" y="96"/>
                      <a:pt x="213" y="77"/>
                    </a:cubicBezTo>
                    <a:cubicBezTo>
                      <a:pt x="184" y="106"/>
                      <a:pt x="184" y="106"/>
                      <a:pt x="184" y="106"/>
                    </a:cubicBezTo>
                    <a:close/>
                    <a:moveTo>
                      <a:pt x="225" y="35"/>
                    </a:moveTo>
                    <a:cubicBezTo>
                      <a:pt x="225" y="35"/>
                      <a:pt x="225" y="35"/>
                      <a:pt x="225" y="35"/>
                    </a:cubicBezTo>
                    <a:cubicBezTo>
                      <a:pt x="225" y="0"/>
                      <a:pt x="225" y="0"/>
                      <a:pt x="225" y="0"/>
                    </a:cubicBezTo>
                    <a:cubicBezTo>
                      <a:pt x="203" y="23"/>
                      <a:pt x="203" y="23"/>
                      <a:pt x="203" y="23"/>
                    </a:cubicBezTo>
                    <a:cubicBezTo>
                      <a:pt x="203" y="46"/>
                      <a:pt x="203" y="46"/>
                      <a:pt x="203" y="46"/>
                    </a:cubicBezTo>
                    <a:cubicBezTo>
                      <a:pt x="139" y="111"/>
                      <a:pt x="139" y="111"/>
                      <a:pt x="139" y="111"/>
                    </a:cubicBezTo>
                    <a:cubicBezTo>
                      <a:pt x="133" y="106"/>
                      <a:pt x="125" y="104"/>
                      <a:pt x="117" y="104"/>
                    </a:cubicBezTo>
                    <a:cubicBezTo>
                      <a:pt x="96" y="104"/>
                      <a:pt x="79" y="121"/>
                      <a:pt x="79" y="143"/>
                    </a:cubicBezTo>
                    <a:cubicBezTo>
                      <a:pt x="79" y="164"/>
                      <a:pt x="96" y="181"/>
                      <a:pt x="117" y="181"/>
                    </a:cubicBezTo>
                    <a:cubicBezTo>
                      <a:pt x="138" y="181"/>
                      <a:pt x="155" y="164"/>
                      <a:pt x="155" y="143"/>
                    </a:cubicBezTo>
                    <a:cubicBezTo>
                      <a:pt x="155" y="136"/>
                      <a:pt x="154" y="129"/>
                      <a:pt x="150" y="123"/>
                    </a:cubicBezTo>
                    <a:cubicBezTo>
                      <a:pt x="215" y="58"/>
                      <a:pt x="215" y="58"/>
                      <a:pt x="215" y="58"/>
                    </a:cubicBezTo>
                    <a:cubicBezTo>
                      <a:pt x="237" y="58"/>
                      <a:pt x="237" y="58"/>
                      <a:pt x="237" y="58"/>
                    </a:cubicBezTo>
                    <a:cubicBezTo>
                      <a:pt x="260" y="35"/>
                      <a:pt x="260" y="35"/>
                      <a:pt x="260" y="35"/>
                    </a:cubicBezTo>
                    <a:cubicBezTo>
                      <a:pt x="225" y="35"/>
                      <a:pt x="225" y="35"/>
                      <a:pt x="225" y="35"/>
                    </a:cubicBezTo>
                    <a:close/>
                  </a:path>
                </a:pathLst>
              </a:custGeom>
              <a:solidFill>
                <a:schemeClr val="bg1"/>
              </a:solidFill>
              <a:ln>
                <a:noFill/>
              </a:ln>
            </p:spPr>
            <p:txBody>
              <a:bodyPr anchor="ctr"/>
              <a:lstStyle/>
              <a:p>
                <a:pPr algn="ctr"/>
                <a:endParaRPr/>
              </a:p>
            </p:txBody>
          </p:sp>
        </p:grpSp>
        <p:grpSp>
          <p:nvGrpSpPr>
            <p:cNvPr id="288" name="ïṩlîďé"/>
            <p:cNvGrpSpPr/>
            <p:nvPr/>
          </p:nvGrpSpPr>
          <p:grpSpPr>
            <a:xfrm>
              <a:off x="2564678" y="5149108"/>
              <a:ext cx="1307279" cy="161925"/>
              <a:chOff x="3307628" y="2261258"/>
              <a:chExt cx="1307279" cy="161925"/>
            </a:xfrm>
          </p:grpSpPr>
          <p:cxnSp>
            <p:nvCxnSpPr>
              <p:cNvPr id="298" name="直接连接符 297"/>
              <p:cNvCxnSpPr/>
              <p:nvPr/>
            </p:nvCxnSpPr>
            <p:spPr>
              <a:xfrm>
                <a:off x="3469553" y="2342220"/>
                <a:ext cx="1145354" cy="0"/>
              </a:xfrm>
              <a:prstGeom prst="line">
                <a:avLst/>
              </a:prstGeom>
              <a:ln>
                <a:solidFill>
                  <a:schemeClr val="accent1"/>
                </a:solidFill>
                <a:tailEnd type="none"/>
              </a:ln>
              <a:effectLst/>
            </p:spPr>
            <p:style>
              <a:lnRef idx="1">
                <a:schemeClr val="accent1"/>
              </a:lnRef>
              <a:fillRef idx="0">
                <a:schemeClr val="accent1"/>
              </a:fillRef>
              <a:effectRef idx="0">
                <a:schemeClr val="accent1"/>
              </a:effectRef>
              <a:fontRef idx="minor">
                <a:schemeClr val="tx1"/>
              </a:fontRef>
            </p:style>
          </p:cxnSp>
          <p:sp>
            <p:nvSpPr>
              <p:cNvPr id="299" name="iṡlíḑe"/>
              <p:cNvSpPr/>
              <p:nvPr/>
            </p:nvSpPr>
            <p:spPr>
              <a:xfrm>
                <a:off x="3307628" y="2261258"/>
                <a:ext cx="161925" cy="161925"/>
              </a:xfrm>
              <a:prstGeom prst="ellipse">
                <a:avLst/>
              </a:prstGeom>
              <a:solidFill>
                <a:schemeClr val="accent1"/>
              </a:solidFill>
              <a:ln w="28575"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3765"/>
                <a:endParaRPr lang="zh-CN" altLang="en-US" sz="2000" b="1" dirty="0">
                  <a:solidFill>
                    <a:schemeClr val="bg1"/>
                  </a:solidFill>
                </a:endParaRPr>
              </a:p>
            </p:txBody>
          </p:sp>
        </p:grpSp>
        <p:grpSp>
          <p:nvGrpSpPr>
            <p:cNvPr id="289" name="îŝḻíḋê"/>
            <p:cNvGrpSpPr/>
            <p:nvPr/>
          </p:nvGrpSpPr>
          <p:grpSpPr>
            <a:xfrm>
              <a:off x="4752010" y="4580061"/>
              <a:ext cx="5979795" cy="1316355"/>
              <a:chOff x="660400" y="1447800"/>
              <a:chExt cx="6924040" cy="1316355"/>
            </a:xfrm>
          </p:grpSpPr>
          <p:sp>
            <p:nvSpPr>
              <p:cNvPr id="296" name="í$ľîḍê"/>
              <p:cNvSpPr/>
              <p:nvPr/>
            </p:nvSpPr>
            <p:spPr bwMode="auto">
              <a:xfrm>
                <a:off x="660400" y="1984375"/>
                <a:ext cx="6924040" cy="779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nSpc>
                    <a:spcPct val="120000"/>
                  </a:lnSpc>
                </a:pPr>
                <a:r>
                  <a:rPr lang="zh-CN" altLang="en-US" sz="2000" dirty="0">
                    <a:sym typeface="+mn-ea"/>
                  </a:rPr>
                  <a:t>思考当初为什么要引入缓存</a:t>
                </a:r>
                <a:endParaRPr lang="en-US" altLang="zh-CN" sz="2000" dirty="0">
                  <a:sym typeface="+mn-ea"/>
                </a:endParaRPr>
              </a:p>
            </p:txBody>
          </p:sp>
          <p:sp>
            <p:nvSpPr>
              <p:cNvPr id="297" name="i$1íḍe"/>
              <p:cNvSpPr txBox="1"/>
              <p:nvPr/>
            </p:nvSpPr>
            <p:spPr bwMode="auto">
              <a:xfrm>
                <a:off x="660400" y="1447800"/>
                <a:ext cx="3031978" cy="536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spcBef>
                    <a:spcPct val="0"/>
                  </a:spcBef>
                </a:pPr>
                <a:r>
                  <a:rPr lang="zh-CN" altLang="en-US" sz="2400" b="1" dirty="0"/>
                  <a:t>勿忘初衷</a:t>
                </a:r>
              </a:p>
            </p:txBody>
          </p:sp>
        </p:grpSp>
        <p:sp>
          <p:nvSpPr>
            <p:cNvPr id="291" name="îṥlïḍê"/>
            <p:cNvSpPr/>
            <p:nvPr/>
          </p:nvSpPr>
          <p:spPr>
            <a:xfrm>
              <a:off x="1071379" y="1827270"/>
              <a:ext cx="1262246" cy="555196"/>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r"/>
              <a:r>
                <a:rPr lang="en-US" altLang="zh-CN" b="1" dirty="0">
                  <a:solidFill>
                    <a:schemeClr val="tx1"/>
                  </a:solidFill>
                </a:rPr>
                <a:t>1…</a:t>
              </a:r>
              <a:endParaRPr lang="zh-CN" altLang="en-US" b="1" dirty="0">
                <a:solidFill>
                  <a:schemeClr val="tx1"/>
                </a:solidFill>
              </a:endParaRPr>
            </a:p>
          </p:txBody>
        </p:sp>
        <p:sp>
          <p:nvSpPr>
            <p:cNvPr id="292" name="ï$ļiďé"/>
            <p:cNvSpPr/>
            <p:nvPr/>
          </p:nvSpPr>
          <p:spPr>
            <a:xfrm>
              <a:off x="1071379" y="3383640"/>
              <a:ext cx="1262246" cy="555196"/>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r"/>
              <a:r>
                <a:rPr lang="en-US" altLang="zh-CN" b="1" dirty="0">
                  <a:solidFill>
                    <a:schemeClr val="tx1"/>
                  </a:solidFill>
                </a:rPr>
                <a:t>2…</a:t>
              </a:r>
              <a:endParaRPr lang="zh-CN" altLang="en-US" b="1" dirty="0">
                <a:solidFill>
                  <a:schemeClr val="tx1"/>
                </a:solidFill>
              </a:endParaRPr>
            </a:p>
          </p:txBody>
        </p:sp>
        <p:sp>
          <p:nvSpPr>
            <p:cNvPr id="293" name="íšḻïḋé"/>
            <p:cNvSpPr/>
            <p:nvPr/>
          </p:nvSpPr>
          <p:spPr>
            <a:xfrm>
              <a:off x="1071379" y="4949192"/>
              <a:ext cx="1262246" cy="555196"/>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r"/>
              <a:r>
                <a:rPr lang="en-US" altLang="zh-CN" b="1" dirty="0">
                  <a:solidFill>
                    <a:schemeClr val="tx1"/>
                  </a:solidFill>
                </a:rPr>
                <a:t>3…</a:t>
              </a:r>
              <a:endParaRPr lang="zh-CN" altLang="en-US" b="1" dirty="0">
                <a:solidFill>
                  <a:schemeClr val="tx1"/>
                </a:solidFill>
              </a:endParaRPr>
            </a:p>
          </p:txBody>
        </p:sp>
      </p:grpSp>
    </p:spTree>
    <p:extLst>
      <p:ext uri="{BB962C8B-B14F-4D97-AF65-F5344CB8AC3E}">
        <p14:creationId xmlns:p14="http://schemas.microsoft.com/office/powerpoint/2010/main" val="2058926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ïslïḑê"/>
        <p:cNvGrpSpPr/>
        <p:nvPr/>
      </p:nvGrpSpPr>
      <p:grpSpPr>
        <a:xfrm>
          <a:off x="0" y="0"/>
          <a:ext cx="0" cy="0"/>
          <a:chOff x="0" y="0"/>
          <a:chExt cx="0" cy="0"/>
        </a:xfrm>
      </p:grpSpPr>
      <p:graphicFrame>
        <p:nvGraphicFramePr>
          <p:cNvPr id="3" name="íšľiḑé"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6" name="think-cell Slide" r:id="rId5" imgW="0" imgH="0" progId="TCLayout.ActiveDocument.1">
                  <p:embed/>
                </p:oleObj>
              </mc:Choice>
              <mc:Fallback>
                <p:oleObj name="think-cell Slide" r:id="rId5" imgW="0" imgH="0" progId="TCLayout.ActiveDocument.1">
                  <p:embed/>
                  <p:pic>
                    <p:nvPicPr>
                      <p:cNvPr id="0" name="ïŝľîḋ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ḻidê"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5" name="išľíďe"/>
          <p:cNvSpPr>
            <a:spLocks noGrp="1"/>
          </p:cNvSpPr>
          <p:nvPr>
            <p:ph type="ctrTitle"/>
          </p:nvPr>
        </p:nvSpPr>
        <p:spPr/>
        <p:txBody>
          <a:bodyPr/>
          <a:lstStyle/>
          <a:p>
            <a:r>
              <a:rPr lang="en-US" altLang="zh-CN" dirty="0"/>
              <a:t>THANKS</a:t>
            </a:r>
            <a:br>
              <a:rPr lang="en-US" altLang="zh-CN" dirty="0"/>
            </a:br>
            <a:r>
              <a:rPr lang="zh-CN" altLang="en-US" sz="3600" dirty="0"/>
              <a:t>感谢大家的聆听</a:t>
            </a:r>
            <a:endParaRPr lang="zh-CN" altLang="en-US" dirty="0"/>
          </a:p>
        </p:txBody>
      </p:sp>
      <p:sp>
        <p:nvSpPr>
          <p:cNvPr id="7" name="ïŝļîďe"/>
          <p:cNvSpPr>
            <a:spLocks noGrp="1"/>
          </p:cNvSpPr>
          <p:nvPr>
            <p:ph type="body" sz="quarter" idx="18"/>
          </p:nvPr>
        </p:nvSpPr>
        <p:spPr/>
        <p:txBody>
          <a:bodyPr/>
          <a:lstStyle/>
          <a:p>
            <a:r>
              <a:rPr lang="en-US" altLang="en-US" dirty="0"/>
              <a:t>2020.11.16</a:t>
            </a:r>
          </a:p>
        </p:txBody>
      </p:sp>
      <p:sp>
        <p:nvSpPr>
          <p:cNvPr id="6" name="ïṥ1ïḑe"/>
          <p:cNvSpPr>
            <a:spLocks noGrp="1"/>
          </p:cNvSpPr>
          <p:nvPr>
            <p:ph type="body" sz="quarter" idx="10"/>
          </p:nvPr>
        </p:nvSpPr>
        <p:spPr/>
        <p:txBody>
          <a:bodyPr/>
          <a:lstStyle/>
          <a:p>
            <a:r>
              <a:rPr lang="zh-CN" altLang="en-US" dirty="0"/>
              <a:t>魏赛</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缓存访问模式</a:t>
            </a:r>
            <a:r>
              <a:rPr lang="en-US" altLang="zh-CN" dirty="0"/>
              <a:t>——</a:t>
            </a:r>
            <a:r>
              <a:rPr lang="zh-CN" altLang="en-US" dirty="0"/>
              <a:t>常见模式有哪些</a:t>
            </a:r>
          </a:p>
        </p:txBody>
      </p:sp>
      <p:grpSp>
        <p:nvGrpSpPr>
          <p:cNvPr id="6" name="#36112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6355" y="1130302"/>
            <a:ext cx="12177668" cy="4830048"/>
            <a:chOff x="0" y="1130303"/>
            <a:chExt cx="12177669" cy="4830048"/>
          </a:xfrm>
        </p:grpSpPr>
        <p:grpSp>
          <p:nvGrpSpPr>
            <p:cNvPr id="7" name="î$1íḍê"/>
            <p:cNvGrpSpPr/>
            <p:nvPr/>
          </p:nvGrpSpPr>
          <p:grpSpPr>
            <a:xfrm>
              <a:off x="0" y="1130303"/>
              <a:ext cx="12177669" cy="2581870"/>
              <a:chOff x="0" y="4466341"/>
              <a:chExt cx="9144000" cy="1938679"/>
            </a:xfrm>
          </p:grpSpPr>
          <p:sp>
            <p:nvSpPr>
              <p:cNvPr id="47" name="îśļíḑè"/>
              <p:cNvSpPr/>
              <p:nvPr/>
            </p:nvSpPr>
            <p:spPr bwMode="auto">
              <a:xfrm>
                <a:off x="772875" y="4678733"/>
                <a:ext cx="4359944" cy="1392352"/>
              </a:xfrm>
              <a:custGeom>
                <a:avLst/>
                <a:gdLst>
                  <a:gd name="T0" fmla="*/ 1027 w 1478"/>
                  <a:gd name="T1" fmla="*/ 471 h 473"/>
                  <a:gd name="T2" fmla="*/ 972 w 1478"/>
                  <a:gd name="T3" fmla="*/ 473 h 473"/>
                  <a:gd name="T4" fmla="*/ 970 w 1478"/>
                  <a:gd name="T5" fmla="*/ 473 h 473"/>
                  <a:gd name="T6" fmla="*/ 995 w 1478"/>
                  <a:gd name="T7" fmla="*/ 117 h 473"/>
                  <a:gd name="T8" fmla="*/ 996 w 1478"/>
                  <a:gd name="T9" fmla="*/ 105 h 473"/>
                  <a:gd name="T10" fmla="*/ 1006 w 1478"/>
                  <a:gd name="T11" fmla="*/ 117 h 473"/>
                  <a:gd name="T12" fmla="*/ 1010 w 1478"/>
                  <a:gd name="T13" fmla="*/ 471 h 473"/>
                  <a:gd name="T14" fmla="*/ 1461 w 1478"/>
                  <a:gd name="T15" fmla="*/ 105 h 473"/>
                  <a:gd name="T16" fmla="*/ 1465 w 1478"/>
                  <a:gd name="T17" fmla="*/ 105 h 473"/>
                  <a:gd name="T18" fmla="*/ 1475 w 1478"/>
                  <a:gd name="T19" fmla="*/ 155 h 473"/>
                  <a:gd name="T20" fmla="*/ 1478 w 1478"/>
                  <a:gd name="T21" fmla="*/ 473 h 473"/>
                  <a:gd name="T22" fmla="*/ 1465 w 1478"/>
                  <a:gd name="T23" fmla="*/ 473 h 473"/>
                  <a:gd name="T24" fmla="*/ 1423 w 1478"/>
                  <a:gd name="T25" fmla="*/ 473 h 473"/>
                  <a:gd name="T26" fmla="*/ 1415 w 1478"/>
                  <a:gd name="T27" fmla="*/ 207 h 473"/>
                  <a:gd name="T28" fmla="*/ 1423 w 1478"/>
                  <a:gd name="T29" fmla="*/ 155 h 473"/>
                  <a:gd name="T30" fmla="*/ 1427 w 1478"/>
                  <a:gd name="T31" fmla="*/ 105 h 473"/>
                  <a:gd name="T32" fmla="*/ 1442 w 1478"/>
                  <a:gd name="T33" fmla="*/ 23 h 473"/>
                  <a:gd name="T34" fmla="*/ 1461 w 1478"/>
                  <a:gd name="T35" fmla="*/ 105 h 473"/>
                  <a:gd name="T36" fmla="*/ 1285 w 1478"/>
                  <a:gd name="T37" fmla="*/ 190 h 473"/>
                  <a:gd name="T38" fmla="*/ 1335 w 1478"/>
                  <a:gd name="T39" fmla="*/ 473 h 473"/>
                  <a:gd name="T40" fmla="*/ 1285 w 1478"/>
                  <a:gd name="T41" fmla="*/ 190 h 473"/>
                  <a:gd name="T42" fmla="*/ 1176 w 1478"/>
                  <a:gd name="T43" fmla="*/ 243 h 473"/>
                  <a:gd name="T44" fmla="*/ 1216 w 1478"/>
                  <a:gd name="T45" fmla="*/ 473 h 473"/>
                  <a:gd name="T46" fmla="*/ 1176 w 1478"/>
                  <a:gd name="T47" fmla="*/ 243 h 473"/>
                  <a:gd name="T48" fmla="*/ 1083 w 1478"/>
                  <a:gd name="T49" fmla="*/ 167 h 473"/>
                  <a:gd name="T50" fmla="*/ 1125 w 1478"/>
                  <a:gd name="T51" fmla="*/ 473 h 473"/>
                  <a:gd name="T52" fmla="*/ 1083 w 1478"/>
                  <a:gd name="T53" fmla="*/ 167 h 473"/>
                  <a:gd name="T54" fmla="*/ 849 w 1478"/>
                  <a:gd name="T55" fmla="*/ 295 h 473"/>
                  <a:gd name="T56" fmla="*/ 884 w 1478"/>
                  <a:gd name="T57" fmla="*/ 473 h 473"/>
                  <a:gd name="T58" fmla="*/ 849 w 1478"/>
                  <a:gd name="T59" fmla="*/ 295 h 473"/>
                  <a:gd name="T60" fmla="*/ 631 w 1478"/>
                  <a:gd name="T61" fmla="*/ 373 h 473"/>
                  <a:gd name="T62" fmla="*/ 643 w 1478"/>
                  <a:gd name="T63" fmla="*/ 318 h 473"/>
                  <a:gd name="T64" fmla="*/ 667 w 1478"/>
                  <a:gd name="T65" fmla="*/ 306 h 473"/>
                  <a:gd name="T66" fmla="*/ 702 w 1478"/>
                  <a:gd name="T67" fmla="*/ 234 h 473"/>
                  <a:gd name="T68" fmla="*/ 723 w 1478"/>
                  <a:gd name="T69" fmla="*/ 306 h 473"/>
                  <a:gd name="T70" fmla="*/ 702 w 1478"/>
                  <a:gd name="T71" fmla="*/ 473 h 473"/>
                  <a:gd name="T72" fmla="*/ 687 w 1478"/>
                  <a:gd name="T73" fmla="*/ 473 h 473"/>
                  <a:gd name="T74" fmla="*/ 643 w 1478"/>
                  <a:gd name="T75" fmla="*/ 473 h 473"/>
                  <a:gd name="T76" fmla="*/ 631 w 1478"/>
                  <a:gd name="T77" fmla="*/ 373 h 473"/>
                  <a:gd name="T78" fmla="*/ 581 w 1478"/>
                  <a:gd name="T79" fmla="*/ 255 h 473"/>
                  <a:gd name="T80" fmla="*/ 623 w 1478"/>
                  <a:gd name="T81" fmla="*/ 473 h 473"/>
                  <a:gd name="T82" fmla="*/ 581 w 1478"/>
                  <a:gd name="T83" fmla="*/ 255 h 473"/>
                  <a:gd name="T84" fmla="*/ 532 w 1478"/>
                  <a:gd name="T85" fmla="*/ 314 h 473"/>
                  <a:gd name="T86" fmla="*/ 557 w 1478"/>
                  <a:gd name="T87" fmla="*/ 356 h 473"/>
                  <a:gd name="T88" fmla="*/ 532 w 1478"/>
                  <a:gd name="T89" fmla="*/ 473 h 473"/>
                  <a:gd name="T90" fmla="*/ 455 w 1478"/>
                  <a:gd name="T91" fmla="*/ 473 h 473"/>
                  <a:gd name="T92" fmla="*/ 455 w 1478"/>
                  <a:gd name="T93" fmla="*/ 302 h 473"/>
                  <a:gd name="T94" fmla="*/ 488 w 1478"/>
                  <a:gd name="T95" fmla="*/ 356 h 473"/>
                  <a:gd name="T96" fmla="*/ 532 w 1478"/>
                  <a:gd name="T97" fmla="*/ 314 h 473"/>
                  <a:gd name="T98" fmla="*/ 360 w 1478"/>
                  <a:gd name="T99" fmla="*/ 293 h 473"/>
                  <a:gd name="T100" fmla="*/ 426 w 1478"/>
                  <a:gd name="T101" fmla="*/ 473 h 473"/>
                  <a:gd name="T102" fmla="*/ 360 w 1478"/>
                  <a:gd name="T103" fmla="*/ 293 h 473"/>
                  <a:gd name="T104" fmla="*/ 287 w 1478"/>
                  <a:gd name="T105" fmla="*/ 209 h 473"/>
                  <a:gd name="T106" fmla="*/ 350 w 1478"/>
                  <a:gd name="T107" fmla="*/ 473 h 473"/>
                  <a:gd name="T108" fmla="*/ 287 w 1478"/>
                  <a:gd name="T109" fmla="*/ 209 h 473"/>
                  <a:gd name="T110" fmla="*/ 195 w 1478"/>
                  <a:gd name="T111" fmla="*/ 184 h 473"/>
                  <a:gd name="T112" fmla="*/ 241 w 1478"/>
                  <a:gd name="T113" fmla="*/ 473 h 473"/>
                  <a:gd name="T114" fmla="*/ 195 w 1478"/>
                  <a:gd name="T115" fmla="*/ 184 h 473"/>
                  <a:gd name="T116" fmla="*/ 31 w 1478"/>
                  <a:gd name="T117" fmla="*/ 264 h 473"/>
                  <a:gd name="T118" fmla="*/ 92 w 1478"/>
                  <a:gd name="T119" fmla="*/ 473 h 473"/>
                  <a:gd name="T120" fmla="*/ 31 w 1478"/>
                  <a:gd name="T121" fmla="*/ 473 h 473"/>
                  <a:gd name="T122" fmla="*/ 0 w 1478"/>
                  <a:gd name="T123" fmla="*/ 331 h 473"/>
                  <a:gd name="T124" fmla="*/ 31 w 1478"/>
                  <a:gd name="T125" fmla="*/ 264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8" h="473">
                    <a:moveTo>
                      <a:pt x="1010" y="471"/>
                    </a:moveTo>
                    <a:lnTo>
                      <a:pt x="1027" y="471"/>
                    </a:lnTo>
                    <a:lnTo>
                      <a:pt x="1027" y="473"/>
                    </a:lnTo>
                    <a:lnTo>
                      <a:pt x="972" y="473"/>
                    </a:lnTo>
                    <a:lnTo>
                      <a:pt x="972" y="473"/>
                    </a:lnTo>
                    <a:lnTo>
                      <a:pt x="970" y="473"/>
                    </a:lnTo>
                    <a:lnTo>
                      <a:pt x="970" y="117"/>
                    </a:lnTo>
                    <a:lnTo>
                      <a:pt x="995" y="117"/>
                    </a:lnTo>
                    <a:lnTo>
                      <a:pt x="996" y="75"/>
                    </a:lnTo>
                    <a:lnTo>
                      <a:pt x="996" y="105"/>
                    </a:lnTo>
                    <a:lnTo>
                      <a:pt x="1002" y="105"/>
                    </a:lnTo>
                    <a:lnTo>
                      <a:pt x="1006" y="117"/>
                    </a:lnTo>
                    <a:lnTo>
                      <a:pt x="1010" y="117"/>
                    </a:lnTo>
                    <a:lnTo>
                      <a:pt x="1010" y="471"/>
                    </a:lnTo>
                    <a:lnTo>
                      <a:pt x="1010" y="471"/>
                    </a:lnTo>
                    <a:close/>
                    <a:moveTo>
                      <a:pt x="1461" y="105"/>
                    </a:moveTo>
                    <a:lnTo>
                      <a:pt x="1463" y="0"/>
                    </a:lnTo>
                    <a:lnTo>
                      <a:pt x="1465" y="105"/>
                    </a:lnTo>
                    <a:lnTo>
                      <a:pt x="1475" y="105"/>
                    </a:lnTo>
                    <a:lnTo>
                      <a:pt x="1475" y="155"/>
                    </a:lnTo>
                    <a:lnTo>
                      <a:pt x="1478" y="155"/>
                    </a:lnTo>
                    <a:lnTo>
                      <a:pt x="1478" y="473"/>
                    </a:lnTo>
                    <a:lnTo>
                      <a:pt x="1475" y="473"/>
                    </a:lnTo>
                    <a:lnTo>
                      <a:pt x="1465" y="473"/>
                    </a:lnTo>
                    <a:lnTo>
                      <a:pt x="1427" y="473"/>
                    </a:lnTo>
                    <a:lnTo>
                      <a:pt x="1423" y="473"/>
                    </a:lnTo>
                    <a:lnTo>
                      <a:pt x="1415" y="473"/>
                    </a:lnTo>
                    <a:lnTo>
                      <a:pt x="1415" y="207"/>
                    </a:lnTo>
                    <a:lnTo>
                      <a:pt x="1423" y="207"/>
                    </a:lnTo>
                    <a:lnTo>
                      <a:pt x="1423" y="155"/>
                    </a:lnTo>
                    <a:lnTo>
                      <a:pt x="1427" y="155"/>
                    </a:lnTo>
                    <a:lnTo>
                      <a:pt x="1427" y="105"/>
                    </a:lnTo>
                    <a:lnTo>
                      <a:pt x="1440" y="105"/>
                    </a:lnTo>
                    <a:lnTo>
                      <a:pt x="1442" y="23"/>
                    </a:lnTo>
                    <a:lnTo>
                      <a:pt x="1444" y="105"/>
                    </a:lnTo>
                    <a:lnTo>
                      <a:pt x="1461" y="105"/>
                    </a:lnTo>
                    <a:lnTo>
                      <a:pt x="1461" y="105"/>
                    </a:lnTo>
                    <a:close/>
                    <a:moveTo>
                      <a:pt x="1285" y="190"/>
                    </a:moveTo>
                    <a:lnTo>
                      <a:pt x="1335" y="190"/>
                    </a:lnTo>
                    <a:lnTo>
                      <a:pt x="1335" y="473"/>
                    </a:lnTo>
                    <a:lnTo>
                      <a:pt x="1285" y="473"/>
                    </a:lnTo>
                    <a:lnTo>
                      <a:pt x="1285" y="190"/>
                    </a:lnTo>
                    <a:lnTo>
                      <a:pt x="1285" y="190"/>
                    </a:lnTo>
                    <a:close/>
                    <a:moveTo>
                      <a:pt x="1176" y="243"/>
                    </a:moveTo>
                    <a:lnTo>
                      <a:pt x="1216" y="243"/>
                    </a:lnTo>
                    <a:lnTo>
                      <a:pt x="1216" y="473"/>
                    </a:lnTo>
                    <a:lnTo>
                      <a:pt x="1176" y="473"/>
                    </a:lnTo>
                    <a:lnTo>
                      <a:pt x="1176" y="243"/>
                    </a:lnTo>
                    <a:lnTo>
                      <a:pt x="1176" y="243"/>
                    </a:lnTo>
                    <a:close/>
                    <a:moveTo>
                      <a:pt x="1083" y="167"/>
                    </a:moveTo>
                    <a:lnTo>
                      <a:pt x="1125" y="167"/>
                    </a:lnTo>
                    <a:lnTo>
                      <a:pt x="1125" y="473"/>
                    </a:lnTo>
                    <a:lnTo>
                      <a:pt x="1083" y="473"/>
                    </a:lnTo>
                    <a:lnTo>
                      <a:pt x="1083" y="167"/>
                    </a:lnTo>
                    <a:lnTo>
                      <a:pt x="1083" y="167"/>
                    </a:lnTo>
                    <a:close/>
                    <a:moveTo>
                      <a:pt x="849" y="295"/>
                    </a:moveTo>
                    <a:lnTo>
                      <a:pt x="884" y="295"/>
                    </a:lnTo>
                    <a:lnTo>
                      <a:pt x="884" y="473"/>
                    </a:lnTo>
                    <a:lnTo>
                      <a:pt x="849" y="473"/>
                    </a:lnTo>
                    <a:lnTo>
                      <a:pt x="849" y="295"/>
                    </a:lnTo>
                    <a:lnTo>
                      <a:pt x="849" y="295"/>
                    </a:lnTo>
                    <a:close/>
                    <a:moveTo>
                      <a:pt x="631" y="373"/>
                    </a:moveTo>
                    <a:lnTo>
                      <a:pt x="643" y="373"/>
                    </a:lnTo>
                    <a:lnTo>
                      <a:pt x="643" y="318"/>
                    </a:lnTo>
                    <a:lnTo>
                      <a:pt x="667" y="318"/>
                    </a:lnTo>
                    <a:lnTo>
                      <a:pt x="667" y="306"/>
                    </a:lnTo>
                    <a:lnTo>
                      <a:pt x="667" y="234"/>
                    </a:lnTo>
                    <a:lnTo>
                      <a:pt x="702" y="234"/>
                    </a:lnTo>
                    <a:lnTo>
                      <a:pt x="702" y="306"/>
                    </a:lnTo>
                    <a:lnTo>
                      <a:pt x="723" y="306"/>
                    </a:lnTo>
                    <a:lnTo>
                      <a:pt x="723" y="473"/>
                    </a:lnTo>
                    <a:lnTo>
                      <a:pt x="702" y="473"/>
                    </a:lnTo>
                    <a:lnTo>
                      <a:pt x="698" y="473"/>
                    </a:lnTo>
                    <a:lnTo>
                      <a:pt x="687" y="473"/>
                    </a:lnTo>
                    <a:lnTo>
                      <a:pt x="667" y="473"/>
                    </a:lnTo>
                    <a:lnTo>
                      <a:pt x="643" y="473"/>
                    </a:lnTo>
                    <a:lnTo>
                      <a:pt x="631" y="473"/>
                    </a:lnTo>
                    <a:lnTo>
                      <a:pt x="631" y="373"/>
                    </a:lnTo>
                    <a:lnTo>
                      <a:pt x="631" y="373"/>
                    </a:lnTo>
                    <a:close/>
                    <a:moveTo>
                      <a:pt x="581" y="255"/>
                    </a:moveTo>
                    <a:lnTo>
                      <a:pt x="623" y="255"/>
                    </a:lnTo>
                    <a:lnTo>
                      <a:pt x="623" y="473"/>
                    </a:lnTo>
                    <a:lnTo>
                      <a:pt x="581" y="473"/>
                    </a:lnTo>
                    <a:lnTo>
                      <a:pt x="581" y="255"/>
                    </a:lnTo>
                    <a:lnTo>
                      <a:pt x="581" y="255"/>
                    </a:lnTo>
                    <a:close/>
                    <a:moveTo>
                      <a:pt x="532" y="314"/>
                    </a:moveTo>
                    <a:lnTo>
                      <a:pt x="557" y="314"/>
                    </a:lnTo>
                    <a:lnTo>
                      <a:pt x="557" y="356"/>
                    </a:lnTo>
                    <a:lnTo>
                      <a:pt x="557" y="473"/>
                    </a:lnTo>
                    <a:lnTo>
                      <a:pt x="532" y="473"/>
                    </a:lnTo>
                    <a:lnTo>
                      <a:pt x="488" y="473"/>
                    </a:lnTo>
                    <a:lnTo>
                      <a:pt x="455" y="473"/>
                    </a:lnTo>
                    <a:lnTo>
                      <a:pt x="455" y="356"/>
                    </a:lnTo>
                    <a:lnTo>
                      <a:pt x="455" y="302"/>
                    </a:lnTo>
                    <a:lnTo>
                      <a:pt x="488" y="302"/>
                    </a:lnTo>
                    <a:lnTo>
                      <a:pt x="488" y="356"/>
                    </a:lnTo>
                    <a:lnTo>
                      <a:pt x="532" y="356"/>
                    </a:lnTo>
                    <a:lnTo>
                      <a:pt x="532" y="314"/>
                    </a:lnTo>
                    <a:lnTo>
                      <a:pt x="532" y="314"/>
                    </a:lnTo>
                    <a:close/>
                    <a:moveTo>
                      <a:pt x="360" y="293"/>
                    </a:moveTo>
                    <a:lnTo>
                      <a:pt x="426" y="293"/>
                    </a:lnTo>
                    <a:lnTo>
                      <a:pt x="426" y="473"/>
                    </a:lnTo>
                    <a:lnTo>
                      <a:pt x="360" y="473"/>
                    </a:lnTo>
                    <a:lnTo>
                      <a:pt x="360" y="293"/>
                    </a:lnTo>
                    <a:lnTo>
                      <a:pt x="360" y="293"/>
                    </a:lnTo>
                    <a:close/>
                    <a:moveTo>
                      <a:pt x="287" y="209"/>
                    </a:moveTo>
                    <a:lnTo>
                      <a:pt x="350" y="209"/>
                    </a:lnTo>
                    <a:lnTo>
                      <a:pt x="350" y="473"/>
                    </a:lnTo>
                    <a:lnTo>
                      <a:pt x="287" y="473"/>
                    </a:lnTo>
                    <a:lnTo>
                      <a:pt x="287" y="209"/>
                    </a:lnTo>
                    <a:lnTo>
                      <a:pt x="287" y="209"/>
                    </a:lnTo>
                    <a:close/>
                    <a:moveTo>
                      <a:pt x="195" y="184"/>
                    </a:moveTo>
                    <a:lnTo>
                      <a:pt x="241" y="184"/>
                    </a:lnTo>
                    <a:lnTo>
                      <a:pt x="241" y="473"/>
                    </a:lnTo>
                    <a:lnTo>
                      <a:pt x="195" y="473"/>
                    </a:lnTo>
                    <a:lnTo>
                      <a:pt x="195" y="184"/>
                    </a:lnTo>
                    <a:lnTo>
                      <a:pt x="195" y="184"/>
                    </a:lnTo>
                    <a:close/>
                    <a:moveTo>
                      <a:pt x="31" y="264"/>
                    </a:moveTo>
                    <a:lnTo>
                      <a:pt x="92" y="264"/>
                    </a:lnTo>
                    <a:lnTo>
                      <a:pt x="92" y="473"/>
                    </a:lnTo>
                    <a:lnTo>
                      <a:pt x="61" y="473"/>
                    </a:lnTo>
                    <a:lnTo>
                      <a:pt x="31" y="473"/>
                    </a:lnTo>
                    <a:lnTo>
                      <a:pt x="0" y="473"/>
                    </a:lnTo>
                    <a:lnTo>
                      <a:pt x="0" y="331"/>
                    </a:lnTo>
                    <a:lnTo>
                      <a:pt x="31" y="331"/>
                    </a:lnTo>
                    <a:lnTo>
                      <a:pt x="31" y="264"/>
                    </a:lnTo>
                    <a:lnTo>
                      <a:pt x="31" y="264"/>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48" name="íṣļiḍê"/>
              <p:cNvSpPr/>
              <p:nvPr/>
            </p:nvSpPr>
            <p:spPr bwMode="auto">
              <a:xfrm>
                <a:off x="117996" y="5321000"/>
                <a:ext cx="5994189" cy="750090"/>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49" name="ïṡļíḑé"/>
              <p:cNvSpPr/>
              <p:nvPr/>
            </p:nvSpPr>
            <p:spPr bwMode="auto">
              <a:xfrm>
                <a:off x="430686" y="4891127"/>
                <a:ext cx="306789" cy="1162261"/>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50" name="ïṣļîḋé"/>
              <p:cNvSpPr/>
              <p:nvPr/>
            </p:nvSpPr>
            <p:spPr bwMode="auto">
              <a:xfrm>
                <a:off x="908568" y="5251015"/>
                <a:ext cx="1103260" cy="802372"/>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51" name="îṣlïḍé"/>
              <p:cNvSpPr/>
              <p:nvPr/>
            </p:nvSpPr>
            <p:spPr bwMode="auto">
              <a:xfrm>
                <a:off x="2041328" y="5852794"/>
                <a:ext cx="106196" cy="200593"/>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77500" lnSpcReduction="20000"/>
              </a:bodyPr>
              <a:lstStyle/>
              <a:p>
                <a:endParaRPr lang="en-US"/>
              </a:p>
            </p:txBody>
          </p:sp>
          <p:sp>
            <p:nvSpPr>
              <p:cNvPr id="52" name="î$ḻîḋè"/>
              <p:cNvSpPr/>
              <p:nvPr/>
            </p:nvSpPr>
            <p:spPr bwMode="auto">
              <a:xfrm>
                <a:off x="2118028" y="5905891"/>
                <a:ext cx="318589" cy="147496"/>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40000" lnSpcReduction="20000"/>
              </a:bodyPr>
              <a:lstStyle/>
              <a:p>
                <a:endParaRPr lang="en-US"/>
              </a:p>
            </p:txBody>
          </p:sp>
          <p:sp>
            <p:nvSpPr>
              <p:cNvPr id="53" name="îṣľíḋê"/>
              <p:cNvSpPr/>
              <p:nvPr/>
            </p:nvSpPr>
            <p:spPr bwMode="auto">
              <a:xfrm>
                <a:off x="2348117" y="5522406"/>
                <a:ext cx="277288" cy="530981"/>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54" name="îsļíḓè"/>
              <p:cNvSpPr/>
              <p:nvPr/>
            </p:nvSpPr>
            <p:spPr bwMode="auto">
              <a:xfrm>
                <a:off x="2660808" y="5882292"/>
                <a:ext cx="117995" cy="171096"/>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62500" lnSpcReduction="20000"/>
              </a:bodyPr>
              <a:lstStyle/>
              <a:p>
                <a:endParaRPr lang="en-US"/>
              </a:p>
            </p:txBody>
          </p:sp>
          <p:sp>
            <p:nvSpPr>
              <p:cNvPr id="55" name="íşḻiḑê"/>
              <p:cNvSpPr/>
              <p:nvPr/>
            </p:nvSpPr>
            <p:spPr bwMode="auto">
              <a:xfrm>
                <a:off x="2796502" y="5823294"/>
                <a:ext cx="112094" cy="230094"/>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92500" lnSpcReduction="20000"/>
              </a:bodyPr>
              <a:lstStyle/>
              <a:p>
                <a:endParaRPr lang="en-US"/>
              </a:p>
            </p:txBody>
          </p:sp>
          <p:sp>
            <p:nvSpPr>
              <p:cNvPr id="56" name="îşḻïḓe"/>
              <p:cNvSpPr/>
              <p:nvPr/>
            </p:nvSpPr>
            <p:spPr bwMode="auto">
              <a:xfrm>
                <a:off x="3421880" y="5610901"/>
                <a:ext cx="147494" cy="442486"/>
              </a:xfrm>
              <a:custGeom>
                <a:avLst/>
                <a:gdLst>
                  <a:gd name="T0" fmla="*/ 9 w 50"/>
                  <a:gd name="T1" fmla="*/ 23 h 149"/>
                  <a:gd name="T2" fmla="*/ 13 w 50"/>
                  <a:gd name="T3" fmla="*/ 23 h 149"/>
                  <a:gd name="T4" fmla="*/ 23 w 50"/>
                  <a:gd name="T5" fmla="*/ 0 h 149"/>
                  <a:gd name="T6" fmla="*/ 29 w 50"/>
                  <a:gd name="T7" fmla="*/ 0 h 149"/>
                  <a:gd name="T8" fmla="*/ 36 w 50"/>
                  <a:gd name="T9" fmla="*/ 23 h 149"/>
                  <a:gd name="T10" fmla="*/ 42 w 50"/>
                  <a:gd name="T11" fmla="*/ 23 h 149"/>
                  <a:gd name="T12" fmla="*/ 42 w 50"/>
                  <a:gd name="T13" fmla="*/ 36 h 149"/>
                  <a:gd name="T14" fmla="*/ 44 w 50"/>
                  <a:gd name="T15" fmla="*/ 42 h 149"/>
                  <a:gd name="T16" fmla="*/ 50 w 50"/>
                  <a:gd name="T17" fmla="*/ 42 h 149"/>
                  <a:gd name="T18" fmla="*/ 50 w 50"/>
                  <a:gd name="T19" fmla="*/ 149 h 149"/>
                  <a:gd name="T20" fmla="*/ 0 w 50"/>
                  <a:gd name="T21" fmla="*/ 149 h 149"/>
                  <a:gd name="T22" fmla="*/ 0 w 50"/>
                  <a:gd name="T23" fmla="*/ 42 h 149"/>
                  <a:gd name="T24" fmla="*/ 8 w 50"/>
                  <a:gd name="T25" fmla="*/ 42 h 149"/>
                  <a:gd name="T26" fmla="*/ 9 w 50"/>
                  <a:gd name="T27" fmla="*/ 36 h 149"/>
                  <a:gd name="T28" fmla="*/ 9 w 50"/>
                  <a:gd name="T29" fmla="*/ 23 h 149"/>
                  <a:gd name="T30" fmla="*/ 9 w 50"/>
                  <a:gd name="T31" fmla="*/ 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149">
                    <a:moveTo>
                      <a:pt x="9" y="23"/>
                    </a:moveTo>
                    <a:lnTo>
                      <a:pt x="13" y="23"/>
                    </a:lnTo>
                    <a:lnTo>
                      <a:pt x="23" y="0"/>
                    </a:lnTo>
                    <a:lnTo>
                      <a:pt x="29" y="0"/>
                    </a:lnTo>
                    <a:lnTo>
                      <a:pt x="36" y="23"/>
                    </a:lnTo>
                    <a:lnTo>
                      <a:pt x="42" y="23"/>
                    </a:lnTo>
                    <a:lnTo>
                      <a:pt x="42" y="36"/>
                    </a:lnTo>
                    <a:lnTo>
                      <a:pt x="44" y="42"/>
                    </a:lnTo>
                    <a:lnTo>
                      <a:pt x="50" y="42"/>
                    </a:lnTo>
                    <a:lnTo>
                      <a:pt x="50" y="149"/>
                    </a:lnTo>
                    <a:lnTo>
                      <a:pt x="0" y="149"/>
                    </a:lnTo>
                    <a:lnTo>
                      <a:pt x="0" y="42"/>
                    </a:lnTo>
                    <a:lnTo>
                      <a:pt x="8" y="42"/>
                    </a:lnTo>
                    <a:lnTo>
                      <a:pt x="9" y="36"/>
                    </a:lnTo>
                    <a:lnTo>
                      <a:pt x="9" y="23"/>
                    </a:lnTo>
                    <a:lnTo>
                      <a:pt x="9" y="23"/>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57" name="iṡlïḑe"/>
              <p:cNvSpPr/>
              <p:nvPr/>
            </p:nvSpPr>
            <p:spPr bwMode="auto">
              <a:xfrm>
                <a:off x="3646071" y="5964889"/>
                <a:ext cx="82597" cy="88498"/>
              </a:xfrm>
              <a:custGeom>
                <a:avLst/>
                <a:gdLst>
                  <a:gd name="T0" fmla="*/ 0 w 28"/>
                  <a:gd name="T1" fmla="*/ 0 h 31"/>
                  <a:gd name="T2" fmla="*/ 28 w 28"/>
                  <a:gd name="T3" fmla="*/ 0 h 31"/>
                  <a:gd name="T4" fmla="*/ 28 w 28"/>
                  <a:gd name="T5" fmla="*/ 31 h 31"/>
                  <a:gd name="T6" fmla="*/ 0 w 28"/>
                  <a:gd name="T7" fmla="*/ 31 h 31"/>
                  <a:gd name="T8" fmla="*/ 0 w 28"/>
                  <a:gd name="T9" fmla="*/ 0 h 31"/>
                  <a:gd name="T10" fmla="*/ 0 w 28"/>
                  <a:gd name="T11" fmla="*/ 0 h 31"/>
                </a:gdLst>
                <a:ahLst/>
                <a:cxnLst>
                  <a:cxn ang="0">
                    <a:pos x="T0" y="T1"/>
                  </a:cxn>
                  <a:cxn ang="0">
                    <a:pos x="T2" y="T3"/>
                  </a:cxn>
                  <a:cxn ang="0">
                    <a:pos x="T4" y="T5"/>
                  </a:cxn>
                  <a:cxn ang="0">
                    <a:pos x="T6" y="T7"/>
                  </a:cxn>
                  <a:cxn ang="0">
                    <a:pos x="T8" y="T9"/>
                  </a:cxn>
                  <a:cxn ang="0">
                    <a:pos x="T10" y="T11"/>
                  </a:cxn>
                </a:cxnLst>
                <a:rect l="0" t="0" r="r" b="b"/>
                <a:pathLst>
                  <a:path w="28" h="31">
                    <a:moveTo>
                      <a:pt x="0" y="0"/>
                    </a:moveTo>
                    <a:lnTo>
                      <a:pt x="28" y="0"/>
                    </a:lnTo>
                    <a:lnTo>
                      <a:pt x="28" y="31"/>
                    </a:lnTo>
                    <a:lnTo>
                      <a:pt x="0" y="31"/>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25000" lnSpcReduction="20000"/>
              </a:bodyPr>
              <a:lstStyle/>
              <a:p>
                <a:endParaRPr lang="en-US"/>
              </a:p>
            </p:txBody>
          </p:sp>
          <p:sp>
            <p:nvSpPr>
              <p:cNvPr id="58" name="ïs1íḓe"/>
              <p:cNvSpPr/>
              <p:nvPr/>
            </p:nvSpPr>
            <p:spPr bwMode="auto">
              <a:xfrm>
                <a:off x="3675572" y="5021474"/>
                <a:ext cx="778773" cy="1031913"/>
              </a:xfrm>
              <a:custGeom>
                <a:avLst/>
                <a:gdLst>
                  <a:gd name="T0" fmla="*/ 124 w 266"/>
                  <a:gd name="T1" fmla="*/ 0 h 476"/>
                  <a:gd name="T2" fmla="*/ 203 w 266"/>
                  <a:gd name="T3" fmla="*/ 0 h 476"/>
                  <a:gd name="T4" fmla="*/ 203 w 266"/>
                  <a:gd name="T5" fmla="*/ 5 h 476"/>
                  <a:gd name="T6" fmla="*/ 209 w 266"/>
                  <a:gd name="T7" fmla="*/ 5 h 476"/>
                  <a:gd name="T8" fmla="*/ 209 w 266"/>
                  <a:gd name="T9" fmla="*/ 9 h 476"/>
                  <a:gd name="T10" fmla="*/ 214 w 266"/>
                  <a:gd name="T11" fmla="*/ 9 h 476"/>
                  <a:gd name="T12" fmla="*/ 214 w 266"/>
                  <a:gd name="T13" fmla="*/ 17 h 476"/>
                  <a:gd name="T14" fmla="*/ 222 w 266"/>
                  <a:gd name="T15" fmla="*/ 17 h 476"/>
                  <a:gd name="T16" fmla="*/ 222 w 266"/>
                  <a:gd name="T17" fmla="*/ 430 h 476"/>
                  <a:gd name="T18" fmla="*/ 230 w 266"/>
                  <a:gd name="T19" fmla="*/ 430 h 476"/>
                  <a:gd name="T20" fmla="*/ 230 w 266"/>
                  <a:gd name="T21" fmla="*/ 453 h 476"/>
                  <a:gd name="T22" fmla="*/ 230 w 266"/>
                  <a:gd name="T23" fmla="*/ 462 h 476"/>
                  <a:gd name="T24" fmla="*/ 266 w 266"/>
                  <a:gd name="T25" fmla="*/ 462 h 476"/>
                  <a:gd name="T26" fmla="*/ 266 w 266"/>
                  <a:gd name="T27" fmla="*/ 476 h 476"/>
                  <a:gd name="T28" fmla="*/ 230 w 266"/>
                  <a:gd name="T29" fmla="*/ 476 h 476"/>
                  <a:gd name="T30" fmla="*/ 222 w 266"/>
                  <a:gd name="T31" fmla="*/ 476 h 476"/>
                  <a:gd name="T32" fmla="*/ 199 w 266"/>
                  <a:gd name="T33" fmla="*/ 476 h 476"/>
                  <a:gd name="T34" fmla="*/ 124 w 266"/>
                  <a:gd name="T35" fmla="*/ 476 h 476"/>
                  <a:gd name="T36" fmla="*/ 48 w 266"/>
                  <a:gd name="T37" fmla="*/ 476 h 476"/>
                  <a:gd name="T38" fmla="*/ 0 w 266"/>
                  <a:gd name="T39" fmla="*/ 476 h 476"/>
                  <a:gd name="T40" fmla="*/ 0 w 266"/>
                  <a:gd name="T41" fmla="*/ 453 h 476"/>
                  <a:gd name="T42" fmla="*/ 0 w 266"/>
                  <a:gd name="T43" fmla="*/ 411 h 476"/>
                  <a:gd name="T44" fmla="*/ 10 w 266"/>
                  <a:gd name="T45" fmla="*/ 411 h 476"/>
                  <a:gd name="T46" fmla="*/ 10 w 266"/>
                  <a:gd name="T47" fmla="*/ 166 h 476"/>
                  <a:gd name="T48" fmla="*/ 17 w 266"/>
                  <a:gd name="T49" fmla="*/ 166 h 476"/>
                  <a:gd name="T50" fmla="*/ 17 w 266"/>
                  <a:gd name="T51" fmla="*/ 155 h 476"/>
                  <a:gd name="T52" fmla="*/ 23 w 266"/>
                  <a:gd name="T53" fmla="*/ 155 h 476"/>
                  <a:gd name="T54" fmla="*/ 23 w 266"/>
                  <a:gd name="T55" fmla="*/ 143 h 476"/>
                  <a:gd name="T56" fmla="*/ 25 w 266"/>
                  <a:gd name="T57" fmla="*/ 143 h 476"/>
                  <a:gd name="T58" fmla="*/ 44 w 266"/>
                  <a:gd name="T59" fmla="*/ 111 h 476"/>
                  <a:gd name="T60" fmla="*/ 46 w 266"/>
                  <a:gd name="T61" fmla="*/ 111 h 476"/>
                  <a:gd name="T62" fmla="*/ 48 w 266"/>
                  <a:gd name="T63" fmla="*/ 111 h 476"/>
                  <a:gd name="T64" fmla="*/ 48 w 266"/>
                  <a:gd name="T65" fmla="*/ 76 h 476"/>
                  <a:gd name="T66" fmla="*/ 50 w 266"/>
                  <a:gd name="T67" fmla="*/ 76 h 476"/>
                  <a:gd name="T68" fmla="*/ 50 w 266"/>
                  <a:gd name="T69" fmla="*/ 113 h 476"/>
                  <a:gd name="T70" fmla="*/ 69 w 266"/>
                  <a:gd name="T71" fmla="*/ 143 h 476"/>
                  <a:gd name="T72" fmla="*/ 71 w 266"/>
                  <a:gd name="T73" fmla="*/ 143 h 476"/>
                  <a:gd name="T74" fmla="*/ 71 w 266"/>
                  <a:gd name="T75" fmla="*/ 155 h 476"/>
                  <a:gd name="T76" fmla="*/ 75 w 266"/>
                  <a:gd name="T77" fmla="*/ 155 h 476"/>
                  <a:gd name="T78" fmla="*/ 75 w 266"/>
                  <a:gd name="T79" fmla="*/ 166 h 476"/>
                  <a:gd name="T80" fmla="*/ 82 w 266"/>
                  <a:gd name="T81" fmla="*/ 166 h 476"/>
                  <a:gd name="T82" fmla="*/ 82 w 266"/>
                  <a:gd name="T83" fmla="*/ 453 h 476"/>
                  <a:gd name="T84" fmla="*/ 124 w 266"/>
                  <a:gd name="T85" fmla="*/ 453 h 476"/>
                  <a:gd name="T86" fmla="*/ 124 w 266"/>
                  <a:gd name="T87" fmla="*/ 23 h 476"/>
                  <a:gd name="T88" fmla="*/ 124 w 266"/>
                  <a:gd name="T89" fmla="*/ 17 h 476"/>
                  <a:gd name="T90" fmla="*/ 124 w 266"/>
                  <a:gd name="T91" fmla="*/ 17 h 476"/>
                  <a:gd name="T92" fmla="*/ 124 w 266"/>
                  <a:gd name="T93" fmla="*/ 11 h 476"/>
                  <a:gd name="T94" fmla="*/ 124 w 266"/>
                  <a:gd name="T95" fmla="*/ 9 h 476"/>
                  <a:gd name="T96" fmla="*/ 124 w 266"/>
                  <a:gd name="T97" fmla="*/ 5 h 476"/>
                  <a:gd name="T98" fmla="*/ 124 w 266"/>
                  <a:gd name="T99" fmla="*/ 0 h 476"/>
                  <a:gd name="T100" fmla="*/ 124 w 266"/>
                  <a:gd name="T101"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476">
                    <a:moveTo>
                      <a:pt x="124" y="0"/>
                    </a:moveTo>
                    <a:lnTo>
                      <a:pt x="203" y="0"/>
                    </a:lnTo>
                    <a:lnTo>
                      <a:pt x="203" y="5"/>
                    </a:lnTo>
                    <a:lnTo>
                      <a:pt x="209" y="5"/>
                    </a:lnTo>
                    <a:lnTo>
                      <a:pt x="209" y="9"/>
                    </a:lnTo>
                    <a:lnTo>
                      <a:pt x="214" y="9"/>
                    </a:lnTo>
                    <a:lnTo>
                      <a:pt x="214" y="17"/>
                    </a:lnTo>
                    <a:lnTo>
                      <a:pt x="222" y="17"/>
                    </a:lnTo>
                    <a:lnTo>
                      <a:pt x="222" y="430"/>
                    </a:lnTo>
                    <a:lnTo>
                      <a:pt x="230" y="430"/>
                    </a:lnTo>
                    <a:lnTo>
                      <a:pt x="230" y="453"/>
                    </a:lnTo>
                    <a:lnTo>
                      <a:pt x="230" y="462"/>
                    </a:lnTo>
                    <a:lnTo>
                      <a:pt x="266" y="462"/>
                    </a:lnTo>
                    <a:lnTo>
                      <a:pt x="266" y="476"/>
                    </a:lnTo>
                    <a:lnTo>
                      <a:pt x="230" y="476"/>
                    </a:lnTo>
                    <a:lnTo>
                      <a:pt x="222" y="476"/>
                    </a:lnTo>
                    <a:lnTo>
                      <a:pt x="199" y="476"/>
                    </a:lnTo>
                    <a:lnTo>
                      <a:pt x="124" y="476"/>
                    </a:lnTo>
                    <a:lnTo>
                      <a:pt x="48" y="476"/>
                    </a:lnTo>
                    <a:lnTo>
                      <a:pt x="0" y="476"/>
                    </a:lnTo>
                    <a:lnTo>
                      <a:pt x="0" y="453"/>
                    </a:lnTo>
                    <a:lnTo>
                      <a:pt x="0" y="411"/>
                    </a:lnTo>
                    <a:lnTo>
                      <a:pt x="10" y="411"/>
                    </a:lnTo>
                    <a:lnTo>
                      <a:pt x="10" y="166"/>
                    </a:lnTo>
                    <a:lnTo>
                      <a:pt x="17" y="166"/>
                    </a:lnTo>
                    <a:lnTo>
                      <a:pt x="17" y="155"/>
                    </a:lnTo>
                    <a:lnTo>
                      <a:pt x="23" y="155"/>
                    </a:lnTo>
                    <a:lnTo>
                      <a:pt x="23" y="143"/>
                    </a:lnTo>
                    <a:lnTo>
                      <a:pt x="25" y="143"/>
                    </a:lnTo>
                    <a:lnTo>
                      <a:pt x="44" y="111"/>
                    </a:lnTo>
                    <a:lnTo>
                      <a:pt x="46" y="111"/>
                    </a:lnTo>
                    <a:lnTo>
                      <a:pt x="48" y="111"/>
                    </a:lnTo>
                    <a:lnTo>
                      <a:pt x="48" y="76"/>
                    </a:lnTo>
                    <a:lnTo>
                      <a:pt x="50" y="76"/>
                    </a:lnTo>
                    <a:lnTo>
                      <a:pt x="50" y="113"/>
                    </a:lnTo>
                    <a:lnTo>
                      <a:pt x="69" y="143"/>
                    </a:lnTo>
                    <a:lnTo>
                      <a:pt x="71" y="143"/>
                    </a:lnTo>
                    <a:lnTo>
                      <a:pt x="71" y="155"/>
                    </a:lnTo>
                    <a:lnTo>
                      <a:pt x="75" y="155"/>
                    </a:lnTo>
                    <a:lnTo>
                      <a:pt x="75" y="166"/>
                    </a:lnTo>
                    <a:lnTo>
                      <a:pt x="82" y="166"/>
                    </a:lnTo>
                    <a:lnTo>
                      <a:pt x="82" y="453"/>
                    </a:lnTo>
                    <a:lnTo>
                      <a:pt x="124" y="453"/>
                    </a:lnTo>
                    <a:lnTo>
                      <a:pt x="124" y="23"/>
                    </a:lnTo>
                    <a:lnTo>
                      <a:pt x="124" y="17"/>
                    </a:lnTo>
                    <a:lnTo>
                      <a:pt x="124" y="17"/>
                    </a:lnTo>
                    <a:lnTo>
                      <a:pt x="124" y="11"/>
                    </a:lnTo>
                    <a:lnTo>
                      <a:pt x="124" y="9"/>
                    </a:lnTo>
                    <a:lnTo>
                      <a:pt x="124" y="5"/>
                    </a:lnTo>
                    <a:lnTo>
                      <a:pt x="124" y="0"/>
                    </a:lnTo>
                    <a:lnTo>
                      <a:pt x="124" y="0"/>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59" name="íṥľîde"/>
              <p:cNvSpPr/>
              <p:nvPr/>
            </p:nvSpPr>
            <p:spPr bwMode="auto">
              <a:xfrm>
                <a:off x="4383548" y="5622700"/>
                <a:ext cx="306789" cy="430687"/>
              </a:xfrm>
              <a:custGeom>
                <a:avLst/>
                <a:gdLst>
                  <a:gd name="T0" fmla="*/ 48 w 103"/>
                  <a:gd name="T1" fmla="*/ 112 h 145"/>
                  <a:gd name="T2" fmla="*/ 103 w 103"/>
                  <a:gd name="T3" fmla="*/ 112 h 145"/>
                  <a:gd name="T4" fmla="*/ 103 w 103"/>
                  <a:gd name="T5" fmla="*/ 145 h 145"/>
                  <a:gd name="T6" fmla="*/ 48 w 103"/>
                  <a:gd name="T7" fmla="*/ 145 h 145"/>
                  <a:gd name="T8" fmla="*/ 23 w 103"/>
                  <a:gd name="T9" fmla="*/ 145 h 145"/>
                  <a:gd name="T10" fmla="*/ 0 w 103"/>
                  <a:gd name="T11" fmla="*/ 145 h 145"/>
                  <a:gd name="T12" fmla="*/ 0 w 103"/>
                  <a:gd name="T13" fmla="*/ 11 h 145"/>
                  <a:gd name="T14" fmla="*/ 6 w 103"/>
                  <a:gd name="T15" fmla="*/ 11 h 145"/>
                  <a:gd name="T16" fmla="*/ 6 w 103"/>
                  <a:gd name="T17" fmla="*/ 0 h 145"/>
                  <a:gd name="T18" fmla="*/ 34 w 103"/>
                  <a:gd name="T19" fmla="*/ 0 h 145"/>
                  <a:gd name="T20" fmla="*/ 34 w 103"/>
                  <a:gd name="T21" fmla="*/ 11 h 145"/>
                  <a:gd name="T22" fmla="*/ 48 w 103"/>
                  <a:gd name="T23" fmla="*/ 11 h 145"/>
                  <a:gd name="T24" fmla="*/ 48 w 103"/>
                  <a:gd name="T25" fmla="*/ 112 h 145"/>
                  <a:gd name="T26" fmla="*/ 48 w 103"/>
                  <a:gd name="T27"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45">
                    <a:moveTo>
                      <a:pt x="48" y="112"/>
                    </a:moveTo>
                    <a:lnTo>
                      <a:pt x="103" y="112"/>
                    </a:lnTo>
                    <a:lnTo>
                      <a:pt x="103" y="145"/>
                    </a:lnTo>
                    <a:lnTo>
                      <a:pt x="48" y="145"/>
                    </a:lnTo>
                    <a:lnTo>
                      <a:pt x="23" y="145"/>
                    </a:lnTo>
                    <a:lnTo>
                      <a:pt x="0" y="145"/>
                    </a:lnTo>
                    <a:lnTo>
                      <a:pt x="0" y="11"/>
                    </a:lnTo>
                    <a:lnTo>
                      <a:pt x="6" y="11"/>
                    </a:lnTo>
                    <a:lnTo>
                      <a:pt x="6" y="0"/>
                    </a:lnTo>
                    <a:lnTo>
                      <a:pt x="34" y="0"/>
                    </a:lnTo>
                    <a:lnTo>
                      <a:pt x="34" y="11"/>
                    </a:lnTo>
                    <a:lnTo>
                      <a:pt x="48" y="11"/>
                    </a:lnTo>
                    <a:lnTo>
                      <a:pt x="48" y="112"/>
                    </a:lnTo>
                    <a:lnTo>
                      <a:pt x="48" y="112"/>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60" name="iṡḷïḍè"/>
              <p:cNvSpPr/>
              <p:nvPr/>
            </p:nvSpPr>
            <p:spPr bwMode="auto">
              <a:xfrm>
                <a:off x="4908627" y="5634500"/>
                <a:ext cx="365788" cy="418888"/>
              </a:xfrm>
              <a:custGeom>
                <a:avLst/>
                <a:gdLst>
                  <a:gd name="T0" fmla="*/ 0 w 124"/>
                  <a:gd name="T1" fmla="*/ 0 h 142"/>
                  <a:gd name="T2" fmla="*/ 124 w 124"/>
                  <a:gd name="T3" fmla="*/ 0 h 142"/>
                  <a:gd name="T4" fmla="*/ 124 w 124"/>
                  <a:gd name="T5" fmla="*/ 142 h 142"/>
                  <a:gd name="T6" fmla="*/ 0 w 124"/>
                  <a:gd name="T7" fmla="*/ 142 h 142"/>
                  <a:gd name="T8" fmla="*/ 0 w 124"/>
                  <a:gd name="T9" fmla="*/ 0 h 142"/>
                  <a:gd name="T10" fmla="*/ 0 w 124"/>
                  <a:gd name="T11" fmla="*/ 0 h 142"/>
                </a:gdLst>
                <a:ahLst/>
                <a:cxnLst>
                  <a:cxn ang="0">
                    <a:pos x="T0" y="T1"/>
                  </a:cxn>
                  <a:cxn ang="0">
                    <a:pos x="T2" y="T3"/>
                  </a:cxn>
                  <a:cxn ang="0">
                    <a:pos x="T4" y="T5"/>
                  </a:cxn>
                  <a:cxn ang="0">
                    <a:pos x="T6" y="T7"/>
                  </a:cxn>
                  <a:cxn ang="0">
                    <a:pos x="T8" y="T9"/>
                  </a:cxn>
                  <a:cxn ang="0">
                    <a:pos x="T10" y="T11"/>
                  </a:cxn>
                </a:cxnLst>
                <a:rect l="0" t="0" r="r" b="b"/>
                <a:pathLst>
                  <a:path w="124" h="142">
                    <a:moveTo>
                      <a:pt x="0" y="0"/>
                    </a:moveTo>
                    <a:lnTo>
                      <a:pt x="124" y="0"/>
                    </a:lnTo>
                    <a:lnTo>
                      <a:pt x="124" y="142"/>
                    </a:lnTo>
                    <a:lnTo>
                      <a:pt x="0" y="142"/>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61" name="îṩļïdè"/>
              <p:cNvSpPr/>
              <p:nvPr/>
            </p:nvSpPr>
            <p:spPr bwMode="auto">
              <a:xfrm>
                <a:off x="5303915" y="5410309"/>
                <a:ext cx="873170" cy="643080"/>
              </a:xfrm>
              <a:custGeom>
                <a:avLst/>
                <a:gdLst>
                  <a:gd name="T0" fmla="*/ 84 w 296"/>
                  <a:gd name="T1" fmla="*/ 193 h 218"/>
                  <a:gd name="T2" fmla="*/ 94 w 296"/>
                  <a:gd name="T3" fmla="*/ 193 h 218"/>
                  <a:gd name="T4" fmla="*/ 94 w 296"/>
                  <a:gd name="T5" fmla="*/ 199 h 218"/>
                  <a:gd name="T6" fmla="*/ 113 w 296"/>
                  <a:gd name="T7" fmla="*/ 199 h 218"/>
                  <a:gd name="T8" fmla="*/ 113 w 296"/>
                  <a:gd name="T9" fmla="*/ 206 h 218"/>
                  <a:gd name="T10" fmla="*/ 160 w 296"/>
                  <a:gd name="T11" fmla="*/ 206 h 218"/>
                  <a:gd name="T12" fmla="*/ 160 w 296"/>
                  <a:gd name="T13" fmla="*/ 9 h 218"/>
                  <a:gd name="T14" fmla="*/ 178 w 296"/>
                  <a:gd name="T15" fmla="*/ 9 h 218"/>
                  <a:gd name="T16" fmla="*/ 178 w 296"/>
                  <a:gd name="T17" fmla="*/ 0 h 218"/>
                  <a:gd name="T18" fmla="*/ 218 w 296"/>
                  <a:gd name="T19" fmla="*/ 0 h 218"/>
                  <a:gd name="T20" fmla="*/ 218 w 296"/>
                  <a:gd name="T21" fmla="*/ 9 h 218"/>
                  <a:gd name="T22" fmla="*/ 231 w 296"/>
                  <a:gd name="T23" fmla="*/ 9 h 218"/>
                  <a:gd name="T24" fmla="*/ 231 w 296"/>
                  <a:gd name="T25" fmla="*/ 206 h 218"/>
                  <a:gd name="T26" fmla="*/ 245 w 296"/>
                  <a:gd name="T27" fmla="*/ 206 h 218"/>
                  <a:gd name="T28" fmla="*/ 245 w 296"/>
                  <a:gd name="T29" fmla="*/ 214 h 218"/>
                  <a:gd name="T30" fmla="*/ 296 w 296"/>
                  <a:gd name="T31" fmla="*/ 214 h 218"/>
                  <a:gd name="T32" fmla="*/ 296 w 296"/>
                  <a:gd name="T33" fmla="*/ 218 h 218"/>
                  <a:gd name="T34" fmla="*/ 245 w 296"/>
                  <a:gd name="T35" fmla="*/ 218 h 218"/>
                  <a:gd name="T36" fmla="*/ 231 w 296"/>
                  <a:gd name="T37" fmla="*/ 218 h 218"/>
                  <a:gd name="T38" fmla="*/ 160 w 296"/>
                  <a:gd name="T39" fmla="*/ 218 h 218"/>
                  <a:gd name="T40" fmla="*/ 130 w 296"/>
                  <a:gd name="T41" fmla="*/ 218 h 218"/>
                  <a:gd name="T42" fmla="*/ 84 w 296"/>
                  <a:gd name="T43" fmla="*/ 218 h 218"/>
                  <a:gd name="T44" fmla="*/ 80 w 296"/>
                  <a:gd name="T45" fmla="*/ 218 h 218"/>
                  <a:gd name="T46" fmla="*/ 50 w 296"/>
                  <a:gd name="T47" fmla="*/ 218 h 218"/>
                  <a:gd name="T48" fmla="*/ 0 w 296"/>
                  <a:gd name="T49" fmla="*/ 218 h 218"/>
                  <a:gd name="T50" fmla="*/ 0 w 296"/>
                  <a:gd name="T51" fmla="*/ 4 h 218"/>
                  <a:gd name="T52" fmla="*/ 50 w 296"/>
                  <a:gd name="T53" fmla="*/ 4 h 218"/>
                  <a:gd name="T54" fmla="*/ 50 w 296"/>
                  <a:gd name="T55" fmla="*/ 25 h 218"/>
                  <a:gd name="T56" fmla="*/ 84 w 296"/>
                  <a:gd name="T57" fmla="*/ 25 h 218"/>
                  <a:gd name="T58" fmla="*/ 84 w 296"/>
                  <a:gd name="T59" fmla="*/ 193 h 218"/>
                  <a:gd name="T60" fmla="*/ 84 w 296"/>
                  <a:gd name="T61"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6" h="218">
                    <a:moveTo>
                      <a:pt x="84" y="193"/>
                    </a:moveTo>
                    <a:lnTo>
                      <a:pt x="94" y="193"/>
                    </a:lnTo>
                    <a:lnTo>
                      <a:pt x="94" y="199"/>
                    </a:lnTo>
                    <a:lnTo>
                      <a:pt x="113" y="199"/>
                    </a:lnTo>
                    <a:lnTo>
                      <a:pt x="113" y="206"/>
                    </a:lnTo>
                    <a:lnTo>
                      <a:pt x="160" y="206"/>
                    </a:lnTo>
                    <a:lnTo>
                      <a:pt x="160" y="9"/>
                    </a:lnTo>
                    <a:lnTo>
                      <a:pt x="178" y="9"/>
                    </a:lnTo>
                    <a:lnTo>
                      <a:pt x="178" y="0"/>
                    </a:lnTo>
                    <a:lnTo>
                      <a:pt x="218" y="0"/>
                    </a:lnTo>
                    <a:lnTo>
                      <a:pt x="218" y="9"/>
                    </a:lnTo>
                    <a:lnTo>
                      <a:pt x="231" y="9"/>
                    </a:lnTo>
                    <a:lnTo>
                      <a:pt x="231" y="206"/>
                    </a:lnTo>
                    <a:lnTo>
                      <a:pt x="245" y="206"/>
                    </a:lnTo>
                    <a:lnTo>
                      <a:pt x="245" y="214"/>
                    </a:lnTo>
                    <a:lnTo>
                      <a:pt x="296" y="214"/>
                    </a:lnTo>
                    <a:lnTo>
                      <a:pt x="296" y="218"/>
                    </a:lnTo>
                    <a:lnTo>
                      <a:pt x="245" y="218"/>
                    </a:lnTo>
                    <a:lnTo>
                      <a:pt x="231" y="218"/>
                    </a:lnTo>
                    <a:lnTo>
                      <a:pt x="160" y="218"/>
                    </a:lnTo>
                    <a:lnTo>
                      <a:pt x="130" y="218"/>
                    </a:lnTo>
                    <a:lnTo>
                      <a:pt x="84" y="218"/>
                    </a:lnTo>
                    <a:lnTo>
                      <a:pt x="80" y="218"/>
                    </a:lnTo>
                    <a:lnTo>
                      <a:pt x="50" y="218"/>
                    </a:lnTo>
                    <a:lnTo>
                      <a:pt x="0" y="218"/>
                    </a:lnTo>
                    <a:lnTo>
                      <a:pt x="0" y="4"/>
                    </a:lnTo>
                    <a:lnTo>
                      <a:pt x="50" y="4"/>
                    </a:lnTo>
                    <a:lnTo>
                      <a:pt x="50" y="25"/>
                    </a:lnTo>
                    <a:lnTo>
                      <a:pt x="84" y="25"/>
                    </a:lnTo>
                    <a:lnTo>
                      <a:pt x="84" y="193"/>
                    </a:lnTo>
                    <a:lnTo>
                      <a:pt x="84" y="193"/>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62" name="íšḻídê"/>
              <p:cNvSpPr/>
              <p:nvPr/>
            </p:nvSpPr>
            <p:spPr bwMode="auto">
              <a:xfrm>
                <a:off x="35399" y="5882292"/>
                <a:ext cx="377587" cy="171096"/>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62500" lnSpcReduction="20000"/>
              </a:bodyPr>
              <a:lstStyle/>
              <a:p>
                <a:endParaRPr lang="en-US"/>
              </a:p>
            </p:txBody>
          </p:sp>
          <p:sp>
            <p:nvSpPr>
              <p:cNvPr id="63" name="îŝļíḍé"/>
              <p:cNvSpPr/>
              <p:nvPr/>
            </p:nvSpPr>
            <p:spPr bwMode="auto">
              <a:xfrm>
                <a:off x="2796502" y="4887064"/>
                <a:ext cx="595877" cy="1166323"/>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64" name="i$lïďe"/>
              <p:cNvSpPr/>
              <p:nvPr/>
            </p:nvSpPr>
            <p:spPr bwMode="auto">
              <a:xfrm>
                <a:off x="4708034" y="6006189"/>
                <a:ext cx="631276" cy="47199"/>
              </a:xfrm>
              <a:custGeom>
                <a:avLst/>
                <a:gdLst>
                  <a:gd name="T0" fmla="*/ 0 w 212"/>
                  <a:gd name="T1" fmla="*/ 0 h 15"/>
                  <a:gd name="T2" fmla="*/ 212 w 212"/>
                  <a:gd name="T3" fmla="*/ 0 h 15"/>
                  <a:gd name="T4" fmla="*/ 212 w 212"/>
                  <a:gd name="T5" fmla="*/ 15 h 15"/>
                  <a:gd name="T6" fmla="*/ 0 w 212"/>
                  <a:gd name="T7" fmla="*/ 15 h 15"/>
                  <a:gd name="T8" fmla="*/ 0 w 212"/>
                  <a:gd name="T9" fmla="*/ 0 h 15"/>
                  <a:gd name="T10" fmla="*/ 0 w 212"/>
                  <a:gd name="T11" fmla="*/ 0 h 15"/>
                </a:gdLst>
                <a:ahLst/>
                <a:cxnLst>
                  <a:cxn ang="0">
                    <a:pos x="T0" y="T1"/>
                  </a:cxn>
                  <a:cxn ang="0">
                    <a:pos x="T2" y="T3"/>
                  </a:cxn>
                  <a:cxn ang="0">
                    <a:pos x="T4" y="T5"/>
                  </a:cxn>
                  <a:cxn ang="0">
                    <a:pos x="T6" y="T7"/>
                  </a:cxn>
                  <a:cxn ang="0">
                    <a:pos x="T8" y="T9"/>
                  </a:cxn>
                  <a:cxn ang="0">
                    <a:pos x="T10" y="T11"/>
                  </a:cxn>
                </a:cxnLst>
                <a:rect l="0" t="0" r="r" b="b"/>
                <a:pathLst>
                  <a:path w="212" h="15">
                    <a:moveTo>
                      <a:pt x="0" y="0"/>
                    </a:moveTo>
                    <a:lnTo>
                      <a:pt x="212" y="0"/>
                    </a:lnTo>
                    <a:lnTo>
                      <a:pt x="212" y="15"/>
                    </a:lnTo>
                    <a:lnTo>
                      <a:pt x="0" y="15"/>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25000" lnSpcReduction="20000"/>
              </a:bodyPr>
              <a:lstStyle/>
              <a:p>
                <a:endParaRPr lang="en-US"/>
              </a:p>
            </p:txBody>
          </p:sp>
          <p:sp>
            <p:nvSpPr>
              <p:cNvPr id="65" name="îşḻïḓè"/>
              <p:cNvSpPr/>
              <p:nvPr/>
            </p:nvSpPr>
            <p:spPr bwMode="auto">
              <a:xfrm>
                <a:off x="0" y="5982588"/>
                <a:ext cx="9144000" cy="422432"/>
              </a:xfrm>
              <a:custGeom>
                <a:avLst/>
                <a:gdLst>
                  <a:gd name="T0" fmla="*/ 132 w 2098"/>
                  <a:gd name="T1" fmla="*/ 21 h 101"/>
                  <a:gd name="T2" fmla="*/ 138 w 2098"/>
                  <a:gd name="T3" fmla="*/ 0 h 101"/>
                  <a:gd name="T4" fmla="*/ 281 w 2098"/>
                  <a:gd name="T5" fmla="*/ 21 h 101"/>
                  <a:gd name="T6" fmla="*/ 289 w 2098"/>
                  <a:gd name="T7" fmla="*/ 0 h 101"/>
                  <a:gd name="T8" fmla="*/ 675 w 2098"/>
                  <a:gd name="T9" fmla="*/ 21 h 101"/>
                  <a:gd name="T10" fmla="*/ 685 w 2098"/>
                  <a:gd name="T11" fmla="*/ 0 h 101"/>
                  <a:gd name="T12" fmla="*/ 706 w 2098"/>
                  <a:gd name="T13" fmla="*/ 21 h 101"/>
                  <a:gd name="T14" fmla="*/ 710 w 2098"/>
                  <a:gd name="T15" fmla="*/ 0 h 101"/>
                  <a:gd name="T16" fmla="*/ 819 w 2098"/>
                  <a:gd name="T17" fmla="*/ 21 h 101"/>
                  <a:gd name="T18" fmla="*/ 824 w 2098"/>
                  <a:gd name="T19" fmla="*/ 0 h 101"/>
                  <a:gd name="T20" fmla="*/ 889 w 2098"/>
                  <a:gd name="T21" fmla="*/ 21 h 101"/>
                  <a:gd name="T22" fmla="*/ 895 w 2098"/>
                  <a:gd name="T23" fmla="*/ 0 h 101"/>
                  <a:gd name="T24" fmla="*/ 979 w 2098"/>
                  <a:gd name="T25" fmla="*/ 21 h 101"/>
                  <a:gd name="T26" fmla="*/ 987 w 2098"/>
                  <a:gd name="T27" fmla="*/ 0 h 101"/>
                  <a:gd name="T28" fmla="*/ 1222 w 2098"/>
                  <a:gd name="T29" fmla="*/ 21 h 101"/>
                  <a:gd name="T30" fmla="*/ 1228 w 2098"/>
                  <a:gd name="T31" fmla="*/ 0 h 101"/>
                  <a:gd name="T32" fmla="*/ 1257 w 2098"/>
                  <a:gd name="T33" fmla="*/ 21 h 101"/>
                  <a:gd name="T34" fmla="*/ 1260 w 2098"/>
                  <a:gd name="T35" fmla="*/ 4 h 101"/>
                  <a:gd name="T36" fmla="*/ 1352 w 2098"/>
                  <a:gd name="T37" fmla="*/ 0 h 101"/>
                  <a:gd name="T38" fmla="*/ 1362 w 2098"/>
                  <a:gd name="T39" fmla="*/ 4 h 101"/>
                  <a:gd name="T40" fmla="*/ 1446 w 2098"/>
                  <a:gd name="T41" fmla="*/ 0 h 101"/>
                  <a:gd name="T42" fmla="*/ 1446 w 2098"/>
                  <a:gd name="T43" fmla="*/ 11 h 101"/>
                  <a:gd name="T44" fmla="*/ 1477 w 2098"/>
                  <a:gd name="T45" fmla="*/ 21 h 101"/>
                  <a:gd name="T46" fmla="*/ 1478 w 2098"/>
                  <a:gd name="T47" fmla="*/ 0 h 101"/>
                  <a:gd name="T48" fmla="*/ 1582 w 2098"/>
                  <a:gd name="T49" fmla="*/ 21 h 101"/>
                  <a:gd name="T50" fmla="*/ 1610 w 2098"/>
                  <a:gd name="T51" fmla="*/ 0 h 101"/>
                  <a:gd name="T52" fmla="*/ 1783 w 2098"/>
                  <a:gd name="T53" fmla="*/ 21 h 101"/>
                  <a:gd name="T54" fmla="*/ 1792 w 2098"/>
                  <a:gd name="T55" fmla="*/ 0 h 101"/>
                  <a:gd name="T56" fmla="*/ 1884 w 2098"/>
                  <a:gd name="T57" fmla="*/ 4 h 101"/>
                  <a:gd name="T58" fmla="*/ 1903 w 2098"/>
                  <a:gd name="T59" fmla="*/ 11 h 101"/>
                  <a:gd name="T60" fmla="*/ 1928 w 2098"/>
                  <a:gd name="T61" fmla="*/ 0 h 101"/>
                  <a:gd name="T62" fmla="*/ 2029 w 2098"/>
                  <a:gd name="T63" fmla="*/ 11 h 101"/>
                  <a:gd name="T64" fmla="*/ 2037 w 2098"/>
                  <a:gd name="T65" fmla="*/ 19 h 101"/>
                  <a:gd name="T66" fmla="*/ 2046 w 2098"/>
                  <a:gd name="T67" fmla="*/ 4 h 101"/>
                  <a:gd name="T68" fmla="*/ 2081 w 2098"/>
                  <a:gd name="T69" fmla="*/ 19 h 101"/>
                  <a:gd name="T70" fmla="*/ 2087 w 2098"/>
                  <a:gd name="T71" fmla="*/ 21 h 101"/>
                  <a:gd name="T72" fmla="*/ 2098 w 2098"/>
                  <a:gd name="T73" fmla="*/ 57 h 101"/>
                  <a:gd name="T74" fmla="*/ 2098 w 2098"/>
                  <a:gd name="T75" fmla="*/ 101 h 101"/>
                  <a:gd name="T76" fmla="*/ 0 w 2098"/>
                  <a:gd name="T77" fmla="*/ 101 h 101"/>
                  <a:gd name="T78" fmla="*/ 0 w 2098"/>
                  <a:gd name="T79" fmla="*/ 57 h 101"/>
                  <a:gd name="T80" fmla="*/ 4 w 2098"/>
                  <a:gd name="T81" fmla="*/ 21 h 101"/>
                  <a:gd name="T82" fmla="*/ 132 w 2098"/>
                  <a:gd name="T8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98" h="101">
                    <a:moveTo>
                      <a:pt x="132" y="0"/>
                    </a:moveTo>
                    <a:lnTo>
                      <a:pt x="132" y="21"/>
                    </a:lnTo>
                    <a:lnTo>
                      <a:pt x="138" y="21"/>
                    </a:lnTo>
                    <a:lnTo>
                      <a:pt x="138" y="0"/>
                    </a:lnTo>
                    <a:lnTo>
                      <a:pt x="281" y="0"/>
                    </a:lnTo>
                    <a:lnTo>
                      <a:pt x="281" y="21"/>
                    </a:lnTo>
                    <a:lnTo>
                      <a:pt x="289" y="21"/>
                    </a:lnTo>
                    <a:lnTo>
                      <a:pt x="289" y="0"/>
                    </a:lnTo>
                    <a:lnTo>
                      <a:pt x="675" y="0"/>
                    </a:lnTo>
                    <a:lnTo>
                      <a:pt x="675" y="21"/>
                    </a:lnTo>
                    <a:lnTo>
                      <a:pt x="685" y="21"/>
                    </a:lnTo>
                    <a:lnTo>
                      <a:pt x="685" y="0"/>
                    </a:lnTo>
                    <a:lnTo>
                      <a:pt x="706" y="0"/>
                    </a:lnTo>
                    <a:lnTo>
                      <a:pt x="706" y="21"/>
                    </a:lnTo>
                    <a:lnTo>
                      <a:pt x="710" y="21"/>
                    </a:lnTo>
                    <a:lnTo>
                      <a:pt x="710" y="0"/>
                    </a:lnTo>
                    <a:lnTo>
                      <a:pt x="819" y="0"/>
                    </a:lnTo>
                    <a:lnTo>
                      <a:pt x="819" y="21"/>
                    </a:lnTo>
                    <a:lnTo>
                      <a:pt x="824" y="21"/>
                    </a:lnTo>
                    <a:lnTo>
                      <a:pt x="824" y="0"/>
                    </a:lnTo>
                    <a:lnTo>
                      <a:pt x="889" y="0"/>
                    </a:lnTo>
                    <a:lnTo>
                      <a:pt x="889" y="21"/>
                    </a:lnTo>
                    <a:lnTo>
                      <a:pt x="895" y="21"/>
                    </a:lnTo>
                    <a:lnTo>
                      <a:pt x="895" y="0"/>
                    </a:lnTo>
                    <a:lnTo>
                      <a:pt x="979" y="0"/>
                    </a:lnTo>
                    <a:lnTo>
                      <a:pt x="979" y="21"/>
                    </a:lnTo>
                    <a:lnTo>
                      <a:pt x="987" y="21"/>
                    </a:lnTo>
                    <a:lnTo>
                      <a:pt x="987" y="0"/>
                    </a:lnTo>
                    <a:lnTo>
                      <a:pt x="1222" y="0"/>
                    </a:lnTo>
                    <a:lnTo>
                      <a:pt x="1222" y="21"/>
                    </a:lnTo>
                    <a:lnTo>
                      <a:pt x="1228" y="21"/>
                    </a:lnTo>
                    <a:lnTo>
                      <a:pt x="1228" y="0"/>
                    </a:lnTo>
                    <a:lnTo>
                      <a:pt x="1257" y="0"/>
                    </a:lnTo>
                    <a:lnTo>
                      <a:pt x="1257" y="21"/>
                    </a:lnTo>
                    <a:lnTo>
                      <a:pt x="1260" y="21"/>
                    </a:lnTo>
                    <a:lnTo>
                      <a:pt x="1260" y="4"/>
                    </a:lnTo>
                    <a:lnTo>
                      <a:pt x="1260" y="0"/>
                    </a:lnTo>
                    <a:lnTo>
                      <a:pt x="1352" y="0"/>
                    </a:lnTo>
                    <a:lnTo>
                      <a:pt x="1352" y="4"/>
                    </a:lnTo>
                    <a:lnTo>
                      <a:pt x="1362" y="4"/>
                    </a:lnTo>
                    <a:lnTo>
                      <a:pt x="1362" y="0"/>
                    </a:lnTo>
                    <a:lnTo>
                      <a:pt x="1446" y="0"/>
                    </a:lnTo>
                    <a:lnTo>
                      <a:pt x="1446" y="4"/>
                    </a:lnTo>
                    <a:lnTo>
                      <a:pt x="1446" y="11"/>
                    </a:lnTo>
                    <a:lnTo>
                      <a:pt x="1477" y="11"/>
                    </a:lnTo>
                    <a:lnTo>
                      <a:pt x="1477" y="21"/>
                    </a:lnTo>
                    <a:lnTo>
                      <a:pt x="1478" y="21"/>
                    </a:lnTo>
                    <a:lnTo>
                      <a:pt x="1478" y="0"/>
                    </a:lnTo>
                    <a:lnTo>
                      <a:pt x="1582" y="0"/>
                    </a:lnTo>
                    <a:lnTo>
                      <a:pt x="1582" y="21"/>
                    </a:lnTo>
                    <a:lnTo>
                      <a:pt x="1610" y="21"/>
                    </a:lnTo>
                    <a:lnTo>
                      <a:pt x="1610" y="0"/>
                    </a:lnTo>
                    <a:lnTo>
                      <a:pt x="1783" y="0"/>
                    </a:lnTo>
                    <a:lnTo>
                      <a:pt x="1783" y="21"/>
                    </a:lnTo>
                    <a:lnTo>
                      <a:pt x="1792" y="21"/>
                    </a:lnTo>
                    <a:lnTo>
                      <a:pt x="1792" y="0"/>
                    </a:lnTo>
                    <a:lnTo>
                      <a:pt x="1884" y="0"/>
                    </a:lnTo>
                    <a:lnTo>
                      <a:pt x="1884" y="4"/>
                    </a:lnTo>
                    <a:lnTo>
                      <a:pt x="1903" y="4"/>
                    </a:lnTo>
                    <a:lnTo>
                      <a:pt x="1903" y="11"/>
                    </a:lnTo>
                    <a:lnTo>
                      <a:pt x="1928" y="11"/>
                    </a:lnTo>
                    <a:lnTo>
                      <a:pt x="1928" y="0"/>
                    </a:lnTo>
                    <a:lnTo>
                      <a:pt x="2029" y="0"/>
                    </a:lnTo>
                    <a:lnTo>
                      <a:pt x="2029" y="11"/>
                    </a:lnTo>
                    <a:lnTo>
                      <a:pt x="2037" y="11"/>
                    </a:lnTo>
                    <a:lnTo>
                      <a:pt x="2037" y="19"/>
                    </a:lnTo>
                    <a:lnTo>
                      <a:pt x="2046" y="19"/>
                    </a:lnTo>
                    <a:lnTo>
                      <a:pt x="2046" y="4"/>
                    </a:lnTo>
                    <a:lnTo>
                      <a:pt x="2081" y="4"/>
                    </a:lnTo>
                    <a:lnTo>
                      <a:pt x="2081" y="19"/>
                    </a:lnTo>
                    <a:lnTo>
                      <a:pt x="2087" y="19"/>
                    </a:lnTo>
                    <a:lnTo>
                      <a:pt x="2087" y="21"/>
                    </a:lnTo>
                    <a:lnTo>
                      <a:pt x="2098" y="21"/>
                    </a:lnTo>
                    <a:lnTo>
                      <a:pt x="2098" y="57"/>
                    </a:lnTo>
                    <a:lnTo>
                      <a:pt x="2098" y="57"/>
                    </a:lnTo>
                    <a:lnTo>
                      <a:pt x="2098" y="101"/>
                    </a:lnTo>
                    <a:lnTo>
                      <a:pt x="2098" y="101"/>
                    </a:lnTo>
                    <a:lnTo>
                      <a:pt x="0" y="101"/>
                    </a:lnTo>
                    <a:lnTo>
                      <a:pt x="0" y="57"/>
                    </a:lnTo>
                    <a:lnTo>
                      <a:pt x="0" y="57"/>
                    </a:lnTo>
                    <a:lnTo>
                      <a:pt x="0" y="21"/>
                    </a:lnTo>
                    <a:lnTo>
                      <a:pt x="4" y="21"/>
                    </a:lnTo>
                    <a:lnTo>
                      <a:pt x="4" y="0"/>
                    </a:lnTo>
                    <a:lnTo>
                      <a:pt x="132" y="0"/>
                    </a:lnTo>
                    <a:lnTo>
                      <a:pt x="132" y="0"/>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66" name="iśḻïde"/>
              <p:cNvSpPr/>
              <p:nvPr/>
            </p:nvSpPr>
            <p:spPr bwMode="auto">
              <a:xfrm>
                <a:off x="6503219" y="4891127"/>
                <a:ext cx="306789" cy="1162261"/>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67" name="îS1ïďê"/>
              <p:cNvSpPr/>
              <p:nvPr/>
            </p:nvSpPr>
            <p:spPr bwMode="auto">
              <a:xfrm>
                <a:off x="6981101" y="5251015"/>
                <a:ext cx="1103260" cy="802372"/>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68" name="išľíďè"/>
              <p:cNvSpPr/>
              <p:nvPr/>
            </p:nvSpPr>
            <p:spPr bwMode="auto">
              <a:xfrm>
                <a:off x="8113861" y="5852794"/>
                <a:ext cx="106196" cy="200593"/>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77500" lnSpcReduction="20000"/>
              </a:bodyPr>
              <a:lstStyle/>
              <a:p>
                <a:endParaRPr lang="en-US"/>
              </a:p>
            </p:txBody>
          </p:sp>
          <p:sp>
            <p:nvSpPr>
              <p:cNvPr id="69" name="îšḻiḑè"/>
              <p:cNvSpPr/>
              <p:nvPr/>
            </p:nvSpPr>
            <p:spPr bwMode="auto">
              <a:xfrm>
                <a:off x="8190561" y="5905891"/>
                <a:ext cx="318589" cy="147496"/>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40000" lnSpcReduction="20000"/>
              </a:bodyPr>
              <a:lstStyle/>
              <a:p>
                <a:endParaRPr lang="en-US"/>
              </a:p>
            </p:txBody>
          </p:sp>
          <p:sp>
            <p:nvSpPr>
              <p:cNvPr id="70" name="išļîḋe"/>
              <p:cNvSpPr/>
              <p:nvPr/>
            </p:nvSpPr>
            <p:spPr bwMode="auto">
              <a:xfrm>
                <a:off x="8420651" y="5522406"/>
                <a:ext cx="277288" cy="530981"/>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71" name="íṣlîdê"/>
              <p:cNvSpPr/>
              <p:nvPr/>
            </p:nvSpPr>
            <p:spPr bwMode="auto">
              <a:xfrm>
                <a:off x="8733341" y="5882292"/>
                <a:ext cx="117995" cy="171096"/>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62500" lnSpcReduction="20000"/>
              </a:bodyPr>
              <a:lstStyle/>
              <a:p>
                <a:endParaRPr lang="en-US"/>
              </a:p>
            </p:txBody>
          </p:sp>
          <p:sp>
            <p:nvSpPr>
              <p:cNvPr id="72" name="išļíḑè"/>
              <p:cNvSpPr/>
              <p:nvPr/>
            </p:nvSpPr>
            <p:spPr bwMode="auto">
              <a:xfrm>
                <a:off x="8869035" y="5823294"/>
                <a:ext cx="112094" cy="230094"/>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92500" lnSpcReduction="20000"/>
              </a:bodyPr>
              <a:lstStyle/>
              <a:p>
                <a:endParaRPr lang="en-US"/>
              </a:p>
            </p:txBody>
          </p:sp>
          <p:sp>
            <p:nvSpPr>
              <p:cNvPr id="73" name="îṩlíḓe"/>
              <p:cNvSpPr/>
              <p:nvPr/>
            </p:nvSpPr>
            <p:spPr bwMode="auto">
              <a:xfrm>
                <a:off x="6107932" y="5882292"/>
                <a:ext cx="377587" cy="171096"/>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bg1">
                  <a:lumMod val="85000"/>
                  <a:alpha val="19000"/>
                </a:schemeClr>
              </a:solidFill>
              <a:ln>
                <a:noFill/>
              </a:ln>
            </p:spPr>
            <p:txBody>
              <a:bodyPr vert="horz" wrap="square" lIns="91440" tIns="45720" rIns="91440" bIns="45720" numCol="1" anchor="t" anchorCtr="0" compatLnSpc="1">
                <a:normAutofit fontScale="62500" lnSpcReduction="20000"/>
              </a:bodyPr>
              <a:lstStyle/>
              <a:p>
                <a:endParaRPr lang="en-US"/>
              </a:p>
            </p:txBody>
          </p:sp>
          <p:sp>
            <p:nvSpPr>
              <p:cNvPr id="74" name="îs1îdê"/>
              <p:cNvSpPr/>
              <p:nvPr/>
            </p:nvSpPr>
            <p:spPr bwMode="auto">
              <a:xfrm>
                <a:off x="8454305" y="4466341"/>
                <a:ext cx="595877" cy="1587046"/>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sp>
            <p:nvSpPr>
              <p:cNvPr id="75" name="íSļîḓè"/>
              <p:cNvSpPr/>
              <p:nvPr/>
            </p:nvSpPr>
            <p:spPr bwMode="auto">
              <a:xfrm>
                <a:off x="3813013" y="5050424"/>
                <a:ext cx="5330987" cy="1020666"/>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bg1">
                  <a:lumMod val="85000"/>
                  <a:alpha val="19000"/>
                </a:schemeClr>
              </a:solidFill>
              <a:ln>
                <a:noFill/>
              </a:ln>
            </p:spPr>
            <p:txBody>
              <a:bodyPr vert="horz" wrap="square" lIns="91440" tIns="45720" rIns="91440" bIns="45720" numCol="1" anchor="t" anchorCtr="0" compatLnSpc="1">
                <a:normAutofit/>
              </a:bodyPr>
              <a:lstStyle/>
              <a:p>
                <a:endParaRPr lang="en-US"/>
              </a:p>
            </p:txBody>
          </p:sp>
        </p:grpSp>
        <p:sp>
          <p:nvSpPr>
            <p:cNvPr id="8" name="îsḷïḍe"/>
            <p:cNvSpPr/>
            <p:nvPr/>
          </p:nvSpPr>
          <p:spPr>
            <a:xfrm>
              <a:off x="673102" y="3212069"/>
              <a:ext cx="3504081" cy="490745"/>
            </a:xfrm>
            <a:prstGeom prst="rect">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sz="1400" dirty="0">
                  <a:solidFill>
                    <a:schemeClr val="bg1"/>
                  </a:solidFill>
                </a:rPr>
                <a:t>Cache Aside</a:t>
              </a:r>
            </a:p>
          </p:txBody>
        </p:sp>
        <p:sp>
          <p:nvSpPr>
            <p:cNvPr id="9" name="îṣḷîḍe"/>
            <p:cNvSpPr/>
            <p:nvPr/>
          </p:nvSpPr>
          <p:spPr>
            <a:xfrm>
              <a:off x="4343960" y="3212069"/>
              <a:ext cx="3504081" cy="490745"/>
            </a:xfrm>
            <a:prstGeom prst="rect">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sz="1400">
                  <a:solidFill>
                    <a:schemeClr val="bg1"/>
                  </a:solidFill>
                </a:rPr>
                <a:t>Read/Write Through</a:t>
              </a:r>
              <a:endParaRPr lang="en-US" altLang="zh-CN" sz="1400" dirty="0">
                <a:solidFill>
                  <a:schemeClr val="bg1"/>
                </a:solidFill>
              </a:endParaRPr>
            </a:p>
          </p:txBody>
        </p:sp>
        <p:sp>
          <p:nvSpPr>
            <p:cNvPr id="10" name="î$lîḑe"/>
            <p:cNvSpPr/>
            <p:nvPr/>
          </p:nvSpPr>
          <p:spPr>
            <a:xfrm>
              <a:off x="8014816" y="3212069"/>
              <a:ext cx="3504081" cy="490745"/>
            </a:xfrm>
            <a:prstGeom prst="rect">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sz="1400">
                  <a:solidFill>
                    <a:schemeClr val="bg1"/>
                  </a:solidFill>
                </a:rPr>
                <a:t>Write Back</a:t>
              </a:r>
            </a:p>
          </p:txBody>
        </p:sp>
        <p:sp>
          <p:nvSpPr>
            <p:cNvPr id="11" name="ïŝ1íďe"/>
            <p:cNvSpPr/>
            <p:nvPr/>
          </p:nvSpPr>
          <p:spPr>
            <a:xfrm>
              <a:off x="673100" y="3735748"/>
              <a:ext cx="3504083" cy="1365573"/>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720000" anchor="t" anchorCtr="1">
              <a:normAutofit/>
            </a:bodyPr>
            <a:lstStyle/>
            <a:p>
              <a:pPr algn="ctr">
                <a:lnSpc>
                  <a:spcPct val="120000"/>
                </a:lnSpc>
                <a:defRPr/>
              </a:pPr>
              <a:endParaRPr lang="zh-CN" altLang="en-US" sz="1100" dirty="0">
                <a:solidFill>
                  <a:schemeClr val="dk1">
                    <a:lumMod val="100000"/>
                  </a:schemeClr>
                </a:solidFill>
              </a:endParaRPr>
            </a:p>
          </p:txBody>
        </p:sp>
        <p:sp>
          <p:nvSpPr>
            <p:cNvPr id="12" name="išļíde"/>
            <p:cNvSpPr/>
            <p:nvPr/>
          </p:nvSpPr>
          <p:spPr>
            <a:xfrm>
              <a:off x="4343959" y="3735748"/>
              <a:ext cx="3504083" cy="1365573"/>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720000" anchor="t" anchorCtr="1">
              <a:normAutofit/>
            </a:bodyPr>
            <a:lstStyle/>
            <a:p>
              <a:pPr algn="ctr">
                <a:lnSpc>
                  <a:spcPct val="120000"/>
                </a:lnSpc>
                <a:defRPr/>
              </a:pPr>
              <a:endParaRPr lang="zh-CN" altLang="en-US" sz="1100" dirty="0">
                <a:solidFill>
                  <a:schemeClr val="dk1">
                    <a:lumMod val="100000"/>
                  </a:schemeClr>
                </a:solidFill>
              </a:endParaRPr>
            </a:p>
          </p:txBody>
        </p:sp>
        <p:sp>
          <p:nvSpPr>
            <p:cNvPr id="13" name="íṡ1íďè"/>
            <p:cNvSpPr/>
            <p:nvPr/>
          </p:nvSpPr>
          <p:spPr>
            <a:xfrm>
              <a:off x="8014817" y="3735748"/>
              <a:ext cx="3504083" cy="1365573"/>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720000" anchor="t" anchorCtr="1">
              <a:normAutofit/>
            </a:bodyPr>
            <a:lstStyle/>
            <a:p>
              <a:pPr algn="ctr">
                <a:lnSpc>
                  <a:spcPct val="120000"/>
                </a:lnSpc>
                <a:defRPr/>
              </a:pPr>
              <a:endParaRPr lang="zh-CN" altLang="en-US" sz="1100" dirty="0">
                <a:solidFill>
                  <a:schemeClr val="dk1">
                    <a:lumMod val="100000"/>
                  </a:schemeClr>
                </a:solidFill>
              </a:endParaRPr>
            </a:p>
          </p:txBody>
        </p:sp>
        <p:sp>
          <p:nvSpPr>
            <p:cNvPr id="14" name="îṣ1iḓe"/>
            <p:cNvSpPr/>
            <p:nvPr/>
          </p:nvSpPr>
          <p:spPr>
            <a:xfrm>
              <a:off x="3825240" y="1599559"/>
              <a:ext cx="4541520" cy="490745"/>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b="1" dirty="0"/>
                <a:t>三种常见缓存访问模式</a:t>
              </a:r>
              <a:endParaRPr lang="en-US" altLang="zh-CN" b="1" dirty="0"/>
            </a:p>
          </p:txBody>
        </p:sp>
        <p:cxnSp>
          <p:nvCxnSpPr>
            <p:cNvPr id="16" name="直接连接符 15"/>
            <p:cNvCxnSpPr>
              <a:stCxn id="14" idx="2"/>
              <a:endCxn id="20" idx="0"/>
            </p:cNvCxnSpPr>
            <p:nvPr/>
          </p:nvCxnSpPr>
          <p:spPr>
            <a:xfrm>
              <a:off x="6096000" y="2090304"/>
              <a:ext cx="1" cy="816457"/>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7" name="肘形连接符 58"/>
            <p:cNvCxnSpPr>
              <a:stCxn id="14" idx="2"/>
              <a:endCxn id="19" idx="0"/>
            </p:cNvCxnSpPr>
            <p:nvPr/>
          </p:nvCxnSpPr>
          <p:spPr>
            <a:xfrm rot="5400000">
              <a:off x="3852344" y="663104"/>
              <a:ext cx="816457" cy="3670857"/>
            </a:xfrm>
            <a:prstGeom prst="bentConnector3">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8" name="肘形连接符 60"/>
            <p:cNvCxnSpPr>
              <a:stCxn id="14" idx="2"/>
              <a:endCxn id="21" idx="0"/>
            </p:cNvCxnSpPr>
            <p:nvPr/>
          </p:nvCxnSpPr>
          <p:spPr>
            <a:xfrm rot="16200000" flipH="1">
              <a:off x="7523200" y="663103"/>
              <a:ext cx="816457" cy="3670857"/>
            </a:xfrm>
            <a:prstGeom prst="bentConnector3">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9" name="ïšḷiḋê"/>
            <p:cNvSpPr/>
            <p:nvPr/>
          </p:nvSpPr>
          <p:spPr>
            <a:xfrm>
              <a:off x="2351796" y="2906761"/>
              <a:ext cx="146693" cy="146692"/>
            </a:xfrm>
            <a:prstGeom prst="ellipse">
              <a:avLst/>
            </a:prstGeom>
            <a:solidFill>
              <a:schemeClr val="bg1"/>
            </a:solidFill>
            <a:ln w="19050">
              <a:solidFill>
                <a:schemeClr val="accent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en-US" b="1">
                <a:solidFill>
                  <a:schemeClr val="bg1"/>
                </a:solidFill>
              </a:endParaRPr>
            </a:p>
          </p:txBody>
        </p:sp>
        <p:sp>
          <p:nvSpPr>
            <p:cNvPr id="20" name="iSḷîḑé"/>
            <p:cNvSpPr/>
            <p:nvPr/>
          </p:nvSpPr>
          <p:spPr>
            <a:xfrm>
              <a:off x="6022654" y="2906761"/>
              <a:ext cx="146693" cy="146692"/>
            </a:xfrm>
            <a:prstGeom prst="ellipse">
              <a:avLst/>
            </a:prstGeom>
            <a:solidFill>
              <a:schemeClr val="bg1"/>
            </a:solidFill>
            <a:ln w="19050">
              <a:solidFill>
                <a:schemeClr val="accent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en-US" b="1">
                <a:solidFill>
                  <a:schemeClr val="bg1"/>
                </a:solidFill>
              </a:endParaRPr>
            </a:p>
          </p:txBody>
        </p:sp>
        <p:sp>
          <p:nvSpPr>
            <p:cNvPr id="21" name="îŝḻîdè"/>
            <p:cNvSpPr/>
            <p:nvPr/>
          </p:nvSpPr>
          <p:spPr>
            <a:xfrm>
              <a:off x="9693510" y="2906761"/>
              <a:ext cx="146693" cy="146692"/>
            </a:xfrm>
            <a:prstGeom prst="ellipse">
              <a:avLst/>
            </a:prstGeom>
            <a:solidFill>
              <a:schemeClr val="bg1"/>
            </a:solidFill>
            <a:ln w="19050">
              <a:solidFill>
                <a:schemeClr val="accent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endParaRPr lang="en-US" b="1">
                <a:solidFill>
                  <a:schemeClr val="bg1"/>
                </a:solidFill>
              </a:endParaRPr>
            </a:p>
          </p:txBody>
        </p:sp>
        <p:grpSp>
          <p:nvGrpSpPr>
            <p:cNvPr id="25" name="ïṩ1îḋé"/>
            <p:cNvGrpSpPr/>
            <p:nvPr/>
          </p:nvGrpSpPr>
          <p:grpSpPr>
            <a:xfrm>
              <a:off x="2148318" y="4787099"/>
              <a:ext cx="553644" cy="553644"/>
              <a:chOff x="890572" y="1376323"/>
              <a:chExt cx="553644" cy="553644"/>
            </a:xfrm>
          </p:grpSpPr>
          <p:sp>
            <p:nvSpPr>
              <p:cNvPr id="35" name="işlíḑê"/>
              <p:cNvSpPr/>
              <p:nvPr/>
            </p:nvSpPr>
            <p:spPr>
              <a:xfrm>
                <a:off x="890572" y="1376323"/>
                <a:ext cx="553644" cy="553644"/>
              </a:xfrm>
              <a:prstGeom prst="ellipse">
                <a:avLst/>
              </a:prstGeom>
              <a:solidFill>
                <a:schemeClr val="tx1">
                  <a:lumMod val="50000"/>
                  <a:lumOff val="5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36" name="iṥlíḋè"/>
              <p:cNvSpPr/>
              <p:nvPr/>
            </p:nvSpPr>
            <p:spPr bwMode="auto">
              <a:xfrm>
                <a:off x="1029077" y="1515477"/>
                <a:ext cx="276632" cy="275333"/>
              </a:xfrm>
              <a:custGeom>
                <a:avLst/>
                <a:gdLst>
                  <a:gd name="connsiteX0" fmla="*/ 262525 w 338138"/>
                  <a:gd name="connsiteY0" fmla="*/ 84138 h 336551"/>
                  <a:gd name="connsiteX1" fmla="*/ 314260 w 338138"/>
                  <a:gd name="connsiteY1" fmla="*/ 84138 h 336551"/>
                  <a:gd name="connsiteX2" fmla="*/ 338138 w 338138"/>
                  <a:gd name="connsiteY2" fmla="*/ 107802 h 336551"/>
                  <a:gd name="connsiteX3" fmla="*/ 338138 w 338138"/>
                  <a:gd name="connsiteY3" fmla="*/ 191940 h 336551"/>
                  <a:gd name="connsiteX4" fmla="*/ 314260 w 338138"/>
                  <a:gd name="connsiteY4" fmla="*/ 216918 h 336551"/>
                  <a:gd name="connsiteX5" fmla="*/ 314260 w 338138"/>
                  <a:gd name="connsiteY5" fmla="*/ 336551 h 336551"/>
                  <a:gd name="connsiteX6" fmla="*/ 241300 w 338138"/>
                  <a:gd name="connsiteY6" fmla="*/ 336551 h 336551"/>
                  <a:gd name="connsiteX7" fmla="*/ 241300 w 338138"/>
                  <a:gd name="connsiteY7" fmla="*/ 240582 h 336551"/>
                  <a:gd name="connsiteX8" fmla="*/ 265178 w 338138"/>
                  <a:gd name="connsiteY8" fmla="*/ 216918 h 336551"/>
                  <a:gd name="connsiteX9" fmla="*/ 265178 w 338138"/>
                  <a:gd name="connsiteY9" fmla="*/ 95970 h 336551"/>
                  <a:gd name="connsiteX10" fmla="*/ 262525 w 338138"/>
                  <a:gd name="connsiteY10" fmla="*/ 84138 h 336551"/>
                  <a:gd name="connsiteX11" fmla="*/ 120477 w 338138"/>
                  <a:gd name="connsiteY11" fmla="*/ 84138 h 336551"/>
                  <a:gd name="connsiteX12" fmla="*/ 217661 w 338138"/>
                  <a:gd name="connsiteY12" fmla="*/ 84138 h 336551"/>
                  <a:gd name="connsiteX13" fmla="*/ 241300 w 338138"/>
                  <a:gd name="connsiteY13" fmla="*/ 107802 h 336551"/>
                  <a:gd name="connsiteX14" fmla="*/ 241300 w 338138"/>
                  <a:gd name="connsiteY14" fmla="*/ 191940 h 336551"/>
                  <a:gd name="connsiteX15" fmla="*/ 217661 w 338138"/>
                  <a:gd name="connsiteY15" fmla="*/ 216918 h 336551"/>
                  <a:gd name="connsiteX16" fmla="*/ 217661 w 338138"/>
                  <a:gd name="connsiteY16" fmla="*/ 336551 h 336551"/>
                  <a:gd name="connsiteX17" fmla="*/ 120477 w 338138"/>
                  <a:gd name="connsiteY17" fmla="*/ 336551 h 336551"/>
                  <a:gd name="connsiteX18" fmla="*/ 120477 w 338138"/>
                  <a:gd name="connsiteY18" fmla="*/ 216918 h 336551"/>
                  <a:gd name="connsiteX19" fmla="*/ 96837 w 338138"/>
                  <a:gd name="connsiteY19" fmla="*/ 191940 h 336551"/>
                  <a:gd name="connsiteX20" fmla="*/ 96837 w 338138"/>
                  <a:gd name="connsiteY20" fmla="*/ 107802 h 336551"/>
                  <a:gd name="connsiteX21" fmla="*/ 120477 w 338138"/>
                  <a:gd name="connsiteY21" fmla="*/ 84138 h 336551"/>
                  <a:gd name="connsiteX22" fmla="*/ 23878 w 338138"/>
                  <a:gd name="connsiteY22" fmla="*/ 84138 h 336551"/>
                  <a:gd name="connsiteX23" fmla="*/ 75613 w 338138"/>
                  <a:gd name="connsiteY23" fmla="*/ 84138 h 336551"/>
                  <a:gd name="connsiteX24" fmla="*/ 72960 w 338138"/>
                  <a:gd name="connsiteY24" fmla="*/ 95970 h 336551"/>
                  <a:gd name="connsiteX25" fmla="*/ 72960 w 338138"/>
                  <a:gd name="connsiteY25" fmla="*/ 216918 h 336551"/>
                  <a:gd name="connsiteX26" fmla="*/ 96838 w 338138"/>
                  <a:gd name="connsiteY26" fmla="*/ 240582 h 336551"/>
                  <a:gd name="connsiteX27" fmla="*/ 96838 w 338138"/>
                  <a:gd name="connsiteY27" fmla="*/ 336551 h 336551"/>
                  <a:gd name="connsiteX28" fmla="*/ 23878 w 338138"/>
                  <a:gd name="connsiteY28" fmla="*/ 336551 h 336551"/>
                  <a:gd name="connsiteX29" fmla="*/ 23878 w 338138"/>
                  <a:gd name="connsiteY29" fmla="*/ 216918 h 336551"/>
                  <a:gd name="connsiteX30" fmla="*/ 0 w 338138"/>
                  <a:gd name="connsiteY30" fmla="*/ 191940 h 336551"/>
                  <a:gd name="connsiteX31" fmla="*/ 0 w 338138"/>
                  <a:gd name="connsiteY31" fmla="*/ 107802 h 336551"/>
                  <a:gd name="connsiteX32" fmla="*/ 23878 w 338138"/>
                  <a:gd name="connsiteY32" fmla="*/ 84138 h 336551"/>
                  <a:gd name="connsiteX33" fmla="*/ 265257 w 338138"/>
                  <a:gd name="connsiteY33" fmla="*/ 0 h 336551"/>
                  <a:gd name="connsiteX34" fmla="*/ 301625 w 338138"/>
                  <a:gd name="connsiteY34" fmla="*/ 35069 h 336551"/>
                  <a:gd name="connsiteX35" fmla="*/ 265257 w 338138"/>
                  <a:gd name="connsiteY35" fmla="*/ 71438 h 336551"/>
                  <a:gd name="connsiteX36" fmla="*/ 248371 w 338138"/>
                  <a:gd name="connsiteY36" fmla="*/ 66242 h 336551"/>
                  <a:gd name="connsiteX37" fmla="*/ 245774 w 338138"/>
                  <a:gd name="connsiteY37" fmla="*/ 64944 h 336551"/>
                  <a:gd name="connsiteX38" fmla="*/ 230187 w 338138"/>
                  <a:gd name="connsiteY38" fmla="*/ 35069 h 336551"/>
                  <a:gd name="connsiteX39" fmla="*/ 265257 w 338138"/>
                  <a:gd name="connsiteY39" fmla="*/ 0 h 336551"/>
                  <a:gd name="connsiteX40" fmla="*/ 169069 w 338138"/>
                  <a:gd name="connsiteY40" fmla="*/ 0 h 336551"/>
                  <a:gd name="connsiteX41" fmla="*/ 204788 w 338138"/>
                  <a:gd name="connsiteY41" fmla="*/ 35719 h 336551"/>
                  <a:gd name="connsiteX42" fmla="*/ 169069 w 338138"/>
                  <a:gd name="connsiteY42" fmla="*/ 71438 h 336551"/>
                  <a:gd name="connsiteX43" fmla="*/ 133350 w 338138"/>
                  <a:gd name="connsiteY43" fmla="*/ 35719 h 336551"/>
                  <a:gd name="connsiteX44" fmla="*/ 169069 w 338138"/>
                  <a:gd name="connsiteY44" fmla="*/ 0 h 336551"/>
                  <a:gd name="connsiteX45" fmla="*/ 72880 w 338138"/>
                  <a:gd name="connsiteY45" fmla="*/ 0 h 336551"/>
                  <a:gd name="connsiteX46" fmla="*/ 107950 w 338138"/>
                  <a:gd name="connsiteY46" fmla="*/ 35069 h 336551"/>
                  <a:gd name="connsiteX47" fmla="*/ 92363 w 338138"/>
                  <a:gd name="connsiteY47" fmla="*/ 64944 h 336551"/>
                  <a:gd name="connsiteX48" fmla="*/ 89766 w 338138"/>
                  <a:gd name="connsiteY48" fmla="*/ 66242 h 336551"/>
                  <a:gd name="connsiteX49" fmla="*/ 72880 w 338138"/>
                  <a:gd name="connsiteY49" fmla="*/ 71438 h 336551"/>
                  <a:gd name="connsiteX50" fmla="*/ 36512 w 338138"/>
                  <a:gd name="connsiteY50" fmla="*/ 35069 h 336551"/>
                  <a:gd name="connsiteX51" fmla="*/ 72880 w 338138"/>
                  <a:gd name="connsiteY51" fmla="*/ 0 h 33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336551">
                    <a:moveTo>
                      <a:pt x="262525" y="84138"/>
                    </a:moveTo>
                    <a:cubicBezTo>
                      <a:pt x="262525" y="84138"/>
                      <a:pt x="262525" y="84138"/>
                      <a:pt x="314260" y="84138"/>
                    </a:cubicBezTo>
                    <a:cubicBezTo>
                      <a:pt x="338138" y="84138"/>
                      <a:pt x="338138" y="107802"/>
                      <a:pt x="338138" y="107802"/>
                    </a:cubicBezTo>
                    <a:cubicBezTo>
                      <a:pt x="338138" y="107802"/>
                      <a:pt x="338138" y="107802"/>
                      <a:pt x="338138" y="191940"/>
                    </a:cubicBezTo>
                    <a:cubicBezTo>
                      <a:pt x="338138" y="216918"/>
                      <a:pt x="314260" y="216918"/>
                      <a:pt x="314260" y="216918"/>
                    </a:cubicBezTo>
                    <a:cubicBezTo>
                      <a:pt x="314260" y="216918"/>
                      <a:pt x="314260" y="216918"/>
                      <a:pt x="314260" y="336551"/>
                    </a:cubicBezTo>
                    <a:cubicBezTo>
                      <a:pt x="314260" y="336551"/>
                      <a:pt x="314260" y="336551"/>
                      <a:pt x="241300" y="336551"/>
                    </a:cubicBezTo>
                    <a:cubicBezTo>
                      <a:pt x="241300" y="336551"/>
                      <a:pt x="241300" y="336551"/>
                      <a:pt x="241300" y="240582"/>
                    </a:cubicBezTo>
                    <a:cubicBezTo>
                      <a:pt x="241300" y="240582"/>
                      <a:pt x="265178" y="240582"/>
                      <a:pt x="265178" y="216918"/>
                    </a:cubicBezTo>
                    <a:cubicBezTo>
                      <a:pt x="265178" y="216918"/>
                      <a:pt x="265178" y="216918"/>
                      <a:pt x="265178" y="95970"/>
                    </a:cubicBezTo>
                    <a:cubicBezTo>
                      <a:pt x="265178" y="95970"/>
                      <a:pt x="265178" y="90711"/>
                      <a:pt x="262525" y="84138"/>
                    </a:cubicBezTo>
                    <a:close/>
                    <a:moveTo>
                      <a:pt x="120477" y="84138"/>
                    </a:moveTo>
                    <a:cubicBezTo>
                      <a:pt x="120477" y="84138"/>
                      <a:pt x="120477" y="84138"/>
                      <a:pt x="217661" y="84138"/>
                    </a:cubicBezTo>
                    <a:cubicBezTo>
                      <a:pt x="241300" y="84138"/>
                      <a:pt x="241300" y="107802"/>
                      <a:pt x="241300" y="107802"/>
                    </a:cubicBezTo>
                    <a:lnTo>
                      <a:pt x="241300" y="191940"/>
                    </a:lnTo>
                    <a:cubicBezTo>
                      <a:pt x="241300" y="216918"/>
                      <a:pt x="217661" y="216918"/>
                      <a:pt x="217661" y="216918"/>
                    </a:cubicBezTo>
                    <a:cubicBezTo>
                      <a:pt x="217661" y="216918"/>
                      <a:pt x="217661" y="216918"/>
                      <a:pt x="217661" y="336551"/>
                    </a:cubicBezTo>
                    <a:cubicBezTo>
                      <a:pt x="217661" y="336551"/>
                      <a:pt x="217661" y="336551"/>
                      <a:pt x="120477" y="336551"/>
                    </a:cubicBezTo>
                    <a:cubicBezTo>
                      <a:pt x="120477" y="336551"/>
                      <a:pt x="120477" y="336551"/>
                      <a:pt x="120477" y="216918"/>
                    </a:cubicBezTo>
                    <a:cubicBezTo>
                      <a:pt x="120477" y="216918"/>
                      <a:pt x="96837" y="216918"/>
                      <a:pt x="96837" y="191940"/>
                    </a:cubicBezTo>
                    <a:cubicBezTo>
                      <a:pt x="96837" y="191940"/>
                      <a:pt x="96837" y="191940"/>
                      <a:pt x="96837" y="107802"/>
                    </a:cubicBezTo>
                    <a:cubicBezTo>
                      <a:pt x="96837" y="84138"/>
                      <a:pt x="120477" y="84138"/>
                      <a:pt x="120477" y="84138"/>
                    </a:cubicBezTo>
                    <a:close/>
                    <a:moveTo>
                      <a:pt x="23878" y="84138"/>
                    </a:moveTo>
                    <a:cubicBezTo>
                      <a:pt x="23878" y="84138"/>
                      <a:pt x="23878" y="84138"/>
                      <a:pt x="75613" y="84138"/>
                    </a:cubicBezTo>
                    <a:cubicBezTo>
                      <a:pt x="72960" y="90711"/>
                      <a:pt x="72960" y="95970"/>
                      <a:pt x="72960" y="95970"/>
                    </a:cubicBezTo>
                    <a:cubicBezTo>
                      <a:pt x="72960" y="95970"/>
                      <a:pt x="72960" y="95970"/>
                      <a:pt x="72960" y="216918"/>
                    </a:cubicBezTo>
                    <a:cubicBezTo>
                      <a:pt x="72960" y="240582"/>
                      <a:pt x="96838" y="240582"/>
                      <a:pt x="96838" y="240582"/>
                    </a:cubicBezTo>
                    <a:cubicBezTo>
                      <a:pt x="96838" y="240582"/>
                      <a:pt x="96838" y="240582"/>
                      <a:pt x="96838" y="336551"/>
                    </a:cubicBezTo>
                    <a:cubicBezTo>
                      <a:pt x="96838" y="336551"/>
                      <a:pt x="96838" y="336551"/>
                      <a:pt x="23878" y="336551"/>
                    </a:cubicBezTo>
                    <a:cubicBezTo>
                      <a:pt x="23878" y="336551"/>
                      <a:pt x="23878" y="336551"/>
                      <a:pt x="23878" y="216918"/>
                    </a:cubicBezTo>
                    <a:cubicBezTo>
                      <a:pt x="23878" y="216918"/>
                      <a:pt x="0" y="216918"/>
                      <a:pt x="0" y="191940"/>
                    </a:cubicBezTo>
                    <a:cubicBezTo>
                      <a:pt x="0" y="191940"/>
                      <a:pt x="0" y="191940"/>
                      <a:pt x="0" y="107802"/>
                    </a:cubicBezTo>
                    <a:cubicBezTo>
                      <a:pt x="0" y="84138"/>
                      <a:pt x="23878" y="84138"/>
                      <a:pt x="23878" y="84138"/>
                    </a:cubicBezTo>
                    <a:close/>
                    <a:moveTo>
                      <a:pt x="265257" y="0"/>
                    </a:moveTo>
                    <a:cubicBezTo>
                      <a:pt x="284740" y="0"/>
                      <a:pt x="301625" y="15586"/>
                      <a:pt x="301625" y="35069"/>
                    </a:cubicBezTo>
                    <a:cubicBezTo>
                      <a:pt x="301625" y="55851"/>
                      <a:pt x="284740" y="71438"/>
                      <a:pt x="265257" y="71438"/>
                    </a:cubicBezTo>
                    <a:cubicBezTo>
                      <a:pt x="258762" y="71438"/>
                      <a:pt x="253567" y="70139"/>
                      <a:pt x="248371" y="66242"/>
                    </a:cubicBezTo>
                    <a:cubicBezTo>
                      <a:pt x="248371" y="66242"/>
                      <a:pt x="247072" y="66242"/>
                      <a:pt x="245774" y="64944"/>
                    </a:cubicBezTo>
                    <a:cubicBezTo>
                      <a:pt x="236681" y="59748"/>
                      <a:pt x="230187" y="48058"/>
                      <a:pt x="230187" y="35069"/>
                    </a:cubicBezTo>
                    <a:cubicBezTo>
                      <a:pt x="230187" y="15586"/>
                      <a:pt x="245774" y="0"/>
                      <a:pt x="265257" y="0"/>
                    </a:cubicBezTo>
                    <a:close/>
                    <a:moveTo>
                      <a:pt x="169069" y="0"/>
                    </a:moveTo>
                    <a:cubicBezTo>
                      <a:pt x="188796" y="0"/>
                      <a:pt x="204788" y="15992"/>
                      <a:pt x="204788" y="35719"/>
                    </a:cubicBezTo>
                    <a:cubicBezTo>
                      <a:pt x="204788" y="55446"/>
                      <a:pt x="188796" y="71438"/>
                      <a:pt x="169069" y="71438"/>
                    </a:cubicBezTo>
                    <a:cubicBezTo>
                      <a:pt x="149342" y="71438"/>
                      <a:pt x="133350" y="55446"/>
                      <a:pt x="133350" y="35719"/>
                    </a:cubicBezTo>
                    <a:cubicBezTo>
                      <a:pt x="133350" y="15992"/>
                      <a:pt x="149342" y="0"/>
                      <a:pt x="169069" y="0"/>
                    </a:cubicBezTo>
                    <a:close/>
                    <a:moveTo>
                      <a:pt x="72880" y="0"/>
                    </a:moveTo>
                    <a:cubicBezTo>
                      <a:pt x="92363" y="0"/>
                      <a:pt x="107950" y="15586"/>
                      <a:pt x="107950" y="35069"/>
                    </a:cubicBezTo>
                    <a:cubicBezTo>
                      <a:pt x="107950" y="48058"/>
                      <a:pt x="101456" y="59748"/>
                      <a:pt x="92363" y="64944"/>
                    </a:cubicBezTo>
                    <a:cubicBezTo>
                      <a:pt x="91065" y="66242"/>
                      <a:pt x="89766" y="66242"/>
                      <a:pt x="89766" y="66242"/>
                    </a:cubicBezTo>
                    <a:cubicBezTo>
                      <a:pt x="84570" y="70139"/>
                      <a:pt x="79375" y="71438"/>
                      <a:pt x="72880" y="71438"/>
                    </a:cubicBezTo>
                    <a:cubicBezTo>
                      <a:pt x="53397" y="71438"/>
                      <a:pt x="36512" y="55851"/>
                      <a:pt x="36512" y="35069"/>
                    </a:cubicBezTo>
                    <a:cubicBezTo>
                      <a:pt x="36512" y="15586"/>
                      <a:pt x="53397" y="0"/>
                      <a:pt x="72880" y="0"/>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6" name="îŝḻíďe"/>
            <p:cNvGrpSpPr/>
            <p:nvPr/>
          </p:nvGrpSpPr>
          <p:grpSpPr>
            <a:xfrm>
              <a:off x="5819174" y="4787099"/>
              <a:ext cx="553644" cy="553644"/>
              <a:chOff x="890572" y="1376323"/>
              <a:chExt cx="553644" cy="553644"/>
            </a:xfrm>
          </p:grpSpPr>
          <p:sp>
            <p:nvSpPr>
              <p:cNvPr id="33" name="ïṧ1îdê"/>
              <p:cNvSpPr/>
              <p:nvPr/>
            </p:nvSpPr>
            <p:spPr>
              <a:xfrm>
                <a:off x="890572" y="1376323"/>
                <a:ext cx="553644" cy="553644"/>
              </a:xfrm>
              <a:prstGeom prst="ellipse">
                <a:avLst/>
              </a:prstGeom>
              <a:solidFill>
                <a:schemeClr val="tx1">
                  <a:lumMod val="50000"/>
                  <a:lumOff val="5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34" name="iṡļiḓê"/>
              <p:cNvSpPr/>
              <p:nvPr/>
            </p:nvSpPr>
            <p:spPr bwMode="auto">
              <a:xfrm>
                <a:off x="1029077" y="1515477"/>
                <a:ext cx="276632" cy="275333"/>
              </a:xfrm>
              <a:custGeom>
                <a:avLst/>
                <a:gdLst>
                  <a:gd name="connsiteX0" fmla="*/ 262525 w 338138"/>
                  <a:gd name="connsiteY0" fmla="*/ 84138 h 336551"/>
                  <a:gd name="connsiteX1" fmla="*/ 314260 w 338138"/>
                  <a:gd name="connsiteY1" fmla="*/ 84138 h 336551"/>
                  <a:gd name="connsiteX2" fmla="*/ 338138 w 338138"/>
                  <a:gd name="connsiteY2" fmla="*/ 107802 h 336551"/>
                  <a:gd name="connsiteX3" fmla="*/ 338138 w 338138"/>
                  <a:gd name="connsiteY3" fmla="*/ 191940 h 336551"/>
                  <a:gd name="connsiteX4" fmla="*/ 314260 w 338138"/>
                  <a:gd name="connsiteY4" fmla="*/ 216918 h 336551"/>
                  <a:gd name="connsiteX5" fmla="*/ 314260 w 338138"/>
                  <a:gd name="connsiteY5" fmla="*/ 336551 h 336551"/>
                  <a:gd name="connsiteX6" fmla="*/ 241300 w 338138"/>
                  <a:gd name="connsiteY6" fmla="*/ 336551 h 336551"/>
                  <a:gd name="connsiteX7" fmla="*/ 241300 w 338138"/>
                  <a:gd name="connsiteY7" fmla="*/ 240582 h 336551"/>
                  <a:gd name="connsiteX8" fmla="*/ 265178 w 338138"/>
                  <a:gd name="connsiteY8" fmla="*/ 216918 h 336551"/>
                  <a:gd name="connsiteX9" fmla="*/ 265178 w 338138"/>
                  <a:gd name="connsiteY9" fmla="*/ 95970 h 336551"/>
                  <a:gd name="connsiteX10" fmla="*/ 262525 w 338138"/>
                  <a:gd name="connsiteY10" fmla="*/ 84138 h 336551"/>
                  <a:gd name="connsiteX11" fmla="*/ 120477 w 338138"/>
                  <a:gd name="connsiteY11" fmla="*/ 84138 h 336551"/>
                  <a:gd name="connsiteX12" fmla="*/ 217661 w 338138"/>
                  <a:gd name="connsiteY12" fmla="*/ 84138 h 336551"/>
                  <a:gd name="connsiteX13" fmla="*/ 241300 w 338138"/>
                  <a:gd name="connsiteY13" fmla="*/ 107802 h 336551"/>
                  <a:gd name="connsiteX14" fmla="*/ 241300 w 338138"/>
                  <a:gd name="connsiteY14" fmla="*/ 191940 h 336551"/>
                  <a:gd name="connsiteX15" fmla="*/ 217661 w 338138"/>
                  <a:gd name="connsiteY15" fmla="*/ 216918 h 336551"/>
                  <a:gd name="connsiteX16" fmla="*/ 217661 w 338138"/>
                  <a:gd name="connsiteY16" fmla="*/ 336551 h 336551"/>
                  <a:gd name="connsiteX17" fmla="*/ 120477 w 338138"/>
                  <a:gd name="connsiteY17" fmla="*/ 336551 h 336551"/>
                  <a:gd name="connsiteX18" fmla="*/ 120477 w 338138"/>
                  <a:gd name="connsiteY18" fmla="*/ 216918 h 336551"/>
                  <a:gd name="connsiteX19" fmla="*/ 96837 w 338138"/>
                  <a:gd name="connsiteY19" fmla="*/ 191940 h 336551"/>
                  <a:gd name="connsiteX20" fmla="*/ 96837 w 338138"/>
                  <a:gd name="connsiteY20" fmla="*/ 107802 h 336551"/>
                  <a:gd name="connsiteX21" fmla="*/ 120477 w 338138"/>
                  <a:gd name="connsiteY21" fmla="*/ 84138 h 336551"/>
                  <a:gd name="connsiteX22" fmla="*/ 23878 w 338138"/>
                  <a:gd name="connsiteY22" fmla="*/ 84138 h 336551"/>
                  <a:gd name="connsiteX23" fmla="*/ 75613 w 338138"/>
                  <a:gd name="connsiteY23" fmla="*/ 84138 h 336551"/>
                  <a:gd name="connsiteX24" fmla="*/ 72960 w 338138"/>
                  <a:gd name="connsiteY24" fmla="*/ 95970 h 336551"/>
                  <a:gd name="connsiteX25" fmla="*/ 72960 w 338138"/>
                  <a:gd name="connsiteY25" fmla="*/ 216918 h 336551"/>
                  <a:gd name="connsiteX26" fmla="*/ 96838 w 338138"/>
                  <a:gd name="connsiteY26" fmla="*/ 240582 h 336551"/>
                  <a:gd name="connsiteX27" fmla="*/ 96838 w 338138"/>
                  <a:gd name="connsiteY27" fmla="*/ 336551 h 336551"/>
                  <a:gd name="connsiteX28" fmla="*/ 23878 w 338138"/>
                  <a:gd name="connsiteY28" fmla="*/ 336551 h 336551"/>
                  <a:gd name="connsiteX29" fmla="*/ 23878 w 338138"/>
                  <a:gd name="connsiteY29" fmla="*/ 216918 h 336551"/>
                  <a:gd name="connsiteX30" fmla="*/ 0 w 338138"/>
                  <a:gd name="connsiteY30" fmla="*/ 191940 h 336551"/>
                  <a:gd name="connsiteX31" fmla="*/ 0 w 338138"/>
                  <a:gd name="connsiteY31" fmla="*/ 107802 h 336551"/>
                  <a:gd name="connsiteX32" fmla="*/ 23878 w 338138"/>
                  <a:gd name="connsiteY32" fmla="*/ 84138 h 336551"/>
                  <a:gd name="connsiteX33" fmla="*/ 265257 w 338138"/>
                  <a:gd name="connsiteY33" fmla="*/ 0 h 336551"/>
                  <a:gd name="connsiteX34" fmla="*/ 301625 w 338138"/>
                  <a:gd name="connsiteY34" fmla="*/ 35069 h 336551"/>
                  <a:gd name="connsiteX35" fmla="*/ 265257 w 338138"/>
                  <a:gd name="connsiteY35" fmla="*/ 71438 h 336551"/>
                  <a:gd name="connsiteX36" fmla="*/ 248371 w 338138"/>
                  <a:gd name="connsiteY36" fmla="*/ 66242 h 336551"/>
                  <a:gd name="connsiteX37" fmla="*/ 245774 w 338138"/>
                  <a:gd name="connsiteY37" fmla="*/ 64944 h 336551"/>
                  <a:gd name="connsiteX38" fmla="*/ 230187 w 338138"/>
                  <a:gd name="connsiteY38" fmla="*/ 35069 h 336551"/>
                  <a:gd name="connsiteX39" fmla="*/ 265257 w 338138"/>
                  <a:gd name="connsiteY39" fmla="*/ 0 h 336551"/>
                  <a:gd name="connsiteX40" fmla="*/ 169069 w 338138"/>
                  <a:gd name="connsiteY40" fmla="*/ 0 h 336551"/>
                  <a:gd name="connsiteX41" fmla="*/ 204788 w 338138"/>
                  <a:gd name="connsiteY41" fmla="*/ 35719 h 336551"/>
                  <a:gd name="connsiteX42" fmla="*/ 169069 w 338138"/>
                  <a:gd name="connsiteY42" fmla="*/ 71438 h 336551"/>
                  <a:gd name="connsiteX43" fmla="*/ 133350 w 338138"/>
                  <a:gd name="connsiteY43" fmla="*/ 35719 h 336551"/>
                  <a:gd name="connsiteX44" fmla="*/ 169069 w 338138"/>
                  <a:gd name="connsiteY44" fmla="*/ 0 h 336551"/>
                  <a:gd name="connsiteX45" fmla="*/ 72880 w 338138"/>
                  <a:gd name="connsiteY45" fmla="*/ 0 h 336551"/>
                  <a:gd name="connsiteX46" fmla="*/ 107950 w 338138"/>
                  <a:gd name="connsiteY46" fmla="*/ 35069 h 336551"/>
                  <a:gd name="connsiteX47" fmla="*/ 92363 w 338138"/>
                  <a:gd name="connsiteY47" fmla="*/ 64944 h 336551"/>
                  <a:gd name="connsiteX48" fmla="*/ 89766 w 338138"/>
                  <a:gd name="connsiteY48" fmla="*/ 66242 h 336551"/>
                  <a:gd name="connsiteX49" fmla="*/ 72880 w 338138"/>
                  <a:gd name="connsiteY49" fmla="*/ 71438 h 336551"/>
                  <a:gd name="connsiteX50" fmla="*/ 36512 w 338138"/>
                  <a:gd name="connsiteY50" fmla="*/ 35069 h 336551"/>
                  <a:gd name="connsiteX51" fmla="*/ 72880 w 338138"/>
                  <a:gd name="connsiteY51" fmla="*/ 0 h 33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336551">
                    <a:moveTo>
                      <a:pt x="262525" y="84138"/>
                    </a:moveTo>
                    <a:cubicBezTo>
                      <a:pt x="262525" y="84138"/>
                      <a:pt x="262525" y="84138"/>
                      <a:pt x="314260" y="84138"/>
                    </a:cubicBezTo>
                    <a:cubicBezTo>
                      <a:pt x="338138" y="84138"/>
                      <a:pt x="338138" y="107802"/>
                      <a:pt x="338138" y="107802"/>
                    </a:cubicBezTo>
                    <a:cubicBezTo>
                      <a:pt x="338138" y="107802"/>
                      <a:pt x="338138" y="107802"/>
                      <a:pt x="338138" y="191940"/>
                    </a:cubicBezTo>
                    <a:cubicBezTo>
                      <a:pt x="338138" y="216918"/>
                      <a:pt x="314260" y="216918"/>
                      <a:pt x="314260" y="216918"/>
                    </a:cubicBezTo>
                    <a:cubicBezTo>
                      <a:pt x="314260" y="216918"/>
                      <a:pt x="314260" y="216918"/>
                      <a:pt x="314260" y="336551"/>
                    </a:cubicBezTo>
                    <a:cubicBezTo>
                      <a:pt x="314260" y="336551"/>
                      <a:pt x="314260" y="336551"/>
                      <a:pt x="241300" y="336551"/>
                    </a:cubicBezTo>
                    <a:cubicBezTo>
                      <a:pt x="241300" y="336551"/>
                      <a:pt x="241300" y="336551"/>
                      <a:pt x="241300" y="240582"/>
                    </a:cubicBezTo>
                    <a:cubicBezTo>
                      <a:pt x="241300" y="240582"/>
                      <a:pt x="265178" y="240582"/>
                      <a:pt x="265178" y="216918"/>
                    </a:cubicBezTo>
                    <a:cubicBezTo>
                      <a:pt x="265178" y="216918"/>
                      <a:pt x="265178" y="216918"/>
                      <a:pt x="265178" y="95970"/>
                    </a:cubicBezTo>
                    <a:cubicBezTo>
                      <a:pt x="265178" y="95970"/>
                      <a:pt x="265178" y="90711"/>
                      <a:pt x="262525" y="84138"/>
                    </a:cubicBezTo>
                    <a:close/>
                    <a:moveTo>
                      <a:pt x="120477" y="84138"/>
                    </a:moveTo>
                    <a:cubicBezTo>
                      <a:pt x="120477" y="84138"/>
                      <a:pt x="120477" y="84138"/>
                      <a:pt x="217661" y="84138"/>
                    </a:cubicBezTo>
                    <a:cubicBezTo>
                      <a:pt x="241300" y="84138"/>
                      <a:pt x="241300" y="107802"/>
                      <a:pt x="241300" y="107802"/>
                    </a:cubicBezTo>
                    <a:lnTo>
                      <a:pt x="241300" y="191940"/>
                    </a:lnTo>
                    <a:cubicBezTo>
                      <a:pt x="241300" y="216918"/>
                      <a:pt x="217661" y="216918"/>
                      <a:pt x="217661" y="216918"/>
                    </a:cubicBezTo>
                    <a:cubicBezTo>
                      <a:pt x="217661" y="216918"/>
                      <a:pt x="217661" y="216918"/>
                      <a:pt x="217661" y="336551"/>
                    </a:cubicBezTo>
                    <a:cubicBezTo>
                      <a:pt x="217661" y="336551"/>
                      <a:pt x="217661" y="336551"/>
                      <a:pt x="120477" y="336551"/>
                    </a:cubicBezTo>
                    <a:cubicBezTo>
                      <a:pt x="120477" y="336551"/>
                      <a:pt x="120477" y="336551"/>
                      <a:pt x="120477" y="216918"/>
                    </a:cubicBezTo>
                    <a:cubicBezTo>
                      <a:pt x="120477" y="216918"/>
                      <a:pt x="96837" y="216918"/>
                      <a:pt x="96837" y="191940"/>
                    </a:cubicBezTo>
                    <a:cubicBezTo>
                      <a:pt x="96837" y="191940"/>
                      <a:pt x="96837" y="191940"/>
                      <a:pt x="96837" y="107802"/>
                    </a:cubicBezTo>
                    <a:cubicBezTo>
                      <a:pt x="96837" y="84138"/>
                      <a:pt x="120477" y="84138"/>
                      <a:pt x="120477" y="84138"/>
                    </a:cubicBezTo>
                    <a:close/>
                    <a:moveTo>
                      <a:pt x="23878" y="84138"/>
                    </a:moveTo>
                    <a:cubicBezTo>
                      <a:pt x="23878" y="84138"/>
                      <a:pt x="23878" y="84138"/>
                      <a:pt x="75613" y="84138"/>
                    </a:cubicBezTo>
                    <a:cubicBezTo>
                      <a:pt x="72960" y="90711"/>
                      <a:pt x="72960" y="95970"/>
                      <a:pt x="72960" y="95970"/>
                    </a:cubicBezTo>
                    <a:cubicBezTo>
                      <a:pt x="72960" y="95970"/>
                      <a:pt x="72960" y="95970"/>
                      <a:pt x="72960" y="216918"/>
                    </a:cubicBezTo>
                    <a:cubicBezTo>
                      <a:pt x="72960" y="240582"/>
                      <a:pt x="96838" y="240582"/>
                      <a:pt x="96838" y="240582"/>
                    </a:cubicBezTo>
                    <a:cubicBezTo>
                      <a:pt x="96838" y="240582"/>
                      <a:pt x="96838" y="240582"/>
                      <a:pt x="96838" y="336551"/>
                    </a:cubicBezTo>
                    <a:cubicBezTo>
                      <a:pt x="96838" y="336551"/>
                      <a:pt x="96838" y="336551"/>
                      <a:pt x="23878" y="336551"/>
                    </a:cubicBezTo>
                    <a:cubicBezTo>
                      <a:pt x="23878" y="336551"/>
                      <a:pt x="23878" y="336551"/>
                      <a:pt x="23878" y="216918"/>
                    </a:cubicBezTo>
                    <a:cubicBezTo>
                      <a:pt x="23878" y="216918"/>
                      <a:pt x="0" y="216918"/>
                      <a:pt x="0" y="191940"/>
                    </a:cubicBezTo>
                    <a:cubicBezTo>
                      <a:pt x="0" y="191940"/>
                      <a:pt x="0" y="191940"/>
                      <a:pt x="0" y="107802"/>
                    </a:cubicBezTo>
                    <a:cubicBezTo>
                      <a:pt x="0" y="84138"/>
                      <a:pt x="23878" y="84138"/>
                      <a:pt x="23878" y="84138"/>
                    </a:cubicBezTo>
                    <a:close/>
                    <a:moveTo>
                      <a:pt x="265257" y="0"/>
                    </a:moveTo>
                    <a:cubicBezTo>
                      <a:pt x="284740" y="0"/>
                      <a:pt x="301625" y="15586"/>
                      <a:pt x="301625" y="35069"/>
                    </a:cubicBezTo>
                    <a:cubicBezTo>
                      <a:pt x="301625" y="55851"/>
                      <a:pt x="284740" y="71438"/>
                      <a:pt x="265257" y="71438"/>
                    </a:cubicBezTo>
                    <a:cubicBezTo>
                      <a:pt x="258762" y="71438"/>
                      <a:pt x="253567" y="70139"/>
                      <a:pt x="248371" y="66242"/>
                    </a:cubicBezTo>
                    <a:cubicBezTo>
                      <a:pt x="248371" y="66242"/>
                      <a:pt x="247072" y="66242"/>
                      <a:pt x="245774" y="64944"/>
                    </a:cubicBezTo>
                    <a:cubicBezTo>
                      <a:pt x="236681" y="59748"/>
                      <a:pt x="230187" y="48058"/>
                      <a:pt x="230187" y="35069"/>
                    </a:cubicBezTo>
                    <a:cubicBezTo>
                      <a:pt x="230187" y="15586"/>
                      <a:pt x="245774" y="0"/>
                      <a:pt x="265257" y="0"/>
                    </a:cubicBezTo>
                    <a:close/>
                    <a:moveTo>
                      <a:pt x="169069" y="0"/>
                    </a:moveTo>
                    <a:cubicBezTo>
                      <a:pt x="188796" y="0"/>
                      <a:pt x="204788" y="15992"/>
                      <a:pt x="204788" y="35719"/>
                    </a:cubicBezTo>
                    <a:cubicBezTo>
                      <a:pt x="204788" y="55446"/>
                      <a:pt x="188796" y="71438"/>
                      <a:pt x="169069" y="71438"/>
                    </a:cubicBezTo>
                    <a:cubicBezTo>
                      <a:pt x="149342" y="71438"/>
                      <a:pt x="133350" y="55446"/>
                      <a:pt x="133350" y="35719"/>
                    </a:cubicBezTo>
                    <a:cubicBezTo>
                      <a:pt x="133350" y="15992"/>
                      <a:pt x="149342" y="0"/>
                      <a:pt x="169069" y="0"/>
                    </a:cubicBezTo>
                    <a:close/>
                    <a:moveTo>
                      <a:pt x="72880" y="0"/>
                    </a:moveTo>
                    <a:cubicBezTo>
                      <a:pt x="92363" y="0"/>
                      <a:pt x="107950" y="15586"/>
                      <a:pt x="107950" y="35069"/>
                    </a:cubicBezTo>
                    <a:cubicBezTo>
                      <a:pt x="107950" y="48058"/>
                      <a:pt x="101456" y="59748"/>
                      <a:pt x="92363" y="64944"/>
                    </a:cubicBezTo>
                    <a:cubicBezTo>
                      <a:pt x="91065" y="66242"/>
                      <a:pt x="89766" y="66242"/>
                      <a:pt x="89766" y="66242"/>
                    </a:cubicBezTo>
                    <a:cubicBezTo>
                      <a:pt x="84570" y="70139"/>
                      <a:pt x="79375" y="71438"/>
                      <a:pt x="72880" y="71438"/>
                    </a:cubicBezTo>
                    <a:cubicBezTo>
                      <a:pt x="53397" y="71438"/>
                      <a:pt x="36512" y="55851"/>
                      <a:pt x="36512" y="35069"/>
                    </a:cubicBezTo>
                    <a:cubicBezTo>
                      <a:pt x="36512" y="15586"/>
                      <a:pt x="53397" y="0"/>
                      <a:pt x="72880" y="0"/>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27" name="ïşḻîḋe"/>
            <p:cNvGrpSpPr/>
            <p:nvPr/>
          </p:nvGrpSpPr>
          <p:grpSpPr>
            <a:xfrm>
              <a:off x="9490030" y="4787099"/>
              <a:ext cx="553644" cy="553644"/>
              <a:chOff x="890572" y="1376323"/>
              <a:chExt cx="553644" cy="553644"/>
            </a:xfrm>
          </p:grpSpPr>
          <p:sp>
            <p:nvSpPr>
              <p:cNvPr id="31" name="ïŝḻiḋé"/>
              <p:cNvSpPr/>
              <p:nvPr/>
            </p:nvSpPr>
            <p:spPr>
              <a:xfrm>
                <a:off x="890572" y="1376323"/>
                <a:ext cx="553644" cy="553644"/>
              </a:xfrm>
              <a:prstGeom prst="ellipse">
                <a:avLst/>
              </a:prstGeom>
              <a:solidFill>
                <a:schemeClr val="tx1">
                  <a:lumMod val="50000"/>
                  <a:lumOff val="5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32" name="i$ḻîḍe"/>
              <p:cNvSpPr/>
              <p:nvPr/>
            </p:nvSpPr>
            <p:spPr bwMode="auto">
              <a:xfrm>
                <a:off x="1029077" y="1515477"/>
                <a:ext cx="276632" cy="275333"/>
              </a:xfrm>
              <a:custGeom>
                <a:avLst/>
                <a:gdLst>
                  <a:gd name="connsiteX0" fmla="*/ 262525 w 338138"/>
                  <a:gd name="connsiteY0" fmla="*/ 84138 h 336551"/>
                  <a:gd name="connsiteX1" fmla="*/ 314260 w 338138"/>
                  <a:gd name="connsiteY1" fmla="*/ 84138 h 336551"/>
                  <a:gd name="connsiteX2" fmla="*/ 338138 w 338138"/>
                  <a:gd name="connsiteY2" fmla="*/ 107802 h 336551"/>
                  <a:gd name="connsiteX3" fmla="*/ 338138 w 338138"/>
                  <a:gd name="connsiteY3" fmla="*/ 191940 h 336551"/>
                  <a:gd name="connsiteX4" fmla="*/ 314260 w 338138"/>
                  <a:gd name="connsiteY4" fmla="*/ 216918 h 336551"/>
                  <a:gd name="connsiteX5" fmla="*/ 314260 w 338138"/>
                  <a:gd name="connsiteY5" fmla="*/ 336551 h 336551"/>
                  <a:gd name="connsiteX6" fmla="*/ 241300 w 338138"/>
                  <a:gd name="connsiteY6" fmla="*/ 336551 h 336551"/>
                  <a:gd name="connsiteX7" fmla="*/ 241300 w 338138"/>
                  <a:gd name="connsiteY7" fmla="*/ 240582 h 336551"/>
                  <a:gd name="connsiteX8" fmla="*/ 265178 w 338138"/>
                  <a:gd name="connsiteY8" fmla="*/ 216918 h 336551"/>
                  <a:gd name="connsiteX9" fmla="*/ 265178 w 338138"/>
                  <a:gd name="connsiteY9" fmla="*/ 95970 h 336551"/>
                  <a:gd name="connsiteX10" fmla="*/ 262525 w 338138"/>
                  <a:gd name="connsiteY10" fmla="*/ 84138 h 336551"/>
                  <a:gd name="connsiteX11" fmla="*/ 120477 w 338138"/>
                  <a:gd name="connsiteY11" fmla="*/ 84138 h 336551"/>
                  <a:gd name="connsiteX12" fmla="*/ 217661 w 338138"/>
                  <a:gd name="connsiteY12" fmla="*/ 84138 h 336551"/>
                  <a:gd name="connsiteX13" fmla="*/ 241300 w 338138"/>
                  <a:gd name="connsiteY13" fmla="*/ 107802 h 336551"/>
                  <a:gd name="connsiteX14" fmla="*/ 241300 w 338138"/>
                  <a:gd name="connsiteY14" fmla="*/ 191940 h 336551"/>
                  <a:gd name="connsiteX15" fmla="*/ 217661 w 338138"/>
                  <a:gd name="connsiteY15" fmla="*/ 216918 h 336551"/>
                  <a:gd name="connsiteX16" fmla="*/ 217661 w 338138"/>
                  <a:gd name="connsiteY16" fmla="*/ 336551 h 336551"/>
                  <a:gd name="connsiteX17" fmla="*/ 120477 w 338138"/>
                  <a:gd name="connsiteY17" fmla="*/ 336551 h 336551"/>
                  <a:gd name="connsiteX18" fmla="*/ 120477 w 338138"/>
                  <a:gd name="connsiteY18" fmla="*/ 216918 h 336551"/>
                  <a:gd name="connsiteX19" fmla="*/ 96837 w 338138"/>
                  <a:gd name="connsiteY19" fmla="*/ 191940 h 336551"/>
                  <a:gd name="connsiteX20" fmla="*/ 96837 w 338138"/>
                  <a:gd name="connsiteY20" fmla="*/ 107802 h 336551"/>
                  <a:gd name="connsiteX21" fmla="*/ 120477 w 338138"/>
                  <a:gd name="connsiteY21" fmla="*/ 84138 h 336551"/>
                  <a:gd name="connsiteX22" fmla="*/ 23878 w 338138"/>
                  <a:gd name="connsiteY22" fmla="*/ 84138 h 336551"/>
                  <a:gd name="connsiteX23" fmla="*/ 75613 w 338138"/>
                  <a:gd name="connsiteY23" fmla="*/ 84138 h 336551"/>
                  <a:gd name="connsiteX24" fmla="*/ 72960 w 338138"/>
                  <a:gd name="connsiteY24" fmla="*/ 95970 h 336551"/>
                  <a:gd name="connsiteX25" fmla="*/ 72960 w 338138"/>
                  <a:gd name="connsiteY25" fmla="*/ 216918 h 336551"/>
                  <a:gd name="connsiteX26" fmla="*/ 96838 w 338138"/>
                  <a:gd name="connsiteY26" fmla="*/ 240582 h 336551"/>
                  <a:gd name="connsiteX27" fmla="*/ 96838 w 338138"/>
                  <a:gd name="connsiteY27" fmla="*/ 336551 h 336551"/>
                  <a:gd name="connsiteX28" fmla="*/ 23878 w 338138"/>
                  <a:gd name="connsiteY28" fmla="*/ 336551 h 336551"/>
                  <a:gd name="connsiteX29" fmla="*/ 23878 w 338138"/>
                  <a:gd name="connsiteY29" fmla="*/ 216918 h 336551"/>
                  <a:gd name="connsiteX30" fmla="*/ 0 w 338138"/>
                  <a:gd name="connsiteY30" fmla="*/ 191940 h 336551"/>
                  <a:gd name="connsiteX31" fmla="*/ 0 w 338138"/>
                  <a:gd name="connsiteY31" fmla="*/ 107802 h 336551"/>
                  <a:gd name="connsiteX32" fmla="*/ 23878 w 338138"/>
                  <a:gd name="connsiteY32" fmla="*/ 84138 h 336551"/>
                  <a:gd name="connsiteX33" fmla="*/ 265257 w 338138"/>
                  <a:gd name="connsiteY33" fmla="*/ 0 h 336551"/>
                  <a:gd name="connsiteX34" fmla="*/ 301625 w 338138"/>
                  <a:gd name="connsiteY34" fmla="*/ 35069 h 336551"/>
                  <a:gd name="connsiteX35" fmla="*/ 265257 w 338138"/>
                  <a:gd name="connsiteY35" fmla="*/ 71438 h 336551"/>
                  <a:gd name="connsiteX36" fmla="*/ 248371 w 338138"/>
                  <a:gd name="connsiteY36" fmla="*/ 66242 h 336551"/>
                  <a:gd name="connsiteX37" fmla="*/ 245774 w 338138"/>
                  <a:gd name="connsiteY37" fmla="*/ 64944 h 336551"/>
                  <a:gd name="connsiteX38" fmla="*/ 230187 w 338138"/>
                  <a:gd name="connsiteY38" fmla="*/ 35069 h 336551"/>
                  <a:gd name="connsiteX39" fmla="*/ 265257 w 338138"/>
                  <a:gd name="connsiteY39" fmla="*/ 0 h 336551"/>
                  <a:gd name="connsiteX40" fmla="*/ 169069 w 338138"/>
                  <a:gd name="connsiteY40" fmla="*/ 0 h 336551"/>
                  <a:gd name="connsiteX41" fmla="*/ 204788 w 338138"/>
                  <a:gd name="connsiteY41" fmla="*/ 35719 h 336551"/>
                  <a:gd name="connsiteX42" fmla="*/ 169069 w 338138"/>
                  <a:gd name="connsiteY42" fmla="*/ 71438 h 336551"/>
                  <a:gd name="connsiteX43" fmla="*/ 133350 w 338138"/>
                  <a:gd name="connsiteY43" fmla="*/ 35719 h 336551"/>
                  <a:gd name="connsiteX44" fmla="*/ 169069 w 338138"/>
                  <a:gd name="connsiteY44" fmla="*/ 0 h 336551"/>
                  <a:gd name="connsiteX45" fmla="*/ 72880 w 338138"/>
                  <a:gd name="connsiteY45" fmla="*/ 0 h 336551"/>
                  <a:gd name="connsiteX46" fmla="*/ 107950 w 338138"/>
                  <a:gd name="connsiteY46" fmla="*/ 35069 h 336551"/>
                  <a:gd name="connsiteX47" fmla="*/ 92363 w 338138"/>
                  <a:gd name="connsiteY47" fmla="*/ 64944 h 336551"/>
                  <a:gd name="connsiteX48" fmla="*/ 89766 w 338138"/>
                  <a:gd name="connsiteY48" fmla="*/ 66242 h 336551"/>
                  <a:gd name="connsiteX49" fmla="*/ 72880 w 338138"/>
                  <a:gd name="connsiteY49" fmla="*/ 71438 h 336551"/>
                  <a:gd name="connsiteX50" fmla="*/ 36512 w 338138"/>
                  <a:gd name="connsiteY50" fmla="*/ 35069 h 336551"/>
                  <a:gd name="connsiteX51" fmla="*/ 72880 w 338138"/>
                  <a:gd name="connsiteY51" fmla="*/ 0 h 33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336551">
                    <a:moveTo>
                      <a:pt x="262525" y="84138"/>
                    </a:moveTo>
                    <a:cubicBezTo>
                      <a:pt x="262525" y="84138"/>
                      <a:pt x="262525" y="84138"/>
                      <a:pt x="314260" y="84138"/>
                    </a:cubicBezTo>
                    <a:cubicBezTo>
                      <a:pt x="338138" y="84138"/>
                      <a:pt x="338138" y="107802"/>
                      <a:pt x="338138" y="107802"/>
                    </a:cubicBezTo>
                    <a:cubicBezTo>
                      <a:pt x="338138" y="107802"/>
                      <a:pt x="338138" y="107802"/>
                      <a:pt x="338138" y="191940"/>
                    </a:cubicBezTo>
                    <a:cubicBezTo>
                      <a:pt x="338138" y="216918"/>
                      <a:pt x="314260" y="216918"/>
                      <a:pt x="314260" y="216918"/>
                    </a:cubicBezTo>
                    <a:cubicBezTo>
                      <a:pt x="314260" y="216918"/>
                      <a:pt x="314260" y="216918"/>
                      <a:pt x="314260" y="336551"/>
                    </a:cubicBezTo>
                    <a:cubicBezTo>
                      <a:pt x="314260" y="336551"/>
                      <a:pt x="314260" y="336551"/>
                      <a:pt x="241300" y="336551"/>
                    </a:cubicBezTo>
                    <a:cubicBezTo>
                      <a:pt x="241300" y="336551"/>
                      <a:pt x="241300" y="336551"/>
                      <a:pt x="241300" y="240582"/>
                    </a:cubicBezTo>
                    <a:cubicBezTo>
                      <a:pt x="241300" y="240582"/>
                      <a:pt x="265178" y="240582"/>
                      <a:pt x="265178" y="216918"/>
                    </a:cubicBezTo>
                    <a:cubicBezTo>
                      <a:pt x="265178" y="216918"/>
                      <a:pt x="265178" y="216918"/>
                      <a:pt x="265178" y="95970"/>
                    </a:cubicBezTo>
                    <a:cubicBezTo>
                      <a:pt x="265178" y="95970"/>
                      <a:pt x="265178" y="90711"/>
                      <a:pt x="262525" y="84138"/>
                    </a:cubicBezTo>
                    <a:close/>
                    <a:moveTo>
                      <a:pt x="120477" y="84138"/>
                    </a:moveTo>
                    <a:cubicBezTo>
                      <a:pt x="120477" y="84138"/>
                      <a:pt x="120477" y="84138"/>
                      <a:pt x="217661" y="84138"/>
                    </a:cubicBezTo>
                    <a:cubicBezTo>
                      <a:pt x="241300" y="84138"/>
                      <a:pt x="241300" y="107802"/>
                      <a:pt x="241300" y="107802"/>
                    </a:cubicBezTo>
                    <a:lnTo>
                      <a:pt x="241300" y="191940"/>
                    </a:lnTo>
                    <a:cubicBezTo>
                      <a:pt x="241300" y="216918"/>
                      <a:pt x="217661" y="216918"/>
                      <a:pt x="217661" y="216918"/>
                    </a:cubicBezTo>
                    <a:cubicBezTo>
                      <a:pt x="217661" y="216918"/>
                      <a:pt x="217661" y="216918"/>
                      <a:pt x="217661" y="336551"/>
                    </a:cubicBezTo>
                    <a:cubicBezTo>
                      <a:pt x="217661" y="336551"/>
                      <a:pt x="217661" y="336551"/>
                      <a:pt x="120477" y="336551"/>
                    </a:cubicBezTo>
                    <a:cubicBezTo>
                      <a:pt x="120477" y="336551"/>
                      <a:pt x="120477" y="336551"/>
                      <a:pt x="120477" y="216918"/>
                    </a:cubicBezTo>
                    <a:cubicBezTo>
                      <a:pt x="120477" y="216918"/>
                      <a:pt x="96837" y="216918"/>
                      <a:pt x="96837" y="191940"/>
                    </a:cubicBezTo>
                    <a:cubicBezTo>
                      <a:pt x="96837" y="191940"/>
                      <a:pt x="96837" y="191940"/>
                      <a:pt x="96837" y="107802"/>
                    </a:cubicBezTo>
                    <a:cubicBezTo>
                      <a:pt x="96837" y="84138"/>
                      <a:pt x="120477" y="84138"/>
                      <a:pt x="120477" y="84138"/>
                    </a:cubicBezTo>
                    <a:close/>
                    <a:moveTo>
                      <a:pt x="23878" y="84138"/>
                    </a:moveTo>
                    <a:cubicBezTo>
                      <a:pt x="23878" y="84138"/>
                      <a:pt x="23878" y="84138"/>
                      <a:pt x="75613" y="84138"/>
                    </a:cubicBezTo>
                    <a:cubicBezTo>
                      <a:pt x="72960" y="90711"/>
                      <a:pt x="72960" y="95970"/>
                      <a:pt x="72960" y="95970"/>
                    </a:cubicBezTo>
                    <a:cubicBezTo>
                      <a:pt x="72960" y="95970"/>
                      <a:pt x="72960" y="95970"/>
                      <a:pt x="72960" y="216918"/>
                    </a:cubicBezTo>
                    <a:cubicBezTo>
                      <a:pt x="72960" y="240582"/>
                      <a:pt x="96838" y="240582"/>
                      <a:pt x="96838" y="240582"/>
                    </a:cubicBezTo>
                    <a:cubicBezTo>
                      <a:pt x="96838" y="240582"/>
                      <a:pt x="96838" y="240582"/>
                      <a:pt x="96838" y="336551"/>
                    </a:cubicBezTo>
                    <a:cubicBezTo>
                      <a:pt x="96838" y="336551"/>
                      <a:pt x="96838" y="336551"/>
                      <a:pt x="23878" y="336551"/>
                    </a:cubicBezTo>
                    <a:cubicBezTo>
                      <a:pt x="23878" y="336551"/>
                      <a:pt x="23878" y="336551"/>
                      <a:pt x="23878" y="216918"/>
                    </a:cubicBezTo>
                    <a:cubicBezTo>
                      <a:pt x="23878" y="216918"/>
                      <a:pt x="0" y="216918"/>
                      <a:pt x="0" y="191940"/>
                    </a:cubicBezTo>
                    <a:cubicBezTo>
                      <a:pt x="0" y="191940"/>
                      <a:pt x="0" y="191940"/>
                      <a:pt x="0" y="107802"/>
                    </a:cubicBezTo>
                    <a:cubicBezTo>
                      <a:pt x="0" y="84138"/>
                      <a:pt x="23878" y="84138"/>
                      <a:pt x="23878" y="84138"/>
                    </a:cubicBezTo>
                    <a:close/>
                    <a:moveTo>
                      <a:pt x="265257" y="0"/>
                    </a:moveTo>
                    <a:cubicBezTo>
                      <a:pt x="284740" y="0"/>
                      <a:pt x="301625" y="15586"/>
                      <a:pt x="301625" y="35069"/>
                    </a:cubicBezTo>
                    <a:cubicBezTo>
                      <a:pt x="301625" y="55851"/>
                      <a:pt x="284740" y="71438"/>
                      <a:pt x="265257" y="71438"/>
                    </a:cubicBezTo>
                    <a:cubicBezTo>
                      <a:pt x="258762" y="71438"/>
                      <a:pt x="253567" y="70139"/>
                      <a:pt x="248371" y="66242"/>
                    </a:cubicBezTo>
                    <a:cubicBezTo>
                      <a:pt x="248371" y="66242"/>
                      <a:pt x="247072" y="66242"/>
                      <a:pt x="245774" y="64944"/>
                    </a:cubicBezTo>
                    <a:cubicBezTo>
                      <a:pt x="236681" y="59748"/>
                      <a:pt x="230187" y="48058"/>
                      <a:pt x="230187" y="35069"/>
                    </a:cubicBezTo>
                    <a:cubicBezTo>
                      <a:pt x="230187" y="15586"/>
                      <a:pt x="245774" y="0"/>
                      <a:pt x="265257" y="0"/>
                    </a:cubicBezTo>
                    <a:close/>
                    <a:moveTo>
                      <a:pt x="169069" y="0"/>
                    </a:moveTo>
                    <a:cubicBezTo>
                      <a:pt x="188796" y="0"/>
                      <a:pt x="204788" y="15992"/>
                      <a:pt x="204788" y="35719"/>
                    </a:cubicBezTo>
                    <a:cubicBezTo>
                      <a:pt x="204788" y="55446"/>
                      <a:pt x="188796" y="71438"/>
                      <a:pt x="169069" y="71438"/>
                    </a:cubicBezTo>
                    <a:cubicBezTo>
                      <a:pt x="149342" y="71438"/>
                      <a:pt x="133350" y="55446"/>
                      <a:pt x="133350" y="35719"/>
                    </a:cubicBezTo>
                    <a:cubicBezTo>
                      <a:pt x="133350" y="15992"/>
                      <a:pt x="149342" y="0"/>
                      <a:pt x="169069" y="0"/>
                    </a:cubicBezTo>
                    <a:close/>
                    <a:moveTo>
                      <a:pt x="72880" y="0"/>
                    </a:moveTo>
                    <a:cubicBezTo>
                      <a:pt x="92363" y="0"/>
                      <a:pt x="107950" y="15586"/>
                      <a:pt x="107950" y="35069"/>
                    </a:cubicBezTo>
                    <a:cubicBezTo>
                      <a:pt x="107950" y="48058"/>
                      <a:pt x="101456" y="59748"/>
                      <a:pt x="92363" y="64944"/>
                    </a:cubicBezTo>
                    <a:cubicBezTo>
                      <a:pt x="91065" y="66242"/>
                      <a:pt x="89766" y="66242"/>
                      <a:pt x="89766" y="66242"/>
                    </a:cubicBezTo>
                    <a:cubicBezTo>
                      <a:pt x="84570" y="70139"/>
                      <a:pt x="79375" y="71438"/>
                      <a:pt x="72880" y="71438"/>
                    </a:cubicBezTo>
                    <a:cubicBezTo>
                      <a:pt x="53397" y="71438"/>
                      <a:pt x="36512" y="55851"/>
                      <a:pt x="36512" y="35069"/>
                    </a:cubicBezTo>
                    <a:cubicBezTo>
                      <a:pt x="36512" y="15586"/>
                      <a:pt x="53397" y="0"/>
                      <a:pt x="72880" y="0"/>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28" name="íśliḋé"/>
            <p:cNvSpPr/>
            <p:nvPr/>
          </p:nvSpPr>
          <p:spPr>
            <a:xfrm>
              <a:off x="673102" y="5469606"/>
              <a:ext cx="3504081" cy="490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b="1" dirty="0">
                  <a:solidFill>
                    <a:schemeClr val="tx1"/>
                  </a:solidFill>
                </a:rPr>
                <a:t>旁路缓存</a:t>
              </a:r>
            </a:p>
          </p:txBody>
        </p:sp>
        <p:sp>
          <p:nvSpPr>
            <p:cNvPr id="29" name="íş1îḑè"/>
            <p:cNvSpPr/>
            <p:nvPr/>
          </p:nvSpPr>
          <p:spPr>
            <a:xfrm>
              <a:off x="4343960" y="5469606"/>
              <a:ext cx="3504081" cy="490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b="1" dirty="0">
                  <a:solidFill>
                    <a:schemeClr val="tx1"/>
                  </a:solidFill>
                </a:rPr>
                <a:t>读写穿透</a:t>
              </a:r>
            </a:p>
          </p:txBody>
        </p:sp>
        <p:sp>
          <p:nvSpPr>
            <p:cNvPr id="30" name="ïŝḻíḋè"/>
            <p:cNvSpPr/>
            <p:nvPr/>
          </p:nvSpPr>
          <p:spPr>
            <a:xfrm>
              <a:off x="8014816" y="5469606"/>
              <a:ext cx="3504081" cy="490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b="1" dirty="0">
                  <a:solidFill>
                    <a:schemeClr val="tx1"/>
                  </a:solidFill>
                </a:rPr>
                <a:t>异步缓存写入</a:t>
              </a: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t>旁路缓存</a:t>
            </a:r>
            <a:r>
              <a:rPr lang="en-US" altLang="zh-CN" dirty="0"/>
              <a:t>-Cache Aside</a:t>
            </a:r>
            <a:r>
              <a:rPr lang="zh-CN" altLang="en-US" dirty="0"/>
              <a:t>模式</a:t>
            </a:r>
          </a:p>
        </p:txBody>
      </p:sp>
      <p:sp>
        <p:nvSpPr>
          <p:cNvPr id="7" name="iṡľïḑè"/>
          <p:cNvSpPr txBox="1"/>
          <p:nvPr/>
        </p:nvSpPr>
        <p:spPr bwMode="auto">
          <a:xfrm>
            <a:off x="669925" y="1410970"/>
            <a:ext cx="5521325"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使用最广泛</a:t>
            </a: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懒加载思想</a:t>
            </a:r>
            <a:endParaRPr lang="zh-CN" altLang="en-US" sz="4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业务易用性欠佳，同时感知</a:t>
            </a:r>
            <a:r>
              <a:rPr lang="en-US" altLang="zh-CN" sz="2000" b="0" dirty="0">
                <a:solidFill>
                  <a:schemeClr val="bg1">
                    <a:lumMod val="50000"/>
                  </a:schemeClr>
                </a:solidFill>
                <a:latin typeface="+mn-lt"/>
                <a:ea typeface="+mn-ea"/>
                <a:sym typeface="+mn-lt"/>
              </a:rPr>
              <a:t>Cache</a:t>
            </a:r>
            <a:r>
              <a:rPr lang="zh-CN" altLang="en-US" sz="2000" b="0" dirty="0">
                <a:solidFill>
                  <a:schemeClr val="bg1">
                    <a:lumMod val="50000"/>
                  </a:schemeClr>
                </a:solidFill>
                <a:latin typeface="+mn-lt"/>
                <a:ea typeface="+mn-ea"/>
                <a:sym typeface="+mn-lt"/>
              </a:rPr>
              <a:t>与</a:t>
            </a:r>
            <a:r>
              <a:rPr lang="en-US" altLang="zh-CN" sz="2000" b="0" dirty="0">
                <a:solidFill>
                  <a:schemeClr val="bg1">
                    <a:lumMod val="50000"/>
                  </a:schemeClr>
                </a:solidFill>
                <a:latin typeface="+mn-lt"/>
                <a:ea typeface="+mn-ea"/>
                <a:sym typeface="+mn-lt"/>
              </a:rPr>
              <a:t>DB</a:t>
            </a:r>
            <a:endParaRPr lang="zh-CN" altLang="en-US" sz="2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正常情况下一致性尚可</a:t>
            </a:r>
          </a:p>
          <a:p>
            <a:pPr marL="285750" indent="-285750">
              <a:lnSpc>
                <a:spcPct val="150000"/>
              </a:lnSpc>
              <a:buFont typeface="Wingdings" panose="05000000000000000000" charset="0"/>
              <a:buChar char=""/>
            </a:pPr>
            <a:r>
              <a:rPr lang="en-US" altLang="zh-CN" sz="2000" b="0" dirty="0">
                <a:solidFill>
                  <a:schemeClr val="bg1">
                    <a:lumMod val="50000"/>
                  </a:schemeClr>
                </a:solidFill>
                <a:latin typeface="+mn-lt"/>
                <a:ea typeface="+mn-ea"/>
                <a:sym typeface="+mn-lt"/>
              </a:rPr>
              <a:t>DB</a:t>
            </a:r>
            <a:r>
              <a:rPr lang="zh-CN" altLang="en-US" sz="2000" b="0" dirty="0">
                <a:solidFill>
                  <a:schemeClr val="bg1">
                    <a:lumMod val="50000"/>
                  </a:schemeClr>
                </a:solidFill>
                <a:latin typeface="+mn-lt"/>
                <a:ea typeface="+mn-ea"/>
                <a:sym typeface="+mn-lt"/>
              </a:rPr>
              <a:t>操作为准，</a:t>
            </a:r>
            <a:r>
              <a:rPr lang="en-US" altLang="zh-CN" sz="2000" b="0" dirty="0">
                <a:solidFill>
                  <a:schemeClr val="bg1">
                    <a:lumMod val="50000"/>
                  </a:schemeClr>
                </a:solidFill>
                <a:latin typeface="+mn-lt"/>
                <a:ea typeface="+mn-ea"/>
                <a:sym typeface="+mn-lt"/>
              </a:rPr>
              <a:t>Cache</a:t>
            </a:r>
            <a:r>
              <a:rPr lang="zh-CN" altLang="en-US" sz="2000" b="0" dirty="0">
                <a:solidFill>
                  <a:schemeClr val="bg1">
                    <a:lumMod val="50000"/>
                  </a:schemeClr>
                </a:solidFill>
                <a:latin typeface="+mn-lt"/>
                <a:ea typeface="+mn-ea"/>
                <a:sym typeface="+mn-lt"/>
              </a:rPr>
              <a:t>可能延迟更新</a:t>
            </a:r>
          </a:p>
        </p:txBody>
      </p:sp>
      <p:pic>
        <p:nvPicPr>
          <p:cNvPr id="4" name="图片 3"/>
          <p:cNvPicPr>
            <a:picLocks noChangeAspect="1"/>
          </p:cNvPicPr>
          <p:nvPr/>
        </p:nvPicPr>
        <p:blipFill>
          <a:blip r:embed="rId3"/>
          <a:stretch>
            <a:fillRect/>
          </a:stretch>
        </p:blipFill>
        <p:spPr>
          <a:xfrm>
            <a:off x="6191250" y="1028700"/>
            <a:ext cx="5809615" cy="2566670"/>
          </a:xfrm>
          <a:prstGeom prst="rect">
            <a:avLst/>
          </a:prstGeom>
        </p:spPr>
      </p:pic>
      <p:pic>
        <p:nvPicPr>
          <p:cNvPr id="5" name="图片 4"/>
          <p:cNvPicPr>
            <a:picLocks noChangeAspect="1"/>
          </p:cNvPicPr>
          <p:nvPr/>
        </p:nvPicPr>
        <p:blipFill>
          <a:blip r:embed="rId4"/>
          <a:stretch>
            <a:fillRect/>
          </a:stretch>
        </p:blipFill>
        <p:spPr>
          <a:xfrm>
            <a:off x="6191250" y="3885565"/>
            <a:ext cx="5808980" cy="256159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t>读写穿透</a:t>
            </a:r>
            <a:r>
              <a:rPr lang="en-US" altLang="zh-CN" dirty="0"/>
              <a:t>-Read/Write Through</a:t>
            </a:r>
          </a:p>
        </p:txBody>
      </p:sp>
      <p:sp>
        <p:nvSpPr>
          <p:cNvPr id="7" name="iṡľïḑè"/>
          <p:cNvSpPr txBox="1"/>
          <p:nvPr/>
        </p:nvSpPr>
        <p:spPr bwMode="auto">
          <a:xfrm>
            <a:off x="669925" y="1511300"/>
            <a:ext cx="5521325"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endParaRPr lang="zh-CN" altLang="en-US" sz="2000" b="0" dirty="0">
              <a:solidFill>
                <a:schemeClr val="bg1">
                  <a:lumMod val="50000"/>
                </a:schemeClr>
              </a:solidFill>
              <a:latin typeface="+mn-lt"/>
              <a:ea typeface="+mn-ea"/>
              <a:sym typeface="+mn-lt"/>
            </a:endParaRPr>
          </a:p>
        </p:txBody>
      </p:sp>
      <p:pic>
        <p:nvPicPr>
          <p:cNvPr id="9" name="图片 8"/>
          <p:cNvPicPr>
            <a:picLocks noChangeAspect="1"/>
          </p:cNvPicPr>
          <p:nvPr/>
        </p:nvPicPr>
        <p:blipFill>
          <a:blip r:embed="rId3"/>
          <a:stretch>
            <a:fillRect/>
          </a:stretch>
        </p:blipFill>
        <p:spPr>
          <a:xfrm>
            <a:off x="6191885" y="1181735"/>
            <a:ext cx="5682615" cy="5417820"/>
          </a:xfrm>
          <a:prstGeom prst="rect">
            <a:avLst/>
          </a:prstGeom>
        </p:spPr>
      </p:pic>
      <p:sp>
        <p:nvSpPr>
          <p:cNvPr id="10" name="iṡľïḑè"/>
          <p:cNvSpPr txBox="1"/>
          <p:nvPr/>
        </p:nvSpPr>
        <p:spPr bwMode="auto">
          <a:xfrm>
            <a:off x="669925" y="1410970"/>
            <a:ext cx="5521325"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懒加载思想</a:t>
            </a:r>
            <a:endParaRPr lang="zh-CN" altLang="en-US" sz="4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业务易用性较好，仅感知</a:t>
            </a:r>
            <a:r>
              <a:rPr lang="en-US" altLang="zh-CN" sz="2000" b="0" dirty="0">
                <a:solidFill>
                  <a:schemeClr val="bg1">
                    <a:lumMod val="50000"/>
                  </a:schemeClr>
                </a:solidFill>
                <a:latin typeface="+mn-lt"/>
                <a:ea typeface="+mn-ea"/>
                <a:sym typeface="+mn-lt"/>
              </a:rPr>
              <a:t>Cache</a:t>
            </a:r>
            <a:endParaRPr lang="zh-CN" altLang="en-US" sz="2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屏蔽缓存与存储系统的数据同步细节</a:t>
            </a: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不具备通用型，常见于缓存中间件</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t>异步缓存写入</a:t>
            </a:r>
            <a:r>
              <a:rPr lang="en-US" dirty="0"/>
              <a:t>-Write Back</a:t>
            </a:r>
            <a:r>
              <a:rPr lang="zh-CN" altLang="en-US" dirty="0"/>
              <a:t>模式</a:t>
            </a:r>
          </a:p>
        </p:txBody>
      </p:sp>
      <p:pic>
        <p:nvPicPr>
          <p:cNvPr id="4" name="图片 3"/>
          <p:cNvPicPr>
            <a:picLocks noChangeAspect="1"/>
          </p:cNvPicPr>
          <p:nvPr/>
        </p:nvPicPr>
        <p:blipFill>
          <a:blip r:embed="rId3"/>
          <a:stretch>
            <a:fillRect/>
          </a:stretch>
        </p:blipFill>
        <p:spPr>
          <a:xfrm>
            <a:off x="5906770" y="1238885"/>
            <a:ext cx="5919470" cy="5208270"/>
          </a:xfrm>
          <a:prstGeom prst="rect">
            <a:avLst/>
          </a:prstGeom>
        </p:spPr>
      </p:pic>
      <p:sp>
        <p:nvSpPr>
          <p:cNvPr id="10" name="iṡľïḑè"/>
          <p:cNvSpPr txBox="1"/>
          <p:nvPr/>
        </p:nvSpPr>
        <p:spPr bwMode="auto">
          <a:xfrm>
            <a:off x="669925" y="1410970"/>
            <a:ext cx="5032375"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写性能好（内存</a:t>
            </a:r>
            <a:r>
              <a:rPr lang="en-US" altLang="zh-CN" sz="2000" b="0" dirty="0">
                <a:solidFill>
                  <a:schemeClr val="bg1">
                    <a:lumMod val="50000"/>
                  </a:schemeClr>
                </a:solidFill>
                <a:latin typeface="+mn-lt"/>
                <a:ea typeface="+mn-ea"/>
                <a:sym typeface="+mn-lt"/>
              </a:rPr>
              <a:t>Buffer, </a:t>
            </a:r>
            <a:r>
              <a:rPr lang="zh-CN" altLang="en-US" sz="2000" b="0" dirty="0">
                <a:solidFill>
                  <a:schemeClr val="bg1">
                    <a:lumMod val="50000"/>
                  </a:schemeClr>
                </a:solidFill>
                <a:latin typeface="+mn-lt"/>
                <a:ea typeface="+mn-ea"/>
                <a:sym typeface="+mn-lt"/>
              </a:rPr>
              <a:t>批量延迟写入）</a:t>
            </a:r>
            <a:endParaRPr lang="zh-CN" altLang="en-US" sz="4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业务易用性较好，仅感知存储</a:t>
            </a: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可能会丢失数据</a:t>
            </a: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实现复杂（需跟踪缓存使用情况）</a:t>
            </a: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磁盘</a:t>
            </a:r>
            <a:r>
              <a:rPr lang="en-US" altLang="zh-CN" sz="2000" b="0" dirty="0">
                <a:solidFill>
                  <a:schemeClr val="bg1">
                    <a:lumMod val="50000"/>
                  </a:schemeClr>
                </a:solidFill>
                <a:latin typeface="+mn-lt"/>
                <a:ea typeface="+mn-ea"/>
                <a:sym typeface="+mn-lt"/>
              </a:rPr>
              <a:t>Page Cache</a:t>
            </a:r>
            <a:r>
              <a:rPr lang="zh-CN" altLang="en-US" sz="2000" b="0" dirty="0">
                <a:solidFill>
                  <a:schemeClr val="bg1">
                    <a:lumMod val="50000"/>
                  </a:schemeClr>
                </a:solidFill>
                <a:latin typeface="+mn-lt"/>
                <a:ea typeface="+mn-ea"/>
                <a:sym typeface="+mn-lt"/>
              </a:rPr>
              <a:t>算法</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íṧḻîďé"/>
          <p:cNvSpPr/>
          <p:nvPr/>
        </p:nvSpPr>
        <p:spPr>
          <a:xfrm flipH="1">
            <a:off x="6324600" y="1"/>
            <a:ext cx="5867401" cy="6858000"/>
          </a:xfrm>
          <a:prstGeom prst="homePlate">
            <a:avLst/>
          </a:prstGeom>
          <a:solidFill>
            <a:schemeClr val="accent1"/>
          </a:solidFill>
          <a:ln w="12700" cap="flat" cmpd="sng" algn="ctr">
            <a:noFill/>
            <a:prstDash val="solid"/>
            <a:miter lim="800000"/>
          </a:ln>
          <a:effectLst/>
        </p:spPr>
        <p:txBody>
          <a:bodyPr wrap="square" lIns="91440" tIns="45720" rIns="91440" bIns="45720" anchor="ctr">
            <a:norm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rgbClr val="FFFFFF"/>
              </a:solidFill>
              <a:effectLst/>
              <a:uLnTx/>
              <a:uFillTx/>
              <a:latin typeface="Arial" panose="020B0604020202090204"/>
              <a:ea typeface="微软雅黑"/>
              <a:cs typeface="+mn-cs"/>
            </a:endParaRPr>
          </a:p>
        </p:txBody>
      </p:sp>
      <p:sp>
        <p:nvSpPr>
          <p:cNvPr id="9" name="išľïḋé"/>
          <p:cNvSpPr txBox="1"/>
          <p:nvPr/>
        </p:nvSpPr>
        <p:spPr>
          <a:xfrm>
            <a:off x="757282" y="2290447"/>
            <a:ext cx="2623091" cy="953135"/>
          </a:xfrm>
          <a:prstGeom prst="rect">
            <a:avLst/>
          </a:prstGeom>
          <a:solidFill>
            <a:schemeClr val="bg1"/>
          </a:solidFill>
        </p:spPr>
        <p:txBody>
          <a:bodyPr wrap="square" rtlCol="0">
            <a:spAutoFit/>
          </a:bodyPr>
          <a:lstStyle/>
          <a:p>
            <a:pPr algn="r"/>
            <a:r>
              <a:rPr lang="tr-TR" sz="2800" dirty="0">
                <a:solidFill>
                  <a:schemeClr val="accent1"/>
                </a:solidFill>
                <a:cs typeface="+mn-ea"/>
                <a:sym typeface="+mn-lt"/>
              </a:rPr>
              <a:t>CONTE</a:t>
            </a:r>
            <a:r>
              <a:rPr lang="tr-TR" sz="100" dirty="0">
                <a:solidFill>
                  <a:schemeClr val="accent1"/>
                </a:solidFill>
                <a:cs typeface="+mn-ea"/>
                <a:sym typeface="+mn-lt"/>
              </a:rPr>
              <a:t> </a:t>
            </a:r>
            <a:r>
              <a:rPr lang="tr-TR" sz="2800" dirty="0">
                <a:solidFill>
                  <a:schemeClr val="accent1"/>
                </a:solidFill>
                <a:cs typeface="+mn-ea"/>
                <a:sym typeface="+mn-lt"/>
              </a:rPr>
              <a:t>NTS</a:t>
            </a:r>
            <a:endParaRPr lang="en-US" sz="2800" dirty="0">
              <a:solidFill>
                <a:schemeClr val="accent1"/>
              </a:solidFill>
              <a:cs typeface="+mn-ea"/>
              <a:sym typeface="+mn-lt"/>
            </a:endParaRPr>
          </a:p>
          <a:p>
            <a:pPr algn="r"/>
            <a:r>
              <a:rPr lang="zh-CN" altLang="en-US" sz="2800" b="1" dirty="0">
                <a:solidFill>
                  <a:schemeClr val="accent1"/>
                </a:solidFill>
                <a:cs typeface="+mn-ea"/>
                <a:sym typeface="+mn-lt"/>
              </a:rPr>
              <a:t>缓存一致性</a:t>
            </a:r>
          </a:p>
        </p:txBody>
      </p:sp>
      <p:grpSp>
        <p:nvGrpSpPr>
          <p:cNvPr id="11" name="组合 10"/>
          <p:cNvGrpSpPr/>
          <p:nvPr/>
        </p:nvGrpSpPr>
        <p:grpSpPr>
          <a:xfrm>
            <a:off x="4431867" y="1303496"/>
            <a:ext cx="5197532" cy="4741942"/>
            <a:chOff x="1637439" y="2251772"/>
            <a:chExt cx="3378619" cy="3082466"/>
          </a:xfrm>
        </p:grpSpPr>
        <p:sp>
          <p:nvSpPr>
            <p:cNvPr id="12" name="íṣlïdé"/>
            <p:cNvSpPr/>
            <p:nvPr/>
          </p:nvSpPr>
          <p:spPr bwMode="auto">
            <a:xfrm>
              <a:off x="2875001" y="2251772"/>
              <a:ext cx="903494" cy="3082466"/>
            </a:xfrm>
            <a:custGeom>
              <a:avLst/>
              <a:gdLst>
                <a:gd name="T0" fmla="*/ 1764 w 4053"/>
                <a:gd name="T1" fmla="*/ 0 h 16197"/>
                <a:gd name="T2" fmla="*/ 2323 w 4053"/>
                <a:gd name="T3" fmla="*/ 0 h 16197"/>
                <a:gd name="T4" fmla="*/ 2323 w 4053"/>
                <a:gd name="T5" fmla="*/ 892 h 16197"/>
                <a:gd name="T6" fmla="*/ 1764 w 4053"/>
                <a:gd name="T7" fmla="*/ 892 h 16197"/>
                <a:gd name="T8" fmla="*/ 1764 w 4053"/>
                <a:gd name="T9" fmla="*/ 0 h 16197"/>
                <a:gd name="T10" fmla="*/ 1831 w 4053"/>
                <a:gd name="T11" fmla="*/ 11317 h 16197"/>
                <a:gd name="T12" fmla="*/ 2256 w 4053"/>
                <a:gd name="T13" fmla="*/ 11317 h 16197"/>
                <a:gd name="T14" fmla="*/ 2256 w 4053"/>
                <a:gd name="T15" fmla="*/ 13709 h 16197"/>
                <a:gd name="T16" fmla="*/ 4053 w 4053"/>
                <a:gd name="T17" fmla="*/ 15988 h 16197"/>
                <a:gd name="T18" fmla="*/ 3787 w 4053"/>
                <a:gd name="T19" fmla="*/ 16197 h 16197"/>
                <a:gd name="T20" fmla="*/ 2256 w 4053"/>
                <a:gd name="T21" fmla="*/ 14256 h 16197"/>
                <a:gd name="T22" fmla="*/ 2256 w 4053"/>
                <a:gd name="T23" fmla="*/ 16151 h 16197"/>
                <a:gd name="T24" fmla="*/ 1831 w 4053"/>
                <a:gd name="T25" fmla="*/ 16151 h 16197"/>
                <a:gd name="T26" fmla="*/ 1831 w 4053"/>
                <a:gd name="T27" fmla="*/ 14215 h 16197"/>
                <a:gd name="T28" fmla="*/ 266 w 4053"/>
                <a:gd name="T29" fmla="*/ 16197 h 16197"/>
                <a:gd name="T30" fmla="*/ 0 w 4053"/>
                <a:gd name="T31" fmla="*/ 15988 h 16197"/>
                <a:gd name="T32" fmla="*/ 1831 w 4053"/>
                <a:gd name="T33" fmla="*/ 13668 h 16197"/>
                <a:gd name="T34" fmla="*/ 1831 w 4053"/>
                <a:gd name="T35" fmla="*/ 11317 h 16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53" h="16197">
                  <a:moveTo>
                    <a:pt x="1764" y="0"/>
                  </a:moveTo>
                  <a:lnTo>
                    <a:pt x="2323" y="0"/>
                  </a:lnTo>
                  <a:lnTo>
                    <a:pt x="2323" y="892"/>
                  </a:lnTo>
                  <a:lnTo>
                    <a:pt x="1764" y="892"/>
                  </a:lnTo>
                  <a:lnTo>
                    <a:pt x="1764" y="0"/>
                  </a:lnTo>
                  <a:close/>
                  <a:moveTo>
                    <a:pt x="1831" y="11317"/>
                  </a:moveTo>
                  <a:lnTo>
                    <a:pt x="2256" y="11317"/>
                  </a:lnTo>
                  <a:lnTo>
                    <a:pt x="2256" y="13709"/>
                  </a:lnTo>
                  <a:lnTo>
                    <a:pt x="4053" y="15988"/>
                  </a:lnTo>
                  <a:lnTo>
                    <a:pt x="3787" y="16197"/>
                  </a:lnTo>
                  <a:lnTo>
                    <a:pt x="2256" y="14256"/>
                  </a:lnTo>
                  <a:lnTo>
                    <a:pt x="2256" y="16151"/>
                  </a:lnTo>
                  <a:lnTo>
                    <a:pt x="1831" y="16151"/>
                  </a:lnTo>
                  <a:lnTo>
                    <a:pt x="1831" y="14215"/>
                  </a:lnTo>
                  <a:lnTo>
                    <a:pt x="266" y="16197"/>
                  </a:lnTo>
                  <a:lnTo>
                    <a:pt x="0" y="15988"/>
                  </a:lnTo>
                  <a:lnTo>
                    <a:pt x="1831" y="13668"/>
                  </a:lnTo>
                  <a:lnTo>
                    <a:pt x="1831" y="11317"/>
                  </a:lnTo>
                  <a:close/>
                </a:path>
              </a:pathLst>
            </a:custGeom>
            <a:solidFill>
              <a:schemeClr val="bg1">
                <a:lumMod val="95000"/>
              </a:schemeClr>
            </a:solidFill>
            <a:ln>
              <a:noFill/>
            </a:ln>
            <a:effectLst>
              <a:outerShdw blurRad="76200" dir="13500000" sy="23000" kx="1200000" algn="br" rotWithShape="0">
                <a:prstClr val="black">
                  <a:alpha val="20000"/>
                </a:prstClr>
              </a:outerShdw>
            </a:effectLst>
          </p:spPr>
          <p:txBody>
            <a:bodyPr wrap="square" lIns="91440" tIns="45720" rIns="91440" bIns="45720" anchor="ctr">
              <a:normAutofit/>
            </a:bodyPr>
            <a:lstStyle/>
            <a:p>
              <a:pPr algn="ctr"/>
              <a:endParaRPr dirty="0"/>
            </a:p>
          </p:txBody>
        </p:sp>
        <p:sp>
          <p:nvSpPr>
            <p:cNvPr id="13" name="ïśļîḋê"/>
            <p:cNvSpPr/>
            <p:nvPr/>
          </p:nvSpPr>
          <p:spPr bwMode="auto">
            <a:xfrm>
              <a:off x="1637439" y="2338707"/>
              <a:ext cx="3378619" cy="2325660"/>
            </a:xfrm>
            <a:custGeom>
              <a:avLst/>
              <a:gdLst>
                <a:gd name="T0" fmla="*/ 233 w 15146"/>
                <a:gd name="T1" fmla="*/ 466 h 10425"/>
                <a:gd name="T2" fmla="*/ 186 w 15146"/>
                <a:gd name="T3" fmla="*/ 460 h 10425"/>
                <a:gd name="T4" fmla="*/ 142 w 15146"/>
                <a:gd name="T5" fmla="*/ 447 h 10425"/>
                <a:gd name="T6" fmla="*/ 68 w 15146"/>
                <a:gd name="T7" fmla="*/ 397 h 10425"/>
                <a:gd name="T8" fmla="*/ 19 w 15146"/>
                <a:gd name="T9" fmla="*/ 323 h 10425"/>
                <a:gd name="T10" fmla="*/ 5 w 15146"/>
                <a:gd name="T11" fmla="*/ 279 h 10425"/>
                <a:gd name="T12" fmla="*/ 0 w 15146"/>
                <a:gd name="T13" fmla="*/ 233 h 10425"/>
                <a:gd name="T14" fmla="*/ 3 w 15146"/>
                <a:gd name="T15" fmla="*/ 197 h 10425"/>
                <a:gd name="T16" fmla="*/ 15 w 15146"/>
                <a:gd name="T17" fmla="*/ 154 h 10425"/>
                <a:gd name="T18" fmla="*/ 54 w 15146"/>
                <a:gd name="T19" fmla="*/ 85 h 10425"/>
                <a:gd name="T20" fmla="*/ 123 w 15146"/>
                <a:gd name="T21" fmla="*/ 28 h 10425"/>
                <a:gd name="T22" fmla="*/ 175 w 15146"/>
                <a:gd name="T23" fmla="*/ 8 h 10425"/>
                <a:gd name="T24" fmla="*/ 221 w 15146"/>
                <a:gd name="T25" fmla="*/ 1 h 10425"/>
                <a:gd name="T26" fmla="*/ 14938 w 15146"/>
                <a:gd name="T27" fmla="*/ 2 h 10425"/>
                <a:gd name="T28" fmla="*/ 14983 w 15146"/>
                <a:gd name="T29" fmla="*/ 11 h 10425"/>
                <a:gd name="T30" fmla="*/ 15044 w 15146"/>
                <a:gd name="T31" fmla="*/ 40 h 10425"/>
                <a:gd name="T32" fmla="*/ 15106 w 15146"/>
                <a:gd name="T33" fmla="*/ 104 h 10425"/>
                <a:gd name="T34" fmla="*/ 15135 w 15146"/>
                <a:gd name="T35" fmla="*/ 164 h 10425"/>
                <a:gd name="T36" fmla="*/ 15145 w 15146"/>
                <a:gd name="T37" fmla="*/ 209 h 10425"/>
                <a:gd name="T38" fmla="*/ 15146 w 15146"/>
                <a:gd name="T39" fmla="*/ 245 h 10425"/>
                <a:gd name="T40" fmla="*/ 15138 w 15146"/>
                <a:gd name="T41" fmla="*/ 291 h 10425"/>
                <a:gd name="T42" fmla="*/ 15118 w 15146"/>
                <a:gd name="T43" fmla="*/ 343 h 10425"/>
                <a:gd name="T44" fmla="*/ 15061 w 15146"/>
                <a:gd name="T45" fmla="*/ 412 h 10425"/>
                <a:gd name="T46" fmla="*/ 14993 w 15146"/>
                <a:gd name="T47" fmla="*/ 451 h 10425"/>
                <a:gd name="T48" fmla="*/ 14949 w 15146"/>
                <a:gd name="T49" fmla="*/ 462 h 10425"/>
                <a:gd name="T50" fmla="*/ 14729 w 15146"/>
                <a:gd name="T51" fmla="*/ 466 h 10425"/>
                <a:gd name="T52" fmla="*/ 14938 w 15146"/>
                <a:gd name="T53" fmla="*/ 9960 h 10425"/>
                <a:gd name="T54" fmla="*/ 14983 w 15146"/>
                <a:gd name="T55" fmla="*/ 9970 h 10425"/>
                <a:gd name="T56" fmla="*/ 15044 w 15146"/>
                <a:gd name="T57" fmla="*/ 9999 h 10425"/>
                <a:gd name="T58" fmla="*/ 15106 w 15146"/>
                <a:gd name="T59" fmla="*/ 10062 h 10425"/>
                <a:gd name="T60" fmla="*/ 15135 w 15146"/>
                <a:gd name="T61" fmla="*/ 10123 h 10425"/>
                <a:gd name="T62" fmla="*/ 15145 w 15146"/>
                <a:gd name="T63" fmla="*/ 10168 h 10425"/>
                <a:gd name="T64" fmla="*/ 15146 w 15146"/>
                <a:gd name="T65" fmla="*/ 10203 h 10425"/>
                <a:gd name="T66" fmla="*/ 15138 w 15146"/>
                <a:gd name="T67" fmla="*/ 10249 h 10425"/>
                <a:gd name="T68" fmla="*/ 15118 w 15146"/>
                <a:gd name="T69" fmla="*/ 10303 h 10425"/>
                <a:gd name="T70" fmla="*/ 15061 w 15146"/>
                <a:gd name="T71" fmla="*/ 10371 h 10425"/>
                <a:gd name="T72" fmla="*/ 14993 w 15146"/>
                <a:gd name="T73" fmla="*/ 10410 h 10425"/>
                <a:gd name="T74" fmla="*/ 14949 w 15146"/>
                <a:gd name="T75" fmla="*/ 10421 h 10425"/>
                <a:gd name="T76" fmla="*/ 233 w 15146"/>
                <a:gd name="T77" fmla="*/ 10425 h 10425"/>
                <a:gd name="T78" fmla="*/ 186 w 15146"/>
                <a:gd name="T79" fmla="*/ 10419 h 10425"/>
                <a:gd name="T80" fmla="*/ 142 w 15146"/>
                <a:gd name="T81" fmla="*/ 10406 h 10425"/>
                <a:gd name="T82" fmla="*/ 68 w 15146"/>
                <a:gd name="T83" fmla="*/ 10356 h 10425"/>
                <a:gd name="T84" fmla="*/ 19 w 15146"/>
                <a:gd name="T85" fmla="*/ 10282 h 10425"/>
                <a:gd name="T86" fmla="*/ 5 w 15146"/>
                <a:gd name="T87" fmla="*/ 10238 h 10425"/>
                <a:gd name="T88" fmla="*/ 0 w 15146"/>
                <a:gd name="T89" fmla="*/ 10191 h 10425"/>
                <a:gd name="T90" fmla="*/ 3 w 15146"/>
                <a:gd name="T91" fmla="*/ 10156 h 10425"/>
                <a:gd name="T92" fmla="*/ 15 w 15146"/>
                <a:gd name="T93" fmla="*/ 10112 h 10425"/>
                <a:gd name="T94" fmla="*/ 54 w 15146"/>
                <a:gd name="T95" fmla="*/ 10044 h 10425"/>
                <a:gd name="T96" fmla="*/ 123 w 15146"/>
                <a:gd name="T97" fmla="*/ 9987 h 10425"/>
                <a:gd name="T98" fmla="*/ 175 w 15146"/>
                <a:gd name="T99" fmla="*/ 9967 h 10425"/>
                <a:gd name="T100" fmla="*/ 221 w 15146"/>
                <a:gd name="T101" fmla="*/ 9959 h 10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46" h="10425">
                  <a:moveTo>
                    <a:pt x="233" y="9959"/>
                  </a:moveTo>
                  <a:lnTo>
                    <a:pt x="418" y="9959"/>
                  </a:lnTo>
                  <a:lnTo>
                    <a:pt x="418" y="466"/>
                  </a:lnTo>
                  <a:lnTo>
                    <a:pt x="233" y="466"/>
                  </a:lnTo>
                  <a:lnTo>
                    <a:pt x="221" y="466"/>
                  </a:lnTo>
                  <a:lnTo>
                    <a:pt x="209" y="465"/>
                  </a:lnTo>
                  <a:lnTo>
                    <a:pt x="198" y="462"/>
                  </a:lnTo>
                  <a:lnTo>
                    <a:pt x="186" y="460"/>
                  </a:lnTo>
                  <a:lnTo>
                    <a:pt x="175" y="458"/>
                  </a:lnTo>
                  <a:lnTo>
                    <a:pt x="164" y="455"/>
                  </a:lnTo>
                  <a:lnTo>
                    <a:pt x="153" y="451"/>
                  </a:lnTo>
                  <a:lnTo>
                    <a:pt x="142" y="447"/>
                  </a:lnTo>
                  <a:lnTo>
                    <a:pt x="123" y="437"/>
                  </a:lnTo>
                  <a:lnTo>
                    <a:pt x="103" y="425"/>
                  </a:lnTo>
                  <a:lnTo>
                    <a:pt x="85" y="412"/>
                  </a:lnTo>
                  <a:lnTo>
                    <a:pt x="68" y="397"/>
                  </a:lnTo>
                  <a:lnTo>
                    <a:pt x="54" y="381"/>
                  </a:lnTo>
                  <a:lnTo>
                    <a:pt x="40" y="363"/>
                  </a:lnTo>
                  <a:lnTo>
                    <a:pt x="29" y="343"/>
                  </a:lnTo>
                  <a:lnTo>
                    <a:pt x="19" y="323"/>
                  </a:lnTo>
                  <a:lnTo>
                    <a:pt x="15" y="313"/>
                  </a:lnTo>
                  <a:lnTo>
                    <a:pt x="10" y="302"/>
                  </a:lnTo>
                  <a:lnTo>
                    <a:pt x="8" y="291"/>
                  </a:lnTo>
                  <a:lnTo>
                    <a:pt x="5" y="279"/>
                  </a:lnTo>
                  <a:lnTo>
                    <a:pt x="3" y="268"/>
                  </a:lnTo>
                  <a:lnTo>
                    <a:pt x="2" y="256"/>
                  </a:lnTo>
                  <a:lnTo>
                    <a:pt x="0" y="245"/>
                  </a:lnTo>
                  <a:lnTo>
                    <a:pt x="0" y="233"/>
                  </a:lnTo>
                  <a:lnTo>
                    <a:pt x="0" y="233"/>
                  </a:lnTo>
                  <a:lnTo>
                    <a:pt x="0" y="221"/>
                  </a:lnTo>
                  <a:lnTo>
                    <a:pt x="2" y="209"/>
                  </a:lnTo>
                  <a:lnTo>
                    <a:pt x="3" y="197"/>
                  </a:lnTo>
                  <a:lnTo>
                    <a:pt x="5" y="186"/>
                  </a:lnTo>
                  <a:lnTo>
                    <a:pt x="8" y="174"/>
                  </a:lnTo>
                  <a:lnTo>
                    <a:pt x="10" y="164"/>
                  </a:lnTo>
                  <a:lnTo>
                    <a:pt x="15" y="154"/>
                  </a:lnTo>
                  <a:lnTo>
                    <a:pt x="19" y="143"/>
                  </a:lnTo>
                  <a:lnTo>
                    <a:pt x="29" y="122"/>
                  </a:lnTo>
                  <a:lnTo>
                    <a:pt x="40" y="104"/>
                  </a:lnTo>
                  <a:lnTo>
                    <a:pt x="54" y="85"/>
                  </a:lnTo>
                  <a:lnTo>
                    <a:pt x="68" y="69"/>
                  </a:lnTo>
                  <a:lnTo>
                    <a:pt x="85" y="53"/>
                  </a:lnTo>
                  <a:lnTo>
                    <a:pt x="103" y="40"/>
                  </a:lnTo>
                  <a:lnTo>
                    <a:pt x="123" y="28"/>
                  </a:lnTo>
                  <a:lnTo>
                    <a:pt x="142" y="19"/>
                  </a:lnTo>
                  <a:lnTo>
                    <a:pt x="153" y="14"/>
                  </a:lnTo>
                  <a:lnTo>
                    <a:pt x="164" y="11"/>
                  </a:lnTo>
                  <a:lnTo>
                    <a:pt x="175" y="8"/>
                  </a:lnTo>
                  <a:lnTo>
                    <a:pt x="186" y="5"/>
                  </a:lnTo>
                  <a:lnTo>
                    <a:pt x="198" y="3"/>
                  </a:lnTo>
                  <a:lnTo>
                    <a:pt x="209" y="2"/>
                  </a:lnTo>
                  <a:lnTo>
                    <a:pt x="221" y="1"/>
                  </a:lnTo>
                  <a:lnTo>
                    <a:pt x="233" y="0"/>
                  </a:lnTo>
                  <a:lnTo>
                    <a:pt x="14914" y="0"/>
                  </a:lnTo>
                  <a:lnTo>
                    <a:pt x="14926" y="1"/>
                  </a:lnTo>
                  <a:lnTo>
                    <a:pt x="14938" y="2"/>
                  </a:lnTo>
                  <a:lnTo>
                    <a:pt x="14949" y="3"/>
                  </a:lnTo>
                  <a:lnTo>
                    <a:pt x="14961" y="5"/>
                  </a:lnTo>
                  <a:lnTo>
                    <a:pt x="14972" y="8"/>
                  </a:lnTo>
                  <a:lnTo>
                    <a:pt x="14983" y="11"/>
                  </a:lnTo>
                  <a:lnTo>
                    <a:pt x="14993" y="14"/>
                  </a:lnTo>
                  <a:lnTo>
                    <a:pt x="15004" y="19"/>
                  </a:lnTo>
                  <a:lnTo>
                    <a:pt x="15024" y="28"/>
                  </a:lnTo>
                  <a:lnTo>
                    <a:pt x="15044" y="40"/>
                  </a:lnTo>
                  <a:lnTo>
                    <a:pt x="15061" y="53"/>
                  </a:lnTo>
                  <a:lnTo>
                    <a:pt x="15077" y="69"/>
                  </a:lnTo>
                  <a:lnTo>
                    <a:pt x="15093" y="85"/>
                  </a:lnTo>
                  <a:lnTo>
                    <a:pt x="15106" y="104"/>
                  </a:lnTo>
                  <a:lnTo>
                    <a:pt x="15118" y="122"/>
                  </a:lnTo>
                  <a:lnTo>
                    <a:pt x="15127" y="143"/>
                  </a:lnTo>
                  <a:lnTo>
                    <a:pt x="15132" y="154"/>
                  </a:lnTo>
                  <a:lnTo>
                    <a:pt x="15135" y="164"/>
                  </a:lnTo>
                  <a:lnTo>
                    <a:pt x="15138" y="174"/>
                  </a:lnTo>
                  <a:lnTo>
                    <a:pt x="15142" y="186"/>
                  </a:lnTo>
                  <a:lnTo>
                    <a:pt x="15144" y="197"/>
                  </a:lnTo>
                  <a:lnTo>
                    <a:pt x="15145" y="209"/>
                  </a:lnTo>
                  <a:lnTo>
                    <a:pt x="15146" y="221"/>
                  </a:lnTo>
                  <a:lnTo>
                    <a:pt x="15146" y="233"/>
                  </a:lnTo>
                  <a:lnTo>
                    <a:pt x="15146" y="233"/>
                  </a:lnTo>
                  <a:lnTo>
                    <a:pt x="15146" y="245"/>
                  </a:lnTo>
                  <a:lnTo>
                    <a:pt x="15145" y="256"/>
                  </a:lnTo>
                  <a:lnTo>
                    <a:pt x="15144" y="268"/>
                  </a:lnTo>
                  <a:lnTo>
                    <a:pt x="15142" y="279"/>
                  </a:lnTo>
                  <a:lnTo>
                    <a:pt x="15138" y="291"/>
                  </a:lnTo>
                  <a:lnTo>
                    <a:pt x="15135" y="302"/>
                  </a:lnTo>
                  <a:lnTo>
                    <a:pt x="15132" y="313"/>
                  </a:lnTo>
                  <a:lnTo>
                    <a:pt x="15127" y="323"/>
                  </a:lnTo>
                  <a:lnTo>
                    <a:pt x="15118" y="343"/>
                  </a:lnTo>
                  <a:lnTo>
                    <a:pt x="15106" y="363"/>
                  </a:lnTo>
                  <a:lnTo>
                    <a:pt x="15093" y="381"/>
                  </a:lnTo>
                  <a:lnTo>
                    <a:pt x="15077" y="397"/>
                  </a:lnTo>
                  <a:lnTo>
                    <a:pt x="15061" y="412"/>
                  </a:lnTo>
                  <a:lnTo>
                    <a:pt x="15044" y="425"/>
                  </a:lnTo>
                  <a:lnTo>
                    <a:pt x="15024" y="437"/>
                  </a:lnTo>
                  <a:lnTo>
                    <a:pt x="15004" y="447"/>
                  </a:lnTo>
                  <a:lnTo>
                    <a:pt x="14993" y="451"/>
                  </a:lnTo>
                  <a:lnTo>
                    <a:pt x="14983" y="455"/>
                  </a:lnTo>
                  <a:lnTo>
                    <a:pt x="14972" y="458"/>
                  </a:lnTo>
                  <a:lnTo>
                    <a:pt x="14961" y="460"/>
                  </a:lnTo>
                  <a:lnTo>
                    <a:pt x="14949" y="462"/>
                  </a:lnTo>
                  <a:lnTo>
                    <a:pt x="14938" y="465"/>
                  </a:lnTo>
                  <a:lnTo>
                    <a:pt x="14926" y="466"/>
                  </a:lnTo>
                  <a:lnTo>
                    <a:pt x="14914" y="466"/>
                  </a:lnTo>
                  <a:lnTo>
                    <a:pt x="14729" y="466"/>
                  </a:lnTo>
                  <a:lnTo>
                    <a:pt x="14729" y="9959"/>
                  </a:lnTo>
                  <a:lnTo>
                    <a:pt x="14914" y="9959"/>
                  </a:lnTo>
                  <a:lnTo>
                    <a:pt x="14926" y="9959"/>
                  </a:lnTo>
                  <a:lnTo>
                    <a:pt x="14938" y="9960"/>
                  </a:lnTo>
                  <a:lnTo>
                    <a:pt x="14949" y="9962"/>
                  </a:lnTo>
                  <a:lnTo>
                    <a:pt x="14961" y="9964"/>
                  </a:lnTo>
                  <a:lnTo>
                    <a:pt x="14972" y="9967"/>
                  </a:lnTo>
                  <a:lnTo>
                    <a:pt x="14983" y="9970"/>
                  </a:lnTo>
                  <a:lnTo>
                    <a:pt x="14993" y="9973"/>
                  </a:lnTo>
                  <a:lnTo>
                    <a:pt x="15004" y="9978"/>
                  </a:lnTo>
                  <a:lnTo>
                    <a:pt x="15024" y="9987"/>
                  </a:lnTo>
                  <a:lnTo>
                    <a:pt x="15044" y="9999"/>
                  </a:lnTo>
                  <a:lnTo>
                    <a:pt x="15061" y="10012"/>
                  </a:lnTo>
                  <a:lnTo>
                    <a:pt x="15077" y="10028"/>
                  </a:lnTo>
                  <a:lnTo>
                    <a:pt x="15093" y="10044"/>
                  </a:lnTo>
                  <a:lnTo>
                    <a:pt x="15106" y="10062"/>
                  </a:lnTo>
                  <a:lnTo>
                    <a:pt x="15118" y="10081"/>
                  </a:lnTo>
                  <a:lnTo>
                    <a:pt x="15127" y="10102"/>
                  </a:lnTo>
                  <a:lnTo>
                    <a:pt x="15132" y="10112"/>
                  </a:lnTo>
                  <a:lnTo>
                    <a:pt x="15135" y="10123"/>
                  </a:lnTo>
                  <a:lnTo>
                    <a:pt x="15138" y="10133"/>
                  </a:lnTo>
                  <a:lnTo>
                    <a:pt x="15142" y="10145"/>
                  </a:lnTo>
                  <a:lnTo>
                    <a:pt x="15144" y="10156"/>
                  </a:lnTo>
                  <a:lnTo>
                    <a:pt x="15145" y="10168"/>
                  </a:lnTo>
                  <a:lnTo>
                    <a:pt x="15146" y="10179"/>
                  </a:lnTo>
                  <a:lnTo>
                    <a:pt x="15146" y="10191"/>
                  </a:lnTo>
                  <a:lnTo>
                    <a:pt x="15146" y="10191"/>
                  </a:lnTo>
                  <a:lnTo>
                    <a:pt x="15146" y="10203"/>
                  </a:lnTo>
                  <a:lnTo>
                    <a:pt x="15145" y="10215"/>
                  </a:lnTo>
                  <a:lnTo>
                    <a:pt x="15144" y="10227"/>
                  </a:lnTo>
                  <a:lnTo>
                    <a:pt x="15142" y="10238"/>
                  </a:lnTo>
                  <a:lnTo>
                    <a:pt x="15138" y="10249"/>
                  </a:lnTo>
                  <a:lnTo>
                    <a:pt x="15135" y="10261"/>
                  </a:lnTo>
                  <a:lnTo>
                    <a:pt x="15132" y="10271"/>
                  </a:lnTo>
                  <a:lnTo>
                    <a:pt x="15127" y="10282"/>
                  </a:lnTo>
                  <a:lnTo>
                    <a:pt x="15118" y="10303"/>
                  </a:lnTo>
                  <a:lnTo>
                    <a:pt x="15106" y="10321"/>
                  </a:lnTo>
                  <a:lnTo>
                    <a:pt x="15093" y="10340"/>
                  </a:lnTo>
                  <a:lnTo>
                    <a:pt x="15077" y="10356"/>
                  </a:lnTo>
                  <a:lnTo>
                    <a:pt x="15061" y="10371"/>
                  </a:lnTo>
                  <a:lnTo>
                    <a:pt x="15044" y="10384"/>
                  </a:lnTo>
                  <a:lnTo>
                    <a:pt x="15024" y="10396"/>
                  </a:lnTo>
                  <a:lnTo>
                    <a:pt x="15004" y="10406"/>
                  </a:lnTo>
                  <a:lnTo>
                    <a:pt x="14993" y="10410"/>
                  </a:lnTo>
                  <a:lnTo>
                    <a:pt x="14983" y="10414"/>
                  </a:lnTo>
                  <a:lnTo>
                    <a:pt x="14972" y="10417"/>
                  </a:lnTo>
                  <a:lnTo>
                    <a:pt x="14961" y="10419"/>
                  </a:lnTo>
                  <a:lnTo>
                    <a:pt x="14949" y="10421"/>
                  </a:lnTo>
                  <a:lnTo>
                    <a:pt x="14938" y="10422"/>
                  </a:lnTo>
                  <a:lnTo>
                    <a:pt x="14926" y="10424"/>
                  </a:lnTo>
                  <a:lnTo>
                    <a:pt x="14914" y="10425"/>
                  </a:lnTo>
                  <a:lnTo>
                    <a:pt x="233" y="10425"/>
                  </a:lnTo>
                  <a:lnTo>
                    <a:pt x="221" y="10424"/>
                  </a:lnTo>
                  <a:lnTo>
                    <a:pt x="209" y="10422"/>
                  </a:lnTo>
                  <a:lnTo>
                    <a:pt x="198" y="10421"/>
                  </a:lnTo>
                  <a:lnTo>
                    <a:pt x="186" y="10419"/>
                  </a:lnTo>
                  <a:lnTo>
                    <a:pt x="175" y="10417"/>
                  </a:lnTo>
                  <a:lnTo>
                    <a:pt x="164" y="10414"/>
                  </a:lnTo>
                  <a:lnTo>
                    <a:pt x="153" y="10410"/>
                  </a:lnTo>
                  <a:lnTo>
                    <a:pt x="142" y="10406"/>
                  </a:lnTo>
                  <a:lnTo>
                    <a:pt x="123" y="10396"/>
                  </a:lnTo>
                  <a:lnTo>
                    <a:pt x="103" y="10384"/>
                  </a:lnTo>
                  <a:lnTo>
                    <a:pt x="85" y="10371"/>
                  </a:lnTo>
                  <a:lnTo>
                    <a:pt x="68" y="10356"/>
                  </a:lnTo>
                  <a:lnTo>
                    <a:pt x="54" y="10340"/>
                  </a:lnTo>
                  <a:lnTo>
                    <a:pt x="40" y="10321"/>
                  </a:lnTo>
                  <a:lnTo>
                    <a:pt x="29" y="10303"/>
                  </a:lnTo>
                  <a:lnTo>
                    <a:pt x="19" y="10282"/>
                  </a:lnTo>
                  <a:lnTo>
                    <a:pt x="15" y="10271"/>
                  </a:lnTo>
                  <a:lnTo>
                    <a:pt x="10" y="10261"/>
                  </a:lnTo>
                  <a:lnTo>
                    <a:pt x="8" y="10249"/>
                  </a:lnTo>
                  <a:lnTo>
                    <a:pt x="5" y="10238"/>
                  </a:lnTo>
                  <a:lnTo>
                    <a:pt x="3" y="10227"/>
                  </a:lnTo>
                  <a:lnTo>
                    <a:pt x="2" y="10215"/>
                  </a:lnTo>
                  <a:lnTo>
                    <a:pt x="0" y="10203"/>
                  </a:lnTo>
                  <a:lnTo>
                    <a:pt x="0" y="10191"/>
                  </a:lnTo>
                  <a:lnTo>
                    <a:pt x="0" y="10191"/>
                  </a:lnTo>
                  <a:lnTo>
                    <a:pt x="0" y="10179"/>
                  </a:lnTo>
                  <a:lnTo>
                    <a:pt x="2" y="10168"/>
                  </a:lnTo>
                  <a:lnTo>
                    <a:pt x="3" y="10156"/>
                  </a:lnTo>
                  <a:lnTo>
                    <a:pt x="5" y="10145"/>
                  </a:lnTo>
                  <a:lnTo>
                    <a:pt x="8" y="10133"/>
                  </a:lnTo>
                  <a:lnTo>
                    <a:pt x="10" y="10123"/>
                  </a:lnTo>
                  <a:lnTo>
                    <a:pt x="15" y="10112"/>
                  </a:lnTo>
                  <a:lnTo>
                    <a:pt x="19" y="10102"/>
                  </a:lnTo>
                  <a:lnTo>
                    <a:pt x="29" y="10081"/>
                  </a:lnTo>
                  <a:lnTo>
                    <a:pt x="40" y="10062"/>
                  </a:lnTo>
                  <a:lnTo>
                    <a:pt x="54" y="10044"/>
                  </a:lnTo>
                  <a:lnTo>
                    <a:pt x="68" y="10028"/>
                  </a:lnTo>
                  <a:lnTo>
                    <a:pt x="85" y="10012"/>
                  </a:lnTo>
                  <a:lnTo>
                    <a:pt x="103" y="9999"/>
                  </a:lnTo>
                  <a:lnTo>
                    <a:pt x="123" y="9987"/>
                  </a:lnTo>
                  <a:lnTo>
                    <a:pt x="142" y="9978"/>
                  </a:lnTo>
                  <a:lnTo>
                    <a:pt x="153" y="9973"/>
                  </a:lnTo>
                  <a:lnTo>
                    <a:pt x="164" y="9970"/>
                  </a:lnTo>
                  <a:lnTo>
                    <a:pt x="175" y="9967"/>
                  </a:lnTo>
                  <a:lnTo>
                    <a:pt x="186" y="9964"/>
                  </a:lnTo>
                  <a:lnTo>
                    <a:pt x="198" y="9962"/>
                  </a:lnTo>
                  <a:lnTo>
                    <a:pt x="209" y="9960"/>
                  </a:lnTo>
                  <a:lnTo>
                    <a:pt x="221" y="9959"/>
                  </a:lnTo>
                  <a:lnTo>
                    <a:pt x="233" y="9959"/>
                  </a:lnTo>
                  <a:close/>
                </a:path>
              </a:pathLst>
            </a:custGeom>
            <a:solidFill>
              <a:schemeClr val="bg1">
                <a:lumMod val="75000"/>
              </a:schemeClr>
            </a:solidFill>
            <a:ln>
              <a:noFill/>
            </a:ln>
          </p:spPr>
          <p:txBody>
            <a:bodyPr wrap="square" lIns="91440" tIns="45720" rIns="91440" bIns="45720" anchor="ctr">
              <a:normAutofit/>
            </a:bodyPr>
            <a:lstStyle/>
            <a:p>
              <a:pPr algn="ctr"/>
              <a:endParaRPr/>
            </a:p>
          </p:txBody>
        </p:sp>
        <p:sp>
          <p:nvSpPr>
            <p:cNvPr id="14" name="íŝḻïḋe"/>
            <p:cNvSpPr/>
            <p:nvPr/>
          </p:nvSpPr>
          <p:spPr bwMode="auto">
            <a:xfrm>
              <a:off x="1765712" y="2443557"/>
              <a:ext cx="3122072" cy="211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p>
          </p:txBody>
        </p:sp>
      </p:grpSp>
      <p:sp>
        <p:nvSpPr>
          <p:cNvPr id="7" name="iṡľïḑè"/>
          <p:cNvSpPr txBox="1"/>
          <p:nvPr/>
        </p:nvSpPr>
        <p:spPr bwMode="auto">
          <a:xfrm>
            <a:off x="4876800" y="2290447"/>
            <a:ext cx="4308673" cy="2383153"/>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342900" indent="-342900">
              <a:lnSpc>
                <a:spcPct val="150000"/>
              </a:lnSpc>
              <a:buFont typeface="+mj-lt"/>
              <a:buAutoNum type="arabicPeriod"/>
            </a:pPr>
            <a:r>
              <a:rPr lang="zh-CN" altLang="en-US" sz="1800" b="0" dirty="0">
                <a:solidFill>
                  <a:schemeClr val="bg1">
                    <a:lumMod val="50000"/>
                  </a:schemeClr>
                </a:solidFill>
                <a:sym typeface="+mn-lt"/>
              </a:rPr>
              <a:t>常见缓存访问模式</a:t>
            </a:r>
          </a:p>
          <a:p>
            <a:pPr marL="342900" indent="-342900">
              <a:lnSpc>
                <a:spcPct val="150000"/>
              </a:lnSpc>
              <a:buFont typeface="+mj-lt"/>
              <a:buAutoNum type="arabicPeriod"/>
            </a:pPr>
            <a:r>
              <a:rPr lang="en-US" altLang="zh-CN" sz="1800" b="0" dirty="0">
                <a:solidFill>
                  <a:schemeClr val="accent1"/>
                </a:solidFill>
                <a:sym typeface="+mn-lt"/>
              </a:rPr>
              <a:t>Cache Aside</a:t>
            </a:r>
            <a:r>
              <a:rPr lang="zh-CN" altLang="en-US" sz="1800" b="0" dirty="0">
                <a:solidFill>
                  <a:schemeClr val="accent1"/>
                </a:solidFill>
                <a:sym typeface="+mn-lt"/>
              </a:rPr>
              <a:t>最佳实践探索</a:t>
            </a:r>
          </a:p>
          <a:p>
            <a:pPr marL="342900" indent="-342900">
              <a:lnSpc>
                <a:spcPct val="150000"/>
              </a:lnSpc>
              <a:buFont typeface="+mj-lt"/>
              <a:buAutoNum type="arabicPeriod"/>
            </a:pPr>
            <a:r>
              <a:rPr lang="zh-CN" altLang="en-US" sz="1800" b="0" dirty="0">
                <a:solidFill>
                  <a:schemeClr val="bg1">
                    <a:lumMod val="50000"/>
                  </a:schemeClr>
                </a:solidFill>
                <a:sym typeface="+mn-lt"/>
              </a:rPr>
              <a:t>如何提升一致性</a:t>
            </a:r>
            <a:endParaRPr lang="zh-CN" altLang="en-US" sz="1800" b="0" dirty="0">
              <a:solidFill>
                <a:schemeClr val="bg1">
                  <a:lumMod val="50000"/>
                </a:schemeClr>
              </a:solidFill>
              <a:latin typeface="+mn-lt"/>
              <a:ea typeface="+mn-ea"/>
              <a:sym typeface="+mn-lt"/>
            </a:endParaRPr>
          </a:p>
        </p:txBody>
      </p:sp>
      <p:sp>
        <p:nvSpPr>
          <p:cNvPr id="15" name="poetry_91022"/>
          <p:cNvSpPr>
            <a:spLocks noChangeAspect="1"/>
          </p:cNvSpPr>
          <p:nvPr/>
        </p:nvSpPr>
        <p:spPr bwMode="auto">
          <a:xfrm>
            <a:off x="10650632" y="5310270"/>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alpha val="39000"/>
            </a:schemeClr>
          </a:solidFill>
          <a:ln>
            <a:noFill/>
          </a:ln>
        </p:spPr>
        <p:txBody>
          <a:bodyPr/>
          <a:lstStyle/>
          <a:p>
            <a:endParaRPr lang="zh-CN" altLang="en-US">
              <a:cs typeface="+mn-ea"/>
              <a:sym typeface="+mn-lt"/>
            </a:endParaRPr>
          </a:p>
        </p:txBody>
      </p:sp>
    </p:spTree>
    <p:extLst>
      <p:ext uri="{BB962C8B-B14F-4D97-AF65-F5344CB8AC3E}">
        <p14:creationId xmlns:p14="http://schemas.microsoft.com/office/powerpoint/2010/main" val="18966447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ache Aside</a:t>
            </a:r>
            <a:r>
              <a:rPr lang="zh-CN" altLang="en-US" dirty="0"/>
              <a:t>最佳实践</a:t>
            </a:r>
            <a:r>
              <a:rPr lang="en-US" altLang="zh-CN" dirty="0"/>
              <a:t>——</a:t>
            </a:r>
            <a:r>
              <a:rPr lang="zh-CN" altLang="en-US" dirty="0"/>
              <a:t>主要内容</a:t>
            </a:r>
          </a:p>
        </p:txBody>
      </p:sp>
      <p:pic>
        <p:nvPicPr>
          <p:cNvPr id="3" name="图片 2"/>
          <p:cNvPicPr>
            <a:picLocks noChangeAspect="1"/>
          </p:cNvPicPr>
          <p:nvPr/>
        </p:nvPicPr>
        <p:blipFill>
          <a:blip r:embed="rId3"/>
          <a:stretch>
            <a:fillRect/>
          </a:stretch>
        </p:blipFill>
        <p:spPr>
          <a:xfrm>
            <a:off x="5837555" y="1328420"/>
            <a:ext cx="6308090" cy="4912360"/>
          </a:xfrm>
          <a:prstGeom prst="rect">
            <a:avLst/>
          </a:prstGeom>
        </p:spPr>
      </p:pic>
      <p:sp>
        <p:nvSpPr>
          <p:cNvPr id="17" name="iṡľïḑè"/>
          <p:cNvSpPr txBox="1"/>
          <p:nvPr/>
        </p:nvSpPr>
        <p:spPr bwMode="auto">
          <a:xfrm>
            <a:off x="669925" y="1328420"/>
            <a:ext cx="5066030" cy="4448175"/>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基本事实</a:t>
            </a:r>
          </a:p>
          <a:p>
            <a:pPr marL="1028700" lvl="1" indent="-571500" algn="l">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读多写少</a:t>
            </a:r>
          </a:p>
          <a:p>
            <a:pPr marL="1028700" lvl="1" indent="-571500" algn="l">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读写操作、或者两个写操作可能同时发生</a:t>
            </a:r>
          </a:p>
          <a:p>
            <a:pPr marL="1028700" lvl="1" indent="-571500" algn="l">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网络IO无法避免</a:t>
            </a:r>
            <a:endParaRPr lang="zh-CN" altLang="en-US" sz="20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四种方法</a:t>
            </a:r>
          </a:p>
          <a:p>
            <a:pPr marL="1028700" lvl="1" indent="-571500" algn="l">
              <a:lnSpc>
                <a:spcPct val="150000"/>
              </a:lnSpc>
              <a:buFont typeface="Wingdings" panose="05000000000000000000" charset="0"/>
              <a:buChar char=""/>
            </a:pPr>
            <a:r>
              <a:rPr lang="en-US" altLang="zh-CN" sz="1400" b="0" dirty="0">
                <a:solidFill>
                  <a:schemeClr val="bg1">
                    <a:lumMod val="50000"/>
                  </a:schemeClr>
                </a:solidFill>
                <a:latin typeface="+mn-lt"/>
                <a:ea typeface="+mn-ea"/>
                <a:sym typeface="+mn-lt"/>
              </a:rPr>
              <a:t>Update Cache, Update DB</a:t>
            </a:r>
          </a:p>
          <a:p>
            <a:pPr marL="1028700" lvl="1" indent="-571500" algn="l">
              <a:lnSpc>
                <a:spcPct val="150000"/>
              </a:lnSpc>
              <a:buFont typeface="Wingdings" panose="05000000000000000000" charset="0"/>
              <a:buChar char=""/>
            </a:pPr>
            <a:r>
              <a:rPr lang="en-US" altLang="zh-CN" sz="1400" b="0" dirty="0">
                <a:solidFill>
                  <a:schemeClr val="bg1">
                    <a:lumMod val="50000"/>
                  </a:schemeClr>
                </a:solidFill>
                <a:latin typeface="+mn-lt"/>
                <a:ea typeface="+mn-ea"/>
                <a:sym typeface="+mn-lt"/>
              </a:rPr>
              <a:t>Update DB, Update Cache</a:t>
            </a:r>
          </a:p>
          <a:p>
            <a:pPr marL="1028700" lvl="1" indent="-571500" algn="l">
              <a:lnSpc>
                <a:spcPct val="150000"/>
              </a:lnSpc>
              <a:buFont typeface="Wingdings" panose="05000000000000000000" charset="0"/>
              <a:buChar char=""/>
            </a:pPr>
            <a:r>
              <a:rPr lang="en-US" altLang="zh-CN" sz="1400" b="0" dirty="0">
                <a:solidFill>
                  <a:schemeClr val="bg1">
                    <a:lumMod val="50000"/>
                  </a:schemeClr>
                </a:solidFill>
                <a:latin typeface="+mn-lt"/>
                <a:ea typeface="+mn-ea"/>
                <a:sym typeface="+mn-lt"/>
              </a:rPr>
              <a:t>Delete Cahe, Update DB</a:t>
            </a:r>
          </a:p>
          <a:p>
            <a:pPr marL="1028700" lvl="1" indent="-571500" algn="l">
              <a:lnSpc>
                <a:spcPct val="150000"/>
              </a:lnSpc>
              <a:buFont typeface="Wingdings" panose="05000000000000000000" charset="0"/>
              <a:buChar char=""/>
            </a:pPr>
            <a:r>
              <a:rPr lang="en-US" altLang="zh-CN" sz="1400" b="0" dirty="0">
                <a:solidFill>
                  <a:schemeClr val="bg1">
                    <a:lumMod val="50000"/>
                  </a:schemeClr>
                </a:solidFill>
                <a:latin typeface="+mn-lt"/>
                <a:ea typeface="+mn-ea"/>
                <a:sym typeface="+mn-lt"/>
              </a:rPr>
              <a:t>Update DB, Delete Cache</a:t>
            </a:r>
            <a:endParaRPr lang="zh-CN" altLang="en-US" sz="14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两个问题</a:t>
            </a: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缓存更新还是删除？</a:t>
            </a:r>
            <a:endParaRPr lang="en-US" altLang="zh-CN" sz="1400" b="0" dirty="0">
              <a:solidFill>
                <a:schemeClr val="bg1">
                  <a:lumMod val="50000"/>
                </a:schemeClr>
              </a:solidFill>
              <a:latin typeface="+mn-lt"/>
              <a:ea typeface="+mn-ea"/>
              <a:sym typeface="+mn-lt"/>
            </a:endParaRP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先操作缓存，还是先操作数据库？</a:t>
            </a:r>
            <a:endParaRPr lang="zh-CN" altLang="en-US" sz="2000" b="0" dirty="0">
              <a:solidFill>
                <a:schemeClr val="bg1">
                  <a:lumMod val="50000"/>
                </a:schemeClr>
              </a:solidFill>
              <a:latin typeface="+mn-lt"/>
              <a:ea typeface="+mn-ea"/>
              <a:sym typeface="+mn-l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a:spLocks noGrp="1"/>
          </p:cNvSpPr>
          <p:nvPr>
            <p:ph type="title"/>
          </p:nvPr>
        </p:nvSpPr>
        <p:spPr/>
        <p:txBody>
          <a:bodyPr/>
          <a:lstStyle/>
          <a:p>
            <a:r>
              <a:rPr lang="zh-CN" altLang="en-US" dirty="0"/>
              <a:t>四种写法</a:t>
            </a:r>
            <a:r>
              <a:rPr lang="en-US" altLang="zh-CN" dirty="0"/>
              <a:t>——</a:t>
            </a:r>
            <a:r>
              <a:rPr lang="zh-CN" altLang="en-US" dirty="0"/>
              <a:t>先更新缓存，后更新存储</a:t>
            </a:r>
          </a:p>
        </p:txBody>
      </p:sp>
      <p:sp>
        <p:nvSpPr>
          <p:cNvPr id="3" name="矩形 2"/>
          <p:cNvSpPr/>
          <p:nvPr/>
        </p:nvSpPr>
        <p:spPr>
          <a:xfrm>
            <a:off x="5903595" y="1840230"/>
            <a:ext cx="2177415" cy="10814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pplication</a:t>
            </a:r>
          </a:p>
        </p:txBody>
      </p:sp>
      <p:sp>
        <p:nvSpPr>
          <p:cNvPr id="4" name="流程图: 库存数据 3"/>
          <p:cNvSpPr/>
          <p:nvPr/>
        </p:nvSpPr>
        <p:spPr>
          <a:xfrm>
            <a:off x="5758815" y="3933825"/>
            <a:ext cx="2466340" cy="1042670"/>
          </a:xfrm>
          <a:prstGeom prst="flowChartOnlineStora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DB</a:t>
            </a:r>
          </a:p>
          <a:p>
            <a:pPr algn="ctr"/>
            <a:r>
              <a:rPr lang="en-US" altLang="zh-CN"/>
              <a:t>money=old</a:t>
            </a:r>
          </a:p>
        </p:txBody>
      </p:sp>
      <p:sp>
        <p:nvSpPr>
          <p:cNvPr id="5" name="流程图: 终止 4"/>
          <p:cNvSpPr/>
          <p:nvPr/>
        </p:nvSpPr>
        <p:spPr>
          <a:xfrm>
            <a:off x="9544685" y="1823085"/>
            <a:ext cx="2060575" cy="1081405"/>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che</a:t>
            </a:r>
          </a:p>
          <a:p>
            <a:pPr algn="ctr"/>
            <a:r>
              <a:rPr lang="en-US" altLang="zh-CN"/>
              <a:t>money=new</a:t>
            </a:r>
          </a:p>
        </p:txBody>
      </p:sp>
      <p:cxnSp>
        <p:nvCxnSpPr>
          <p:cNvPr id="6" name="直接箭头连接符 5"/>
          <p:cNvCxnSpPr>
            <a:stCxn id="3" idx="3"/>
            <a:endCxn id="5" idx="1"/>
          </p:cNvCxnSpPr>
          <p:nvPr/>
        </p:nvCxnSpPr>
        <p:spPr>
          <a:xfrm flipV="1">
            <a:off x="8081010" y="2364105"/>
            <a:ext cx="1463675" cy="171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a:stCxn id="3" idx="2"/>
            <a:endCxn id="4" idx="0"/>
          </p:cNvCxnSpPr>
          <p:nvPr/>
        </p:nvCxnSpPr>
        <p:spPr>
          <a:xfrm flipH="1">
            <a:off x="6991985" y="2921635"/>
            <a:ext cx="635" cy="10121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8012430" y="1840230"/>
            <a:ext cx="1592580" cy="368300"/>
          </a:xfrm>
          <a:prstGeom prst="rect">
            <a:avLst/>
          </a:prstGeom>
          <a:noFill/>
        </p:spPr>
        <p:txBody>
          <a:bodyPr wrap="none" rtlCol="0">
            <a:spAutoFit/>
          </a:bodyPr>
          <a:lstStyle/>
          <a:p>
            <a:r>
              <a:rPr lang="en-US" altLang="zh-CN"/>
              <a:t>1. update</a:t>
            </a:r>
            <a:r>
              <a:rPr lang="zh-CN" altLang="en-US"/>
              <a:t>成功</a:t>
            </a:r>
          </a:p>
        </p:txBody>
      </p:sp>
      <p:sp>
        <p:nvSpPr>
          <p:cNvPr id="10" name="文本框 9"/>
          <p:cNvSpPr txBox="1"/>
          <p:nvPr/>
        </p:nvSpPr>
        <p:spPr>
          <a:xfrm>
            <a:off x="7100570" y="3243580"/>
            <a:ext cx="1592580" cy="368300"/>
          </a:xfrm>
          <a:prstGeom prst="rect">
            <a:avLst/>
          </a:prstGeom>
          <a:noFill/>
        </p:spPr>
        <p:txBody>
          <a:bodyPr wrap="none" rtlCol="0">
            <a:spAutoFit/>
          </a:bodyPr>
          <a:lstStyle/>
          <a:p>
            <a:r>
              <a:rPr lang="en-US" altLang="zh-CN"/>
              <a:t>2. update</a:t>
            </a:r>
            <a:r>
              <a:rPr lang="zh-CN" altLang="en-US"/>
              <a:t>失败</a:t>
            </a:r>
          </a:p>
        </p:txBody>
      </p:sp>
      <p:sp>
        <p:nvSpPr>
          <p:cNvPr id="11" name="流程图: 决策 10"/>
          <p:cNvSpPr/>
          <p:nvPr/>
        </p:nvSpPr>
        <p:spPr>
          <a:xfrm>
            <a:off x="8858250" y="3663950"/>
            <a:ext cx="1570355" cy="1604645"/>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补救措施</a:t>
            </a:r>
          </a:p>
        </p:txBody>
      </p:sp>
      <p:cxnSp>
        <p:nvCxnSpPr>
          <p:cNvPr id="12" name="直接箭头连接符 11"/>
          <p:cNvCxnSpPr>
            <a:stCxn id="4" idx="3"/>
            <a:endCxn id="11" idx="1"/>
          </p:cNvCxnSpPr>
          <p:nvPr/>
        </p:nvCxnSpPr>
        <p:spPr>
          <a:xfrm>
            <a:off x="7814310" y="4455160"/>
            <a:ext cx="1043940" cy="11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a:stCxn id="11" idx="3"/>
          </p:cNvCxnSpPr>
          <p:nvPr/>
        </p:nvCxnSpPr>
        <p:spPr>
          <a:xfrm>
            <a:off x="10428605" y="4466590"/>
            <a:ext cx="725805" cy="88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a:stCxn id="11" idx="2"/>
          </p:cNvCxnSpPr>
          <p:nvPr/>
        </p:nvCxnSpPr>
        <p:spPr>
          <a:xfrm>
            <a:off x="9643745" y="5268595"/>
            <a:ext cx="7620" cy="7435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10279380" y="3933825"/>
            <a:ext cx="1325880" cy="368300"/>
          </a:xfrm>
          <a:prstGeom prst="rect">
            <a:avLst/>
          </a:prstGeom>
          <a:noFill/>
        </p:spPr>
        <p:txBody>
          <a:bodyPr wrap="none" rtlCol="0">
            <a:spAutoFit/>
          </a:bodyPr>
          <a:lstStyle/>
          <a:p>
            <a:r>
              <a:rPr lang="zh-CN" altLang="en-US"/>
              <a:t>回滚缓存？</a:t>
            </a:r>
          </a:p>
        </p:txBody>
      </p:sp>
      <p:sp>
        <p:nvSpPr>
          <p:cNvPr id="16" name="文本框 15"/>
          <p:cNvSpPr txBox="1"/>
          <p:nvPr/>
        </p:nvSpPr>
        <p:spPr>
          <a:xfrm>
            <a:off x="9828530" y="5456555"/>
            <a:ext cx="1325880" cy="368300"/>
          </a:xfrm>
          <a:prstGeom prst="rect">
            <a:avLst/>
          </a:prstGeom>
          <a:noFill/>
        </p:spPr>
        <p:txBody>
          <a:bodyPr wrap="none" rtlCol="0">
            <a:spAutoFit/>
          </a:bodyPr>
          <a:lstStyle/>
          <a:p>
            <a:r>
              <a:rPr lang="zh-CN" altLang="en-US"/>
              <a:t>删除缓存？</a:t>
            </a:r>
          </a:p>
        </p:txBody>
      </p:sp>
      <p:sp>
        <p:nvSpPr>
          <p:cNvPr id="17" name="iṡľïḑè"/>
          <p:cNvSpPr txBox="1"/>
          <p:nvPr/>
        </p:nvSpPr>
        <p:spPr bwMode="auto">
          <a:xfrm>
            <a:off x="669925" y="1511300"/>
            <a:ext cx="4913630" cy="4036060"/>
          </a:xfrm>
          <a:prstGeom prst="rect">
            <a:avLst/>
          </a:prstGeom>
          <a:noFill/>
        </p:spPr>
        <p:txBody>
          <a:bodyPr wrap="square" tIns="0" anchor="t">
            <a:noAutofit/>
          </a:bodyPr>
          <a:lstStyle>
            <a:defPPr>
              <a:defRPr lang="zh-CN"/>
            </a:defPPr>
            <a:lvl1pPr>
              <a:defRPr sz="1600" b="1">
                <a:latin typeface="Arial" panose="020B0604020202090204" pitchFamily="34" charset="0"/>
                <a:ea typeface="微软雅黑" panose="020B0503020204020204" pitchFamily="34" charset="-122"/>
                <a:cs typeface="+mn-ea"/>
              </a:defRPr>
            </a:lvl1pPr>
            <a:lvl2pPr marL="742950" indent="-285750">
              <a:defRPr sz="3200" b="1">
                <a:solidFill>
                  <a:srgbClr val="4D4D4D"/>
                </a:solidFill>
                <a:latin typeface="Arial" panose="020B0604020202090204" pitchFamily="34" charset="0"/>
                <a:ea typeface="黑体" panose="02010609060101010101" pitchFamily="49" charset="-122"/>
              </a:defRPr>
            </a:lvl2pPr>
            <a:lvl3pPr marL="1143000" indent="-228600">
              <a:defRPr sz="3200" b="1">
                <a:solidFill>
                  <a:srgbClr val="4D4D4D"/>
                </a:solidFill>
                <a:latin typeface="Arial" panose="020B0604020202090204" pitchFamily="34" charset="0"/>
                <a:ea typeface="黑体" panose="02010609060101010101" pitchFamily="49" charset="-122"/>
              </a:defRPr>
            </a:lvl3pPr>
            <a:lvl4pPr marL="1600200" indent="-228600">
              <a:defRPr sz="3200" b="1">
                <a:solidFill>
                  <a:srgbClr val="4D4D4D"/>
                </a:solidFill>
                <a:latin typeface="Arial" panose="020B0604020202090204" pitchFamily="34" charset="0"/>
                <a:ea typeface="黑体" panose="02010609060101010101" pitchFamily="49" charset="-122"/>
              </a:defRPr>
            </a:lvl4pPr>
            <a:lvl5pPr marL="2057400" indent="-228600">
              <a:defRPr sz="3200" b="1">
                <a:solidFill>
                  <a:srgbClr val="4D4D4D"/>
                </a:solidFill>
                <a:latin typeface="Arial" panose="020B060402020209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90204" pitchFamily="34" charset="0"/>
                <a:ea typeface="黑体" panose="02010609060101010101" pitchFamily="49" charset="-122"/>
              </a:defRPr>
            </a:lvl9pPr>
          </a:lstStyle>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潜在问题</a:t>
            </a:r>
          </a:p>
          <a:p>
            <a:pPr marL="1028700" lvl="1" indent="-571500">
              <a:lnSpc>
                <a:spcPct val="150000"/>
              </a:lnSpc>
              <a:buFont typeface="Wingdings" panose="05000000000000000000" charset="0"/>
              <a:buChar char=""/>
            </a:pPr>
            <a:r>
              <a:rPr lang="en-US" altLang="zh-CN" sz="1400" b="0" dirty="0">
                <a:solidFill>
                  <a:schemeClr val="bg1">
                    <a:lumMod val="50000"/>
                  </a:schemeClr>
                </a:solidFill>
                <a:latin typeface="+mn-lt"/>
                <a:ea typeface="+mn-ea"/>
                <a:sym typeface="+mn-lt"/>
              </a:rPr>
              <a:t>DB</a:t>
            </a:r>
            <a:r>
              <a:rPr lang="zh-CN" altLang="en-US" sz="1400" b="0" dirty="0">
                <a:solidFill>
                  <a:schemeClr val="bg1">
                    <a:lumMod val="50000"/>
                  </a:schemeClr>
                </a:solidFill>
                <a:latin typeface="+mn-lt"/>
                <a:ea typeface="+mn-ea"/>
                <a:sym typeface="+mn-lt"/>
              </a:rPr>
              <a:t>更新</a:t>
            </a:r>
            <a:r>
              <a:rPr lang="en-US" altLang="zh-CN" sz="1400" b="0" dirty="0">
                <a:solidFill>
                  <a:schemeClr val="bg1">
                    <a:lumMod val="50000"/>
                  </a:schemeClr>
                </a:solidFill>
                <a:latin typeface="+mn-lt"/>
                <a:ea typeface="+mn-ea"/>
                <a:sym typeface="+mn-lt"/>
              </a:rPr>
              <a:t>IO</a:t>
            </a:r>
            <a:r>
              <a:rPr lang="zh-CN" altLang="en-US" sz="1400" b="0" dirty="0">
                <a:solidFill>
                  <a:schemeClr val="bg1">
                    <a:lumMod val="50000"/>
                  </a:schemeClr>
                </a:solidFill>
                <a:latin typeface="+mn-lt"/>
                <a:ea typeface="+mn-ea"/>
                <a:sym typeface="+mn-lt"/>
              </a:rPr>
              <a:t>异常造成数据不一致</a:t>
            </a:r>
            <a:endParaRPr lang="en-US" altLang="zh-CN" sz="1400" b="0" dirty="0">
              <a:solidFill>
                <a:schemeClr val="bg1">
                  <a:lumMod val="50000"/>
                </a:schemeClr>
              </a:solidFill>
              <a:latin typeface="+mn-lt"/>
              <a:ea typeface="+mn-ea"/>
              <a:sym typeface="+mn-lt"/>
            </a:endParaRP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两次写入并发造成数据不一致</a:t>
            </a:r>
          </a:p>
          <a:p>
            <a:pPr marL="1028700" lvl="1" indent="-57150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读写并发造成不一致</a:t>
            </a:r>
          </a:p>
          <a:p>
            <a:pPr marL="1028700" lvl="1" indent="-571500">
              <a:lnSpc>
                <a:spcPct val="150000"/>
              </a:lnSpc>
              <a:buFont typeface="Wingdings" panose="05000000000000000000" charset="0"/>
              <a:buChar char=""/>
            </a:pPr>
            <a:endParaRPr lang="zh-CN" altLang="en-US" sz="1400" b="0" dirty="0">
              <a:solidFill>
                <a:schemeClr val="bg1">
                  <a:lumMod val="50000"/>
                </a:schemeClr>
              </a:solidFill>
              <a:latin typeface="+mn-lt"/>
              <a:ea typeface="+mn-ea"/>
              <a:sym typeface="+mn-lt"/>
            </a:endParaRPr>
          </a:p>
          <a:p>
            <a:pPr marL="285750" indent="-285750">
              <a:lnSpc>
                <a:spcPct val="150000"/>
              </a:lnSpc>
              <a:buFont typeface="Wingdings" panose="05000000000000000000" charset="0"/>
              <a:buChar char=""/>
            </a:pPr>
            <a:r>
              <a:rPr lang="zh-CN" altLang="en-US" sz="2000" b="0" dirty="0">
                <a:solidFill>
                  <a:schemeClr val="bg1">
                    <a:lumMod val="50000"/>
                  </a:schemeClr>
                </a:solidFill>
                <a:latin typeface="+mn-lt"/>
                <a:ea typeface="+mn-ea"/>
                <a:sym typeface="+mn-lt"/>
              </a:rPr>
              <a:t>针对</a:t>
            </a:r>
            <a:r>
              <a:rPr lang="en-US" altLang="zh-CN" sz="2000" b="0" dirty="0">
                <a:solidFill>
                  <a:schemeClr val="bg1">
                    <a:lumMod val="50000"/>
                  </a:schemeClr>
                </a:solidFill>
                <a:latin typeface="+mn-lt"/>
                <a:ea typeface="+mn-ea"/>
                <a:sym typeface="+mn-lt"/>
              </a:rPr>
              <a:t>IO</a:t>
            </a:r>
            <a:r>
              <a:rPr lang="zh-CN" altLang="en-US" sz="2000" b="0" dirty="0">
                <a:solidFill>
                  <a:schemeClr val="bg1">
                    <a:lumMod val="50000"/>
                  </a:schemeClr>
                </a:solidFill>
                <a:latin typeface="+mn-lt"/>
                <a:ea typeface="+mn-ea"/>
                <a:sym typeface="+mn-lt"/>
              </a:rPr>
              <a:t>异常可能的补救措施</a:t>
            </a:r>
          </a:p>
          <a:p>
            <a:pPr marL="742950" lvl="1" indent="-28575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缓存回滚，实现逻辑复杂</a:t>
            </a:r>
          </a:p>
          <a:p>
            <a:pPr marL="742950" lvl="1" indent="-285750">
              <a:lnSpc>
                <a:spcPct val="150000"/>
              </a:lnSpc>
              <a:buFont typeface="Wingdings" panose="05000000000000000000" charset="0"/>
              <a:buChar char=""/>
            </a:pPr>
            <a:r>
              <a:rPr lang="zh-CN" altLang="en-US" sz="1400" b="0" dirty="0">
                <a:solidFill>
                  <a:schemeClr val="bg1">
                    <a:lumMod val="50000"/>
                  </a:schemeClr>
                </a:solidFill>
                <a:latin typeface="+mn-lt"/>
                <a:ea typeface="+mn-ea"/>
                <a:sym typeface="+mn-lt"/>
              </a:rPr>
              <a:t>删除缓存（变成另外一种写法）</a:t>
            </a:r>
            <a:endParaRPr lang="zh-CN" altLang="en-US" sz="4000" b="0" dirty="0">
              <a:solidFill>
                <a:schemeClr val="bg1">
                  <a:lumMod val="50000"/>
                </a:schemeClr>
              </a:solidFill>
              <a:latin typeface="+mn-lt"/>
              <a:ea typeface="+mn-ea"/>
              <a:sym typeface="+mn-lt"/>
            </a:endParaRPr>
          </a:p>
          <a:p>
            <a:pPr indent="0">
              <a:lnSpc>
                <a:spcPct val="150000"/>
              </a:lnSpc>
              <a:buFont typeface="Wingdings" panose="05000000000000000000" charset="0"/>
              <a:buNone/>
            </a:pPr>
            <a:endParaRPr lang="zh-CN" altLang="en-US" sz="2000" b="0" dirty="0">
              <a:solidFill>
                <a:schemeClr val="bg1">
                  <a:lumMod val="50000"/>
                </a:schemeClr>
              </a:solidFill>
              <a:latin typeface="+mn-lt"/>
              <a:ea typeface="+mn-ea"/>
              <a:sym typeface="+mn-lt"/>
            </a:endParaRPr>
          </a:p>
        </p:txBody>
      </p:sp>
    </p:spTree>
  </p:cSld>
  <p:clrMapOvr>
    <a:masterClrMapping/>
  </p:clrMapOvr>
</p:sld>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2D7DF9"/>
      </a:accent1>
      <a:accent2>
        <a:srgbClr val="97D3FC"/>
      </a:accent2>
      <a:accent3>
        <a:srgbClr val="FF5353"/>
      </a:accent3>
      <a:accent4>
        <a:srgbClr val="FFAB05"/>
      </a:accent4>
      <a:accent5>
        <a:srgbClr val="F8D0BA"/>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kumimoji="1"/>
        </a:defPPr>
      </a:lstStyle>
      <a:style>
        <a:lnRef idx="2">
          <a:schemeClr val="accent6"/>
        </a:lnRef>
        <a:fillRef idx="1">
          <a:schemeClr val="lt1"/>
        </a:fillRef>
        <a:effectRef idx="0">
          <a:schemeClr val="accent6"/>
        </a:effectRef>
        <a:fontRef idx="minor">
          <a:schemeClr val="dk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D7DF9"/>
    </a:accent1>
    <a:accent2>
      <a:srgbClr val="97D3FC"/>
    </a:accent2>
    <a:accent3>
      <a:srgbClr val="FF5353"/>
    </a:accent3>
    <a:accent4>
      <a:srgbClr val="FFAB05"/>
    </a:accent4>
    <a:accent5>
      <a:srgbClr val="F8D0BA"/>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D7DF9"/>
    </a:accent1>
    <a:accent2>
      <a:srgbClr val="97D3FC"/>
    </a:accent2>
    <a:accent3>
      <a:srgbClr val="FF5353"/>
    </a:accent3>
    <a:accent4>
      <a:srgbClr val="FFAB05"/>
    </a:accent4>
    <a:accent5>
      <a:srgbClr val="F8D0BA"/>
    </a:accent5>
    <a:accent6>
      <a:srgbClr val="76839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主题5</Template>
  <TotalTime>739</TotalTime>
  <Words>2687</Words>
  <Application>Microsoft Macintosh PowerPoint</Application>
  <PresentationFormat>宽屏</PresentationFormat>
  <Paragraphs>347</Paragraphs>
  <Slides>27</Slides>
  <Notes>26</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27</vt:i4>
      </vt:variant>
    </vt:vector>
  </HeadingPairs>
  <TitlesOfParts>
    <vt:vector size="33" baseType="lpstr">
      <vt:lpstr>等线</vt:lpstr>
      <vt:lpstr>Arial</vt:lpstr>
      <vt:lpstr>Calibri</vt:lpstr>
      <vt:lpstr>Wingdings</vt:lpstr>
      <vt:lpstr>主题5</vt:lpstr>
      <vt:lpstr>think-cell Slide</vt:lpstr>
      <vt:lpstr>缓存一致性 </vt:lpstr>
      <vt:lpstr>PowerPoint 演示文稿</vt:lpstr>
      <vt:lpstr>缓存访问模式——常见模式有哪些</vt:lpstr>
      <vt:lpstr>旁路缓存-Cache Aside模式</vt:lpstr>
      <vt:lpstr>读写穿透-Read/Write Through</vt:lpstr>
      <vt:lpstr>异步缓存写入-Write Back模式</vt:lpstr>
      <vt:lpstr>PowerPoint 演示文稿</vt:lpstr>
      <vt:lpstr>Cache Aside最佳实践——主要内容</vt:lpstr>
      <vt:lpstr>四种写法——先更新缓存，后更新存储</vt:lpstr>
      <vt:lpstr>并发导致不一致——双写并发问题（先更新缓存，后DB）</vt:lpstr>
      <vt:lpstr>写操作的四种写法——先更新存储，后更新缓存</vt:lpstr>
      <vt:lpstr>并发导致不一致——双写并发问题（先DB，后更新缓存）</vt:lpstr>
      <vt:lpstr>四种写法——先删除缓存，后更新存储</vt:lpstr>
      <vt:lpstr>并发导致不一致——读写并发问题（先删除缓存，后DB）</vt:lpstr>
      <vt:lpstr>四种写法——先更新存储，后删除缓存</vt:lpstr>
      <vt:lpstr>并发导致不一致——读写并发问题（先DB，后删除缓存）</vt:lpstr>
      <vt:lpstr>Cache Aside最佳探索——一些总结</vt:lpstr>
      <vt:lpstr>Cache Aside模式——最佳实践</vt:lpstr>
      <vt:lpstr>PowerPoint 演示文稿</vt:lpstr>
      <vt:lpstr>提升一致性——原因剖析</vt:lpstr>
      <vt:lpstr>重试三法——延时双删</vt:lpstr>
      <vt:lpstr>重试三法——借助消息队列</vt:lpstr>
      <vt:lpstr>重试三法——订阅binlog</vt:lpstr>
      <vt:lpstr>串行化——DB访问串行化</vt:lpstr>
      <vt:lpstr>串行化——加锁</vt:lpstr>
      <vt:lpstr>提高一致性——总结</vt:lpstr>
      <vt:lpstr>THANKS 感谢大家的聆听</vt:lpstr>
    </vt:vector>
  </TitlesOfParts>
  <Manager>iSlide</Manager>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网络课程名称 课程副标题</dc:title>
  <dc:creator>之昊</dc:creator>
  <cp:lastModifiedBy>魏 赛</cp:lastModifiedBy>
  <cp:revision>338</cp:revision>
  <cp:lastPrinted>2020-11-15T13:53:41Z</cp:lastPrinted>
  <dcterms:created xsi:type="dcterms:W3CDTF">2020-11-15T13:53:41Z</dcterms:created>
  <dcterms:modified xsi:type="dcterms:W3CDTF">2020-11-16T02:2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2.7.1.4479</vt:lpwstr>
  </property>
</Properties>
</file>